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4.xml" ContentType="application/vnd.openxmlformats-officedocument.presentationml.notesSlide+xml"/>
  <Override PartName="/ppt/tags/tag15.xml" ContentType="application/vnd.openxmlformats-officedocument.presentationml.tags+xml"/>
  <Override PartName="/ppt/notesSlides/notesSlide5.xml" ContentType="application/vnd.openxmlformats-officedocument.presentationml.notesSlide+xml"/>
  <Override PartName="/ppt/tags/tag16.xml" ContentType="application/vnd.openxmlformats-officedocument.presentationml.tags+xml"/>
  <Override PartName="/ppt/notesSlides/notesSlide6.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7.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8.xml" ContentType="application/vnd.openxmlformats-officedocument.presentationml.notesSlide+xml"/>
  <Override PartName="/ppt/tags/tag26.xml" ContentType="application/vnd.openxmlformats-officedocument.presentationml.tags+xml"/>
  <Override PartName="/ppt/notesSlides/notesSlide9.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10.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11.xml" ContentType="application/vnd.openxmlformats-officedocument.presentationml.notesSlide+xml"/>
  <Override PartName="/ppt/tags/tag40.xml" ContentType="application/vnd.openxmlformats-officedocument.presentationml.tags+xml"/>
  <Override PartName="/ppt/notesSlides/notesSlide12.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13.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14.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15.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16.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notesSlides/notesSlide17.xml" ContentType="application/vnd.openxmlformats-officedocument.presentationml.notesSlide+xml"/>
  <Override PartName="/ppt/tags/tag86.xml" ContentType="application/vnd.openxmlformats-officedocument.presentationml.tags+xml"/>
  <Override PartName="/ppt/notesSlides/notesSlide18.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notesSlides/notesSlide19.xml" ContentType="application/vnd.openxmlformats-officedocument.presentationml.notesSlide+xml"/>
  <Override PartName="/ppt/tags/tag94.xml" ContentType="application/vnd.openxmlformats-officedocument.presentationml.tags+xml"/>
  <Override PartName="/ppt/notesSlides/notesSlide20.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99.xml" ContentType="application/vnd.openxmlformats-officedocument.presentationml.tags+xml"/>
  <Override PartName="/ppt/notesSlides/notesSlide23.xml" ContentType="application/vnd.openxmlformats-officedocument.presentationml.notesSlide+xml"/>
  <Override PartName="/ppt/tags/tag100.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193" r:id="rId5"/>
  </p:sldMasterIdLst>
  <p:notesMasterIdLst>
    <p:notesMasterId r:id="rId49"/>
  </p:notesMasterIdLst>
  <p:handoutMasterIdLst>
    <p:handoutMasterId r:id="rId50"/>
  </p:handoutMasterIdLst>
  <p:sldIdLst>
    <p:sldId id="1135" r:id="rId6"/>
    <p:sldId id="1151" r:id="rId7"/>
    <p:sldId id="1171" r:id="rId8"/>
    <p:sldId id="1170" r:id="rId9"/>
    <p:sldId id="1194" r:id="rId10"/>
    <p:sldId id="1173" r:id="rId11"/>
    <p:sldId id="1175" r:id="rId12"/>
    <p:sldId id="1195" r:id="rId13"/>
    <p:sldId id="1196" r:id="rId14"/>
    <p:sldId id="1197" r:id="rId15"/>
    <p:sldId id="1198" r:id="rId16"/>
    <p:sldId id="1199" r:id="rId17"/>
    <p:sldId id="1200" r:id="rId18"/>
    <p:sldId id="1201" r:id="rId19"/>
    <p:sldId id="1202" r:id="rId20"/>
    <p:sldId id="1203" r:id="rId21"/>
    <p:sldId id="1204" r:id="rId22"/>
    <p:sldId id="1205" r:id="rId23"/>
    <p:sldId id="1206" r:id="rId24"/>
    <p:sldId id="1207" r:id="rId25"/>
    <p:sldId id="1212" r:id="rId26"/>
    <p:sldId id="1178" r:id="rId27"/>
    <p:sldId id="1179" r:id="rId28"/>
    <p:sldId id="1180" r:id="rId29"/>
    <p:sldId id="1181" r:id="rId30"/>
    <p:sldId id="1182" r:id="rId31"/>
    <p:sldId id="1183" r:id="rId32"/>
    <p:sldId id="1184" r:id="rId33"/>
    <p:sldId id="1185" r:id="rId34"/>
    <p:sldId id="1186" r:id="rId35"/>
    <p:sldId id="1213" r:id="rId36"/>
    <p:sldId id="1188" r:id="rId37"/>
    <p:sldId id="1189" r:id="rId38"/>
    <p:sldId id="1190" r:id="rId39"/>
    <p:sldId id="1191" r:id="rId40"/>
    <p:sldId id="1192" r:id="rId41"/>
    <p:sldId id="1208" r:id="rId42"/>
    <p:sldId id="1209" r:id="rId43"/>
    <p:sldId id="1210" r:id="rId44"/>
    <p:sldId id="1150" r:id="rId45"/>
    <p:sldId id="1147" r:id="rId46"/>
    <p:sldId id="1211" r:id="rId47"/>
    <p:sldId id="1076" r:id="rId48"/>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chEd 2013 Template layouts" id="{6DD5C800-9A2C-4823-B056-4AFFC9A97500}">
          <p14:sldIdLst>
            <p14:sldId id="1135"/>
            <p14:sldId id="1151"/>
          </p14:sldIdLst>
        </p14:section>
        <p14:section name="Intro" id="{B64B3DB6-B79D-422D-9906-FB1CA5B76347}">
          <p14:sldIdLst>
            <p14:sldId id="1171"/>
            <p14:sldId id="1170"/>
            <p14:sldId id="1194"/>
            <p14:sldId id="1173"/>
            <p14:sldId id="1175"/>
          </p14:sldIdLst>
        </p14:section>
        <p14:section name="Core Principles" id="{56B9272E-F353-43C5-B6F8-27B99CC2A98D}">
          <p14:sldIdLst>
            <p14:sldId id="1195"/>
            <p14:sldId id="1196"/>
            <p14:sldId id="1197"/>
          </p14:sldIdLst>
        </p14:section>
        <p14:section name="Scenarios" id="{DB0AB039-D446-4CEC-ACA7-E07B6ED7CA31}">
          <p14:sldIdLst>
            <p14:sldId id="1198"/>
            <p14:sldId id="1199"/>
            <p14:sldId id="1200"/>
            <p14:sldId id="1201"/>
            <p14:sldId id="1202"/>
            <p14:sldId id="1203"/>
            <p14:sldId id="1204"/>
            <p14:sldId id="1205"/>
            <p14:sldId id="1206"/>
            <p14:sldId id="1207"/>
          </p14:sldIdLst>
        </p14:section>
        <p14:section name="Insights" id="{EAE61AEC-C7E6-4B0E-8913-3BE6069E606B}">
          <p14:sldIdLst>
            <p14:sldId id="1212"/>
            <p14:sldId id="1178"/>
            <p14:sldId id="1179"/>
            <p14:sldId id="1180"/>
            <p14:sldId id="1181"/>
            <p14:sldId id="1182"/>
            <p14:sldId id="1183"/>
            <p14:sldId id="1184"/>
            <p14:sldId id="1185"/>
            <p14:sldId id="1186"/>
          </p14:sldIdLst>
        </p14:section>
        <p14:section name="Social-enabled" id="{6B04487A-BABE-4EF1-8A94-31ABB5B6E195}">
          <p14:sldIdLst>
            <p14:sldId id="1213"/>
            <p14:sldId id="1188"/>
            <p14:sldId id="1189"/>
            <p14:sldId id="1190"/>
            <p14:sldId id="1191"/>
            <p14:sldId id="1192"/>
          </p14:sldIdLst>
        </p14:section>
        <p14:section name="Finish" id="{652B8FC4-80A4-4BC6-9C08-26E08A4E47AF}">
          <p14:sldIdLst>
            <p14:sldId id="1208"/>
            <p14:sldId id="1209"/>
          </p14:sldIdLst>
        </p14:section>
        <p14:section name="Special content" id="{6925D2A1-AD53-4951-AB34-79DFA02CD676}">
          <p14:sldIdLst>
            <p14:sldId id="1210"/>
            <p14:sldId id="1150"/>
            <p14:sldId id="1147"/>
            <p14:sldId id="1211"/>
            <p14:sldId id="1076"/>
          </p14:sldIdLst>
        </p14:section>
      </p14:sectionLst>
    </p:ex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7FBA00"/>
    <a:srgbClr val="007233"/>
    <a:srgbClr val="0072C6"/>
    <a:srgbClr val="B4009E"/>
    <a:srgbClr val="B0B186"/>
    <a:srgbClr val="FF66FF"/>
    <a:srgbClr val="000000"/>
    <a:srgbClr val="33CCCC"/>
    <a:srgbClr val="CC00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85" autoAdjust="0"/>
    <p:restoredTop sz="96305" autoAdjust="0"/>
  </p:normalViewPr>
  <p:slideViewPr>
    <p:cSldViewPr snapToGrid="0">
      <p:cViewPr varScale="1">
        <p:scale>
          <a:sx n="67" d="100"/>
          <a:sy n="67" d="100"/>
        </p:scale>
        <p:origin x="648" y="60"/>
      </p:cViewPr>
      <p:guideLst>
        <p:guide orient="horz" pos="2203"/>
        <p:guide pos="3917"/>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0" d="100"/>
        <a:sy n="70" d="100"/>
      </p:scale>
      <p:origin x="0" y="0"/>
    </p:cViewPr>
  </p:sorterViewPr>
  <p:notesViewPr>
    <p:cSldViewPr snapToGrid="0" showGuides="1">
      <p:cViewPr>
        <p:scale>
          <a:sx n="41" d="100"/>
          <a:sy n="41" d="100"/>
        </p:scale>
        <p:origin x="-3792" y="-84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handoutMaster" Target="handoutMasters/handoutMaster1.xml"/><Relationship Id="rId55"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8" Type="http://schemas.openxmlformats.org/officeDocument/2006/relationships/slide" Target="slides/slide3.xml"/><Relationship Id="rId51" Type="http://schemas.openxmlformats.org/officeDocument/2006/relationships/commentAuthors" Target="commentAuthors.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gradFill>
                  <a:gsLst>
                    <a:gs pos="1250">
                      <a:schemeClr val="tx1"/>
                    </a:gs>
                    <a:gs pos="100000">
                      <a:schemeClr val="tx1"/>
                    </a:gs>
                  </a:gsLst>
                  <a:lin ang="5400000" scaled="0"/>
                </a:gradFill>
                <a:latin typeface="Segoe UI" pitchFamily="34" charset="0"/>
              </a:rPr>
              <a:t>TechEd 2013</a:t>
            </a:r>
            <a:endParaRPr lang="en-US" dirty="0">
              <a:gradFill>
                <a:gsLst>
                  <a:gs pos="1250">
                    <a:schemeClr val="tx1"/>
                  </a:gs>
                  <a:gs pos="100000">
                    <a:schemeClr val="tx1"/>
                  </a:gs>
                </a:gsLst>
                <a:lin ang="5400000" scaled="0"/>
              </a:gradFill>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B6A60E7-2D53-4E43-BBED-95418411E14A}" type="datetime8">
              <a:rPr lang="en-US" smtClean="0">
                <a:latin typeface="Segoe UI" pitchFamily="34" charset="0"/>
              </a:rPr>
              <a:t>6/3/2013 1:34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gradFill>
                  <a:gsLst>
                    <a:gs pos="1250">
                      <a:schemeClr val="tx1"/>
                    </a:gs>
                    <a:gs pos="100000">
                      <a:schemeClr val="tx1"/>
                    </a:gs>
                  </a:gsLst>
                  <a:lin ang="5400000" scaled="0"/>
                </a:gradFill>
                <a:latin typeface="Segoe UI" pitchFamily="34" charset="0"/>
              </a:defRPr>
            </a:lvl1pPr>
          </a:lstStyle>
          <a:p>
            <a:r>
              <a:rPr lang="en-US" dirty="0" smtClean="0"/>
              <a:t>TechEd 2013</a:t>
            </a:r>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2DFDA5C7-BBAE-481E-8BF7-731156A2E2C1}" type="datetime8">
              <a:rPr lang="en-US" smtClean="0"/>
              <a:t>6/3/2013 1:34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a:t>
            </a:fld>
            <a:endParaRPr lang="en-US" dirty="0"/>
          </a:p>
        </p:txBody>
      </p:sp>
      <p:sp>
        <p:nvSpPr>
          <p:cNvPr id="10" name="Date Placeholder 9"/>
          <p:cNvSpPr>
            <a:spLocks noGrp="1"/>
          </p:cNvSpPr>
          <p:nvPr>
            <p:ph type="dt" idx="13"/>
          </p:nvPr>
        </p:nvSpPr>
        <p:spPr/>
        <p:txBody>
          <a:bodyPr/>
          <a:lstStyle/>
          <a:p>
            <a:fld id="{B24D84E8-06E3-489F-9C67-A33EE59B08EB}" type="datetime8">
              <a:rPr lang="en-US" smtClean="0"/>
              <a:t>6/3/2013 1:34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r>
              <a:rPr lang="en-US" dirty="0" err="1" smtClean="0"/>
              <a:t>TechEd</a:t>
            </a:r>
            <a:r>
              <a:rPr lang="en-US" dirty="0" smtClean="0"/>
              <a:t> 2013</a:t>
            </a:r>
            <a:endParaRPr lang="en-US" dirty="0"/>
          </a:p>
        </p:txBody>
      </p:sp>
    </p:spTree>
    <p:extLst>
      <p:ext uri="{BB962C8B-B14F-4D97-AF65-F5344CB8AC3E}">
        <p14:creationId xmlns:p14="http://schemas.microsoft.com/office/powerpoint/2010/main" val="31273441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smtClean="0">
                <a:solidFill>
                  <a:prstClr val="black"/>
                </a:solidFill>
                <a:latin typeface="Segoe UI"/>
              </a:rPr>
              <a:t>Tech Ready 15</a:t>
            </a:r>
            <a:endParaRPr lang="en-US" dirty="0">
              <a:solidFill>
                <a:prstClr val="black"/>
              </a:solidFill>
              <a:latin typeface="Segoe UI"/>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5CDEF8C-7693-4017-9639-168D78E8BBA5}" type="datetime1">
              <a:rPr lang="en-US" smtClean="0">
                <a:solidFill>
                  <a:prstClr val="black"/>
                </a:solidFill>
                <a:latin typeface="Segoe UI"/>
              </a:rPr>
              <a:pPr/>
              <a:t>6/3/2013</a:t>
            </a:fld>
            <a:endParaRPr lang="en-US">
              <a:solidFill>
                <a:prstClr val="black"/>
              </a:solidFill>
              <a:latin typeface="Segoe UI"/>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latin typeface="Segoe UI"/>
              </a:rPr>
              <a:pPr/>
              <a:t>10</a:t>
            </a:fld>
            <a:endParaRPr lang="en-US" dirty="0">
              <a:solidFill>
                <a:prstClr val="black"/>
              </a:solidFill>
              <a:latin typeface="Segoe UI"/>
            </a:endParaRPr>
          </a:p>
        </p:txBody>
      </p:sp>
    </p:spTree>
    <p:extLst>
      <p:ext uri="{BB962C8B-B14F-4D97-AF65-F5344CB8AC3E}">
        <p14:creationId xmlns:p14="http://schemas.microsoft.com/office/powerpoint/2010/main" val="10736023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39184771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Ready 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6B46326-4BF1-4869-B0EB-F06005DA4669}" type="datetime1">
              <a:rPr lang="en-US" smtClean="0"/>
              <a:t>6/3/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16168986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latin typeface="Segoe UI"/>
              </a:rPr>
              <a:t>Tech Ready 15</a:t>
            </a:r>
            <a:endParaRPr lang="en-US" dirty="0">
              <a:solidFill>
                <a:prstClr val="black"/>
              </a:solidFill>
              <a:latin typeface="Segoe UI"/>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AD59A35-B7CB-42C1-818E-833BB5C9B3D7}" type="datetime1">
              <a:rPr lang="en-US" smtClean="0">
                <a:solidFill>
                  <a:prstClr val="black"/>
                </a:solidFill>
                <a:latin typeface="Segoe UI"/>
              </a:rPr>
              <a:pPr/>
              <a:t>6/3/2013</a:t>
            </a:fld>
            <a:endParaRPr lang="en-US">
              <a:solidFill>
                <a:prstClr val="black"/>
              </a:solidFill>
              <a:latin typeface="Segoe UI"/>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latin typeface="Segoe UI"/>
              </a:rPr>
              <a:pPr/>
              <a:t>22</a:t>
            </a:fld>
            <a:endParaRPr lang="en-US" dirty="0">
              <a:solidFill>
                <a:prstClr val="black"/>
              </a:solidFill>
              <a:latin typeface="Segoe UI"/>
            </a:endParaRPr>
          </a:p>
        </p:txBody>
      </p:sp>
    </p:spTree>
    <p:extLst>
      <p:ext uri="{BB962C8B-B14F-4D97-AF65-F5344CB8AC3E}">
        <p14:creationId xmlns:p14="http://schemas.microsoft.com/office/powerpoint/2010/main" val="21193097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smtClean="0">
                <a:solidFill>
                  <a:prstClr val="black"/>
                </a:solidFill>
                <a:latin typeface="Segoe UI"/>
              </a:rPr>
              <a:t>Tech Ready 15</a:t>
            </a:r>
            <a:endParaRPr lang="en-US" dirty="0">
              <a:solidFill>
                <a:prstClr val="black"/>
              </a:solidFill>
              <a:latin typeface="Segoe UI"/>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F79774A7-A279-4F19-97C4-5F0BD992E98F}" type="datetime1">
              <a:rPr lang="en-US" smtClean="0">
                <a:solidFill>
                  <a:prstClr val="black"/>
                </a:solidFill>
                <a:latin typeface="Segoe UI"/>
              </a:rPr>
              <a:pPr/>
              <a:t>6/3/2013</a:t>
            </a:fld>
            <a:endParaRPr lang="en-US">
              <a:solidFill>
                <a:prstClr val="black"/>
              </a:solidFill>
              <a:latin typeface="Segoe UI"/>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latin typeface="Segoe UI"/>
              </a:rPr>
              <a:pPr/>
              <a:t>23</a:t>
            </a:fld>
            <a:endParaRPr lang="en-US" dirty="0">
              <a:solidFill>
                <a:prstClr val="black"/>
              </a:solidFill>
              <a:latin typeface="Segoe UI"/>
            </a:endParaRPr>
          </a:p>
        </p:txBody>
      </p:sp>
    </p:spTree>
    <p:extLst>
      <p:ext uri="{BB962C8B-B14F-4D97-AF65-F5344CB8AC3E}">
        <p14:creationId xmlns:p14="http://schemas.microsoft.com/office/powerpoint/2010/main" val="12560317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smtClean="0">
                <a:latin typeface="Segoe UI"/>
              </a:rPr>
              <a:t>Tech Ready 15</a:t>
            </a:r>
            <a:endParaRPr lang="en-US" dirty="0">
              <a:latin typeface="Segoe UI"/>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595BF04-FA6D-458E-ADB9-EED57F8EAE0A}" type="datetime1">
              <a:rPr lang="en-US" smtClean="0">
                <a:latin typeface="Segoe UI"/>
              </a:rPr>
              <a:t>6/3/2013</a:t>
            </a:fld>
            <a:endParaRPr lang="en-US">
              <a:latin typeface="Segoe UI"/>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latin typeface="Segoe UI"/>
              </a:rPr>
              <a:t>24</a:t>
            </a:fld>
            <a:endParaRPr lang="en-US" dirty="0">
              <a:latin typeface="Segoe UI"/>
            </a:endParaRPr>
          </a:p>
        </p:txBody>
      </p:sp>
    </p:spTree>
    <p:extLst>
      <p:ext uri="{BB962C8B-B14F-4D97-AF65-F5344CB8AC3E}">
        <p14:creationId xmlns:p14="http://schemas.microsoft.com/office/powerpoint/2010/main" val="42772982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smtClean="0">
                <a:latin typeface="Segoe UI"/>
              </a:rPr>
              <a:t>Tech Ready 15</a:t>
            </a:r>
            <a:endParaRPr lang="en-US" dirty="0">
              <a:latin typeface="Segoe UI"/>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A39012C-6996-4E9C-B460-9FDDC4D53334}" type="datetime1">
              <a:rPr lang="en-US" smtClean="0">
                <a:latin typeface="Segoe UI"/>
              </a:rPr>
              <a:t>6/3/2013</a:t>
            </a:fld>
            <a:endParaRPr lang="en-US">
              <a:latin typeface="Segoe UI"/>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latin typeface="Segoe UI"/>
              </a:rPr>
              <a:t>25</a:t>
            </a:fld>
            <a:endParaRPr lang="en-US" dirty="0">
              <a:latin typeface="Segoe UI"/>
            </a:endParaRPr>
          </a:p>
        </p:txBody>
      </p:sp>
    </p:spTree>
    <p:extLst>
      <p:ext uri="{BB962C8B-B14F-4D97-AF65-F5344CB8AC3E}">
        <p14:creationId xmlns:p14="http://schemas.microsoft.com/office/powerpoint/2010/main" val="29009598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smtClean="0">
                <a:latin typeface="Segoe UI"/>
              </a:rPr>
              <a:t>Tech Ready 15</a:t>
            </a:r>
            <a:endParaRPr lang="en-US" dirty="0">
              <a:latin typeface="Segoe UI"/>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368CBB-7953-455D-98F7-99BB8A5A48AA}" type="datetime1">
              <a:rPr lang="en-US" smtClean="0">
                <a:latin typeface="Segoe UI"/>
              </a:rPr>
              <a:t>6/3/2013</a:t>
            </a:fld>
            <a:endParaRPr lang="en-US">
              <a:latin typeface="Segoe UI"/>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latin typeface="Segoe UI"/>
              </a:rPr>
              <a:t>26</a:t>
            </a:fld>
            <a:endParaRPr lang="en-US" dirty="0">
              <a:latin typeface="Segoe UI"/>
            </a:endParaRPr>
          </a:p>
        </p:txBody>
      </p:sp>
    </p:spTree>
    <p:extLst>
      <p:ext uri="{BB962C8B-B14F-4D97-AF65-F5344CB8AC3E}">
        <p14:creationId xmlns:p14="http://schemas.microsoft.com/office/powerpoint/2010/main" val="17284269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smtClean="0"/>
              <a:t>TechReady 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6D5A0A7-DD6A-4AE1-ABD6-C29A8E540F93}" type="datetime1">
              <a:rPr lang="en-US" smtClean="0"/>
              <a:t>6/3/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32585948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Ready 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6B46326-4BF1-4869-B0EB-F06005DA4669}" type="datetime1">
              <a:rPr lang="en-US" smtClean="0"/>
              <a:t>6/3/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31801328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2</a:t>
            </a:fld>
            <a:endParaRPr lang="en-US" dirty="0"/>
          </a:p>
        </p:txBody>
      </p:sp>
      <p:sp>
        <p:nvSpPr>
          <p:cNvPr id="10" name="Date Placeholder 9"/>
          <p:cNvSpPr>
            <a:spLocks noGrp="1"/>
          </p:cNvSpPr>
          <p:nvPr>
            <p:ph type="dt" idx="13"/>
          </p:nvPr>
        </p:nvSpPr>
        <p:spPr/>
        <p:txBody>
          <a:bodyPr/>
          <a:lstStyle/>
          <a:p>
            <a:fld id="{677FBE4F-EDB0-402F-A0AC-9374915CF447}" type="datetime8">
              <a:rPr lang="en-US" smtClean="0"/>
              <a:t>6/3/2013 1:34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15078816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smtClean="0">
                <a:latin typeface="Segoe UI"/>
              </a:rPr>
              <a:t>Tech Ready 15</a:t>
            </a:r>
            <a:endParaRPr lang="en-US" dirty="0">
              <a:latin typeface="Segoe UI"/>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5BD9DFF0-B9B1-4D12-BA0A-5B7C1CAEAA07}" type="datetime1">
              <a:rPr lang="en-US" smtClean="0">
                <a:latin typeface="Segoe UI"/>
              </a:rPr>
              <a:t>6/3/2013</a:t>
            </a:fld>
            <a:endParaRPr lang="en-US" dirty="0">
              <a:latin typeface="Segoe UI"/>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latin typeface="Segoe UI"/>
              </a:rPr>
              <a:t>32</a:t>
            </a:fld>
            <a:endParaRPr lang="en-US" dirty="0">
              <a:latin typeface="Segoe UI"/>
            </a:endParaRPr>
          </a:p>
        </p:txBody>
      </p:sp>
    </p:spTree>
    <p:extLst>
      <p:ext uri="{BB962C8B-B14F-4D97-AF65-F5344CB8AC3E}">
        <p14:creationId xmlns:p14="http://schemas.microsoft.com/office/powerpoint/2010/main" val="414699793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smtClean="0"/>
              <a:t>TechReady 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41E1F3D-26CD-42A4-BD09-F2C9DE53B6B5}" type="datetime1">
              <a:rPr lang="en-US" smtClean="0"/>
              <a:t>6/3/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197211038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Ready 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5F83AC5-2C4D-4A0F-AABB-D359DBE87AE0}" type="datetime1">
              <a:rPr lang="en-US" smtClean="0"/>
              <a:t>6/3/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5</a:t>
            </a:fld>
            <a:endParaRPr lang="en-US" dirty="0"/>
          </a:p>
        </p:txBody>
      </p:sp>
    </p:spTree>
    <p:extLst>
      <p:ext uri="{BB962C8B-B14F-4D97-AF65-F5344CB8AC3E}">
        <p14:creationId xmlns:p14="http://schemas.microsoft.com/office/powerpoint/2010/main" val="2688297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Ready 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DD3F881-1D2F-4C4E-AC93-E82DF82210BB}" type="datetime1">
              <a:rPr lang="en-US" smtClean="0"/>
              <a:t>6/3/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6</a:t>
            </a:fld>
            <a:endParaRPr lang="en-US" dirty="0"/>
          </a:p>
        </p:txBody>
      </p:sp>
    </p:spTree>
    <p:extLst>
      <p:ext uri="{BB962C8B-B14F-4D97-AF65-F5344CB8AC3E}">
        <p14:creationId xmlns:p14="http://schemas.microsoft.com/office/powerpoint/2010/main" val="172047678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7" name="Slide Number Placeholder 6"/>
          <p:cNvSpPr>
            <a:spLocks noGrp="1"/>
          </p:cNvSpPr>
          <p:nvPr>
            <p:ph type="sldNum" sz="quarter" idx="13"/>
          </p:nvPr>
        </p:nvSpPr>
        <p:spPr>
          <a:xfrm>
            <a:off x="6172199" y="8685213"/>
            <a:ext cx="684213" cy="457200"/>
          </a:xfrm>
          <a:prstGeom prst="rect">
            <a:avLst/>
          </a:prstGeom>
        </p:spPr>
        <p:txBody>
          <a:bodyPr/>
          <a:lstStyle/>
          <a:p>
            <a:fld id="{EC87E0CF-87F6-4B58-B8B8-DCAB2DAAF3CA}" type="slidenum">
              <a:rPr lang="en-US" smtClean="0">
                <a:solidFill>
                  <a:prstClr val="black"/>
                </a:solidFill>
              </a:rPr>
              <a:pPr/>
              <a:t>39</a:t>
            </a:fld>
            <a:endParaRPr lang="en-US" dirty="0">
              <a:solidFill>
                <a:prstClr val="black"/>
              </a:solidFill>
            </a:endParaRPr>
          </a:p>
        </p:txBody>
      </p:sp>
      <p:sp>
        <p:nvSpPr>
          <p:cNvPr id="12" name="Date Placeholder 11"/>
          <p:cNvSpPr>
            <a:spLocks noGrp="1"/>
          </p:cNvSpPr>
          <p:nvPr>
            <p:ph type="dt" idx="14"/>
          </p:nvPr>
        </p:nvSpPr>
        <p:spPr/>
        <p:txBody>
          <a:bodyPr/>
          <a:lstStyle/>
          <a:p>
            <a:fld id="{64DAA8B1-71E0-4ED8-9A80-C398012240B1}" type="datetime8">
              <a:rPr lang="en-US" smtClean="0">
                <a:solidFill>
                  <a:prstClr val="black"/>
                </a:solidFill>
              </a:rPr>
              <a:pPr/>
              <a:t>6/3/2013 1:34 PM</a:t>
            </a:fld>
            <a:endParaRPr lang="en-US" dirty="0">
              <a:solidFill>
                <a:prstClr val="black"/>
              </a:solidFill>
            </a:endParaRPr>
          </a:p>
        </p:txBody>
      </p:sp>
      <p:sp>
        <p:nvSpPr>
          <p:cNvPr id="13" name="Footer Placeholder 12"/>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4" name="Header Placeholder 13"/>
          <p:cNvSpPr>
            <a:spLocks noGrp="1"/>
          </p:cNvSpPr>
          <p:nvPr>
            <p:ph type="hdr" sz="quarter" idx="16"/>
          </p:nvPr>
        </p:nvSpPr>
        <p:spPr/>
        <p:txBody>
          <a:bodyPr/>
          <a:lstStyle/>
          <a:p>
            <a:endParaRPr lang="en-US" dirty="0">
              <a:gradFill>
                <a:gsLst>
                  <a:gs pos="1250">
                    <a:prstClr val="black"/>
                  </a:gs>
                  <a:gs pos="100000">
                    <a:prstClr val="black"/>
                  </a:gs>
                </a:gsLst>
                <a:lin ang="5400000" scaled="0"/>
              </a:gradFill>
            </a:endParaRPr>
          </a:p>
        </p:txBody>
      </p:sp>
    </p:spTree>
    <p:extLst>
      <p:ext uri="{BB962C8B-B14F-4D97-AF65-F5344CB8AC3E}">
        <p14:creationId xmlns:p14="http://schemas.microsoft.com/office/powerpoint/2010/main" val="20693052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3/2013 1: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0</a:t>
            </a:fld>
            <a:endParaRPr lang="en-US" dirty="0"/>
          </a:p>
        </p:txBody>
      </p:sp>
    </p:spTree>
    <p:extLst>
      <p:ext uri="{BB962C8B-B14F-4D97-AF65-F5344CB8AC3E}">
        <p14:creationId xmlns:p14="http://schemas.microsoft.com/office/powerpoint/2010/main" val="68666577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3/2013 1: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1</a:t>
            </a:fld>
            <a:endParaRPr lang="en-US" dirty="0"/>
          </a:p>
        </p:txBody>
      </p:sp>
    </p:spTree>
    <p:extLst>
      <p:ext uri="{BB962C8B-B14F-4D97-AF65-F5344CB8AC3E}">
        <p14:creationId xmlns:p14="http://schemas.microsoft.com/office/powerpoint/2010/main" val="169236782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gradFill>
                <a:gsLst>
                  <a:gs pos="1250">
                    <a:prstClr val="black"/>
                  </a:gs>
                  <a:gs pos="100000">
                    <a:prstClr val="black"/>
                  </a:gs>
                </a:gsLst>
                <a:lin ang="5400000" scaled="0"/>
              </a:gra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6/3/2013 1:3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170559607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43</a:t>
            </a:fld>
            <a:endParaRPr lang="en-US" dirty="0">
              <a:solidFill>
                <a:prstClr val="black"/>
              </a:solidFill>
            </a:endParaRPr>
          </a:p>
        </p:txBody>
      </p:sp>
      <p:sp>
        <p:nvSpPr>
          <p:cNvPr id="11" name="Date Placeholder 10"/>
          <p:cNvSpPr>
            <a:spLocks noGrp="1"/>
          </p:cNvSpPr>
          <p:nvPr>
            <p:ph type="dt" idx="14"/>
          </p:nvPr>
        </p:nvSpPr>
        <p:spPr/>
        <p:txBody>
          <a:bodyPr/>
          <a:lstStyle/>
          <a:p>
            <a:fld id="{88A14CBB-3B41-4EA9-BAC8-6B73863190D9}" type="datetime8">
              <a:rPr lang="en-US" smtClean="0"/>
              <a:t>6/3/2013 1:34 PM</a:t>
            </a:fld>
            <a:endParaRPr lang="en-US" dirty="0"/>
          </a:p>
        </p:txBody>
      </p:sp>
      <p:sp>
        <p:nvSpPr>
          <p:cNvPr id="12" name="Footer Placeholder 11"/>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3" name="Header Placeholder 12"/>
          <p:cNvSpPr>
            <a:spLocks noGrp="1"/>
          </p:cNvSpPr>
          <p:nvPr>
            <p:ph type="hdr" sz="quarter" idx="16"/>
          </p:nvPr>
        </p:nvSpPr>
        <p:spPr/>
        <p:txBody>
          <a:bodyPr/>
          <a:lstStyle/>
          <a:p>
            <a:endParaRPr lang="en-US" dirty="0"/>
          </a:p>
        </p:txBody>
      </p:sp>
    </p:spTree>
    <p:extLst>
      <p:ext uri="{BB962C8B-B14F-4D97-AF65-F5344CB8AC3E}">
        <p14:creationId xmlns:p14="http://schemas.microsoft.com/office/powerpoint/2010/main" val="5126612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B38AC05-9F8A-4D91-95C4-041D78B864FD}"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13772262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Ready 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A8EF338-9E82-4E6B-AB5E-4B1EDA37591E}" type="datetime1">
              <a:rPr lang="en-US" smtClean="0"/>
              <a:t>6/3/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16140294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smtClean="0"/>
              <a:t>TechReady 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511D35-06CF-420B-8A89-C085ECDB3FA4}" type="datetime1">
              <a:rPr lang="en-US" smtClean="0"/>
              <a:t>6/3/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12359310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Visual Studio 11</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27993" eaLnBrk="0" hangingPunct="0"/>
            <a:r>
              <a:rPr lang="en-US" sz="400" dirty="0">
                <a:gradFill>
                  <a:gsLst>
                    <a:gs pos="0">
                      <a:prstClr val="black"/>
                    </a:gs>
                    <a:gs pos="100000">
                      <a:prstClr val="black"/>
                    </a:gs>
                  </a:gsLst>
                  <a:lin ang="5400000" scaled="0"/>
                </a:gradFill>
              </a:rPr>
              <a:t>© 2012 Microsoft Corporation. All rights reserved. Microsoft, Windows, and other product names are or may be registered trademarks and/or trademarks in the U.S. and/or other countries.</a:t>
            </a:r>
          </a:p>
          <a:p>
            <a:pPr defTabSz="927993" eaLnBrk="0" hangingPunct="0"/>
            <a:r>
              <a:rPr lang="en-US" sz="400" dirty="0">
                <a:gradFill>
                  <a:gsLst>
                    <a:gs pos="0">
                      <a:prstClr val="black"/>
                    </a:gs>
                    <a:gs pos="100000">
                      <a:prstClr val="black"/>
                    </a:gs>
                  </a:gsLst>
                  <a:lin ang="5400000" scaled="0"/>
                </a:gradFill>
              </a:rPr>
              <a:t>The information herein is for informational purposes only and represents the current view of Microsoft Corporation as of the date of this presentation</a:t>
            </a:r>
            <a:r>
              <a:rPr lang="en-US" sz="400" dirty="0" smtClean="0">
                <a:gradFill>
                  <a:gsLst>
                    <a:gs pos="0">
                      <a:prstClr val="black"/>
                    </a:gs>
                    <a:gs pos="100000">
                      <a:prstClr val="black"/>
                    </a:gs>
                  </a:gsLst>
                  <a:lin ang="5400000" scaled="0"/>
                </a:gradFill>
              </a:rPr>
              <a:t>. Because </a:t>
            </a:r>
            <a:r>
              <a:rPr lang="en-US" sz="400" dirty="0">
                <a:gradFill>
                  <a:gsLst>
                    <a:gs pos="0">
                      <a:prstClr val="black"/>
                    </a:gs>
                    <a:gs pos="100000">
                      <a:prstClr val="black"/>
                    </a:gs>
                  </a:gsLst>
                  <a:lin ang="5400000" scaled="0"/>
                </a:gradFill>
              </a:rPr>
              <a:t>Microsoft must respond to changing market conditions, it should not be interpreted to be a commitment on the part of Microsoft, and Microsoft cannot guarantee the accuracy of any information provided after the date of this presentation</a:t>
            </a:r>
            <a:r>
              <a:rPr lang="en-US" sz="400" dirty="0" smtClean="0">
                <a:gradFill>
                  <a:gsLst>
                    <a:gs pos="0">
                      <a:prstClr val="black"/>
                    </a:gs>
                    <a:gs pos="100000">
                      <a:prstClr val="black"/>
                    </a:gs>
                  </a:gsLst>
                  <a:lin ang="5400000" scaled="0"/>
                </a:gradFill>
              </a:rPr>
              <a:t>. MICROSOFT </a:t>
            </a:r>
            <a:r>
              <a:rPr lang="en-US" sz="400" dirty="0">
                <a:gradFill>
                  <a:gsLst>
                    <a:gs pos="0">
                      <a:prstClr val="black"/>
                    </a:gs>
                    <a:gs pos="100000">
                      <a:prstClr val="black"/>
                    </a:gs>
                  </a:gsLst>
                  <a:lin ang="5400000" scaled="0"/>
                </a:gradFill>
              </a:rPr>
              <a:t>MAKES NO WARRANTIES, EXPRESS, IMPLIED OR STATUTORY, AS TO THE INFORMATION IN THIS PRESENTATION.</a:t>
            </a:r>
          </a:p>
        </p:txBody>
      </p:sp>
      <p:sp>
        <p:nvSpPr>
          <p:cNvPr id="6" name="Date Placeholder 5"/>
          <p:cNvSpPr>
            <a:spLocks noGrp="1"/>
          </p:cNvSpPr>
          <p:nvPr>
            <p:ph type="dt" idx="12"/>
          </p:nvPr>
        </p:nvSpPr>
        <p:spPr/>
        <p:txBody>
          <a:bodyPr/>
          <a:lstStyle/>
          <a:p>
            <a:fld id="{06CB697C-F595-4BCB-9FE6-55E5D8DFC7AC}" type="datetime1">
              <a:rPr lang="en-US" smtClean="0">
                <a:solidFill>
                  <a:prstClr val="black"/>
                </a:solidFill>
              </a:rPr>
              <a:pPr/>
              <a:t>6/3/2013</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32220716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smtClean="0"/>
              <a:t>TechReady 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A33E5FE1-D0D8-4A71-955B-7D272156F737}" type="datetime1">
              <a:rPr lang="en-US" smtClean="0"/>
              <a:t>6/3/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1301407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Ready 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D2A5717-EDEC-49E6-B7B9-902BC2BF9E0A}" type="datetime1">
              <a:rPr lang="en-US" smtClean="0"/>
              <a:t>6/3/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31492974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Ready 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6B46326-4BF1-4869-B0EB-F06005DA4669}" type="datetime1">
              <a:rPr lang="en-US" smtClean="0"/>
              <a:t>6/3/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24121137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Master" Target="../slideMasters/slideMaster1.xml"/><Relationship Id="rId5" Type="http://schemas.openxmlformats.org/officeDocument/2006/relationships/tags" Target="../tags/tag4.xml"/><Relationship Id="rId4" Type="http://schemas.openxmlformats.org/officeDocument/2006/relationships/tags" Target="../tags/tag3.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6.xml"/><Relationship Id="rId7" Type="http://schemas.openxmlformats.org/officeDocument/2006/relationships/oleObject" Target="../embeddings/oleObject2.bin"/><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8.xml"/><Relationship Id="rId4" Type="http://schemas.openxmlformats.org/officeDocument/2006/relationships/tags" Target="../tags/tag7.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7" y="482564"/>
            <a:ext cx="1646237" cy="351905"/>
          </a:xfrm>
          <a:prstGeom prst="rect">
            <a:avLst/>
          </a:prstGeom>
        </p:spPr>
      </p:pic>
    </p:spTree>
    <p:extLst>
      <p:ext uri="{BB962C8B-B14F-4D97-AF65-F5344CB8AC3E}">
        <p14:creationId xmlns:p14="http://schemas.microsoft.com/office/powerpoint/2010/main" val="343228261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72271686"/>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8"/>
            <a:ext cx="11887200" cy="54832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11135705"/>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7" name="Group 96"/>
          <p:cNvGrpSpPr/>
          <p:nvPr userDrawn="1"/>
        </p:nvGrpSpPr>
        <p:grpSpPr>
          <a:xfrm>
            <a:off x="6765997"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8" name="Group 97"/>
          <p:cNvGrpSpPr/>
          <p:nvPr userDrawn="1"/>
        </p:nvGrpSpPr>
        <p:grpSpPr>
          <a:xfrm>
            <a:off x="18853150" y="1957388"/>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5995577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cSld name="Title &amp; 2-color Non-bulleted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1" y="1622"/>
          <a:ext cx="1620" cy="1619"/>
        </p:xfrm>
        <a:graphic>
          <a:graphicData uri="http://schemas.openxmlformats.org/presentationml/2006/ole">
            <mc:AlternateContent xmlns:mc="http://schemas.openxmlformats.org/markup-compatibility/2006">
              <mc:Choice xmlns:v="urn:schemas-microsoft-com:vml" Requires="v">
                <p:oleObj spid="_x0000_s205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621" y="1622"/>
                        <a:ext cx="1620" cy="1619"/>
                      </a:xfrm>
                      <a:prstGeom prst="rect">
                        <a:avLst/>
                      </a:prstGeom>
                    </p:spPr>
                  </p:pic>
                </p:oleObj>
              </mc:Fallback>
            </mc:AlternateContent>
          </a:graphicData>
        </a:graphic>
      </p:graphicFrame>
      <p:sp>
        <p:nvSpPr>
          <p:cNvPr id="5" name="Text Placeholder 4"/>
          <p:cNvSpPr>
            <a:spLocks noGrp="1"/>
          </p:cNvSpPr>
          <p:nvPr>
            <p:ph type="body" sz="quarter" idx="10"/>
            <p:custDataLst>
              <p:tags r:id="rId3"/>
            </p:custDataLst>
          </p:nvPr>
        </p:nvSpPr>
        <p:spPr>
          <a:xfrm>
            <a:off x="529661" y="1476623"/>
            <a:ext cx="11375536" cy="1644489"/>
          </a:xfrm>
          <a:prstGeom prst="rect">
            <a:avLst/>
          </a:prstGeom>
        </p:spPr>
        <p:txBody>
          <a:bodyPr/>
          <a:lstStyle>
            <a:lvl1pPr marL="0" indent="0">
              <a:spcBef>
                <a:spcPts val="1836"/>
              </a:spcBef>
              <a:buNone/>
              <a:defRPr sz="3061">
                <a:gradFill>
                  <a:gsLst>
                    <a:gs pos="100000">
                      <a:schemeClr val="tx2"/>
                    </a:gs>
                    <a:gs pos="0">
                      <a:schemeClr val="tx2"/>
                    </a:gs>
                  </a:gsLst>
                  <a:lin ang="5400000" scaled="0"/>
                </a:gradFill>
                <a:latin typeface="+mj-lt"/>
              </a:defRPr>
            </a:lvl1pPr>
            <a:lvl2pPr marL="0" indent="0">
              <a:buNone/>
              <a:defRPr sz="1530">
                <a:gradFill>
                  <a:gsLst>
                    <a:gs pos="100000">
                      <a:schemeClr val="tx1"/>
                    </a:gs>
                    <a:gs pos="6000">
                      <a:schemeClr val="tx1"/>
                    </a:gs>
                  </a:gsLst>
                  <a:lin ang="5400000" scaled="0"/>
                </a:gradFill>
              </a:defRPr>
            </a:lvl2pPr>
            <a:lvl3pPr marL="177338" indent="0">
              <a:buNone/>
              <a:defRPr sz="1530">
                <a:gradFill>
                  <a:gsLst>
                    <a:gs pos="100000">
                      <a:schemeClr val="tx1"/>
                    </a:gs>
                    <a:gs pos="6000">
                      <a:schemeClr val="tx1"/>
                    </a:gs>
                  </a:gsLst>
                  <a:lin ang="5400000" scaled="0"/>
                </a:gradFill>
              </a:defRPr>
            </a:lvl3pPr>
            <a:lvl4pPr marL="349817" indent="0">
              <a:buNone/>
              <a:defRPr sz="1530">
                <a:gradFill>
                  <a:gsLst>
                    <a:gs pos="100000">
                      <a:schemeClr val="tx1"/>
                    </a:gs>
                    <a:gs pos="6000">
                      <a:schemeClr val="tx1"/>
                    </a:gs>
                  </a:gsLst>
                  <a:lin ang="5400000" scaled="0"/>
                </a:gradFill>
              </a:defRPr>
            </a:lvl4pPr>
            <a:lvl5pPr marL="530799" indent="0">
              <a:buNone/>
              <a:defRPr sz="1530">
                <a:gradFill>
                  <a:gsLst>
                    <a:gs pos="100000">
                      <a:schemeClr val="tx1"/>
                    </a:gs>
                    <a:gs pos="6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custDataLst>
              <p:tags r:id="rId4"/>
            </p:custDataLst>
          </p:nvPr>
        </p:nvSpPr>
        <p:spPr/>
        <p:txBody>
          <a:bodyPr/>
          <a:lstStyle/>
          <a:p>
            <a:r>
              <a:rPr lang="en-US" smtClean="0"/>
              <a:t>Click to edit Master title style</a:t>
            </a:r>
            <a:endParaRPr lang="en-US"/>
          </a:p>
        </p:txBody>
      </p:sp>
      <p:sp>
        <p:nvSpPr>
          <p:cNvPr id="6" name="TextBox 7"/>
          <p:cNvSpPr txBox="1"/>
          <p:nvPr>
            <p:custDataLst>
              <p:tags r:id="rId5"/>
            </p:custDataLst>
          </p:nvPr>
        </p:nvSpPr>
        <p:spPr>
          <a:xfrm>
            <a:off x="4840956" y="6746274"/>
            <a:ext cx="2754568" cy="126216"/>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804" spc="115" dirty="0" smtClean="0">
                <a:gradFill>
                  <a:gsLst>
                    <a:gs pos="0">
                      <a:srgbClr val="FFFFFF">
                        <a:alpha val="50000"/>
                      </a:srgbClr>
                    </a:gs>
                    <a:gs pos="86000">
                      <a:srgbClr val="FFFFFF">
                        <a:alpha val="50000"/>
                      </a:srgbClr>
                    </a:gs>
                  </a:gsLst>
                  <a:lin ang="5400000" scaled="0"/>
                </a:gradFill>
                <a:sym typeface="Segoe UI"/>
              </a:rPr>
              <a:t>MICROSOFT CONFIDENTIAL – INTERNAL ONLY</a:t>
            </a:r>
          </a:p>
        </p:txBody>
      </p:sp>
    </p:spTree>
    <p:extLst>
      <p:ext uri="{BB962C8B-B14F-4D97-AF65-F5344CB8AC3E}">
        <p14:creationId xmlns:p14="http://schemas.microsoft.com/office/powerpoint/2010/main" val="3897459735"/>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07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9"/>
                        <a:ext cx="1587" cy="1587"/>
                      </a:xfrm>
                      <a:prstGeom prst="rect">
                        <a:avLst/>
                      </a:prstGeom>
                    </p:spPr>
                  </p:pic>
                </p:oleObj>
              </mc:Fallback>
            </mc:AlternateContent>
          </a:graphicData>
        </a:graphic>
      </p:graphicFrame>
      <p:sp>
        <p:nvSpPr>
          <p:cNvPr id="4" name="Text Placeholder 3"/>
          <p:cNvSpPr>
            <a:spLocks noGrp="1"/>
          </p:cNvSpPr>
          <p:nvPr>
            <p:ph type="body" sz="quarter" idx="10"/>
            <p:custDataLst>
              <p:tags r:id="rId3"/>
            </p:custDataLst>
          </p:nvPr>
        </p:nvSpPr>
        <p:spPr>
          <a:xfrm>
            <a:off x="274639" y="1212850"/>
            <a:ext cx="11887200" cy="2228302"/>
          </a:xfrm>
        </p:spPr>
        <p:txBody>
          <a:bodyPr>
            <a:spAutoFit/>
          </a:bodyPr>
          <a:lstStyle>
            <a:lvl1pPr>
              <a:defRPr>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custDataLst>
              <p:tags r:id="rId4"/>
            </p:custDataLst>
          </p:nvPr>
        </p:nvSpPr>
        <p:spPr/>
        <p:txBody>
          <a:bodyPr/>
          <a:lstStyle/>
          <a:p>
            <a:r>
              <a:rPr lang="en-US" smtClean="0"/>
              <a:t>Click to edit Master title style</a:t>
            </a:r>
            <a:endParaRPr lang="en-US"/>
          </a:p>
        </p:txBody>
      </p:sp>
      <p:sp>
        <p:nvSpPr>
          <p:cNvPr id="5" name="TextBox 7"/>
          <p:cNvSpPr txBox="1"/>
          <p:nvPr userDrawn="1">
            <p:custDataLst>
              <p:tags r:id="rId5"/>
            </p:custDataLst>
          </p:nvPr>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smtClean="0">
                <a:gradFill>
                  <a:gsLst>
                    <a:gs pos="0">
                      <a:schemeClr val="tx1">
                        <a:alpha val="50000"/>
                      </a:schemeClr>
                    </a:gs>
                    <a:gs pos="86000">
                      <a:schemeClr val="tx1">
                        <a:alpha val="50000"/>
                      </a:schemeClr>
                    </a:gs>
                  </a:gsLst>
                  <a:lin ang="5400000" scaled="0"/>
                </a:gradFill>
                <a:latin typeface="Segoe UI"/>
                <a:sym typeface="Segoe UI"/>
              </a:rPr>
              <a:t>MICROSOFT CONFIDENTIAL – INTERNAL ONLY</a:t>
            </a:r>
          </a:p>
        </p:txBody>
      </p:sp>
    </p:spTree>
    <p:extLst>
      <p:ext uri="{BB962C8B-B14F-4D97-AF65-F5344CB8AC3E}">
        <p14:creationId xmlns:p14="http://schemas.microsoft.com/office/powerpoint/2010/main" val="3048685569"/>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7" y="482564"/>
            <a:ext cx="1646237" cy="351905"/>
          </a:xfrm>
          <a:prstGeom prst="rect">
            <a:avLst/>
          </a:prstGeom>
        </p:spPr>
      </p:pic>
    </p:spTree>
    <p:extLst>
      <p:ext uri="{BB962C8B-B14F-4D97-AF65-F5344CB8AC3E}">
        <p14:creationId xmlns:p14="http://schemas.microsoft.com/office/powerpoint/2010/main" val="413565279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7" name="Group 96"/>
          <p:cNvGrpSpPr/>
          <p:nvPr userDrawn="1"/>
        </p:nvGrpSpPr>
        <p:grpSpPr>
          <a:xfrm>
            <a:off x="6765997"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98" name="Group 97"/>
          <p:cNvGrpSpPr/>
          <p:nvPr userDrawn="1"/>
        </p:nvGrpSpPr>
        <p:grpSpPr>
          <a:xfrm>
            <a:off x="18853150" y="1957388"/>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4240877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8" name="Group 97"/>
          <p:cNvGrpSpPr/>
          <p:nvPr userDrawn="1"/>
        </p:nvGrpSpPr>
        <p:grpSpPr>
          <a:xfrm>
            <a:off x="7136678" y="4110831"/>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4737638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2381645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1999933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8" name="Group 97"/>
          <p:cNvGrpSpPr/>
          <p:nvPr userDrawn="1"/>
        </p:nvGrpSpPr>
        <p:grpSpPr>
          <a:xfrm>
            <a:off x="7136678" y="4110831"/>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065703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40769838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6512721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956987370"/>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116189277"/>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534128926"/>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78934366"/>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8"/>
            <a:ext cx="11887200" cy="54832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75669243"/>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11858325"/>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3314019"/>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9505083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83642301"/>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820655"/>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5919909"/>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2699447"/>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3654793"/>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18446867"/>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76549179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29660" y="1476622"/>
            <a:ext cx="11375536" cy="2228302"/>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0875376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061196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827926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7535725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762536910"/>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theme" Target="../theme/theme2.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183" r:id="rId1"/>
    <p:sldLayoutId id="2147484188" r:id="rId2"/>
    <p:sldLayoutId id="2147484189" r:id="rId3"/>
    <p:sldLayoutId id="2147484105" r:id="rId4"/>
    <p:sldLayoutId id="2147484185" r:id="rId5"/>
    <p:sldLayoutId id="2147484182" r:id="rId6"/>
    <p:sldLayoutId id="2147484186" r:id="rId7"/>
    <p:sldLayoutId id="2147484130" r:id="rId8"/>
    <p:sldLayoutId id="2147484101" r:id="rId9"/>
    <p:sldLayoutId id="2147484102" r:id="rId10"/>
    <p:sldLayoutId id="2147484098" r:id="rId11"/>
    <p:sldLayoutId id="2147484086" r:id="rId12"/>
    <p:sldLayoutId id="2147484100" r:id="rId13"/>
    <p:sldLayoutId id="2147484089" r:id="rId14"/>
    <p:sldLayoutId id="2147484106" r:id="rId15"/>
    <p:sldLayoutId id="2147484092" r:id="rId16"/>
    <p:sldLayoutId id="2147484093" r:id="rId17"/>
    <p:sldLayoutId id="2147484127" r:id="rId18"/>
    <p:sldLayoutId id="2147484128" r:id="rId19"/>
    <p:sldLayoutId id="2147484129" r:id="rId20"/>
    <p:sldLayoutId id="2147484094" r:id="rId21"/>
    <p:sldLayoutId id="2147484096" r:id="rId22"/>
    <p:sldLayoutId id="2147484191" r:id="rId23"/>
    <p:sldLayoutId id="2147484192" r:id="rId24"/>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44887739"/>
      </p:ext>
    </p:extLst>
  </p:cSld>
  <p:clrMap bg1="dk1" tx1="lt1" bg2="dk2" tx2="lt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 id="2147484204" r:id="rId11"/>
    <p:sldLayoutId id="2147484205" r:id="rId12"/>
    <p:sldLayoutId id="2147484206" r:id="rId13"/>
    <p:sldLayoutId id="2147484207" r:id="rId14"/>
    <p:sldLayoutId id="2147484208" r:id="rId15"/>
    <p:sldLayoutId id="2147484209" r:id="rId16"/>
    <p:sldLayoutId id="2147484210" r:id="rId17"/>
    <p:sldLayoutId id="2147484211" r:id="rId18"/>
    <p:sldLayoutId id="2147484212" r:id="rId19"/>
    <p:sldLayoutId id="2147484213" r:id="rId20"/>
    <p:sldLayoutId id="2147484214" r:id="rId21"/>
    <p:sldLayoutId id="2147484215" r:id="rId22"/>
    <p:sldLayoutId id="2147484216" r:id="rId23"/>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33.xml"/><Relationship Id="rId13" Type="http://schemas.openxmlformats.org/officeDocument/2006/relationships/notesSlide" Target="../notesSlides/notesSlide10.xml"/><Relationship Id="rId18" Type="http://schemas.openxmlformats.org/officeDocument/2006/relationships/image" Target="../media/image15.png"/><Relationship Id="rId3" Type="http://schemas.openxmlformats.org/officeDocument/2006/relationships/tags" Target="../tags/tag28.xml"/><Relationship Id="rId7" Type="http://schemas.openxmlformats.org/officeDocument/2006/relationships/tags" Target="../tags/tag32.xml"/><Relationship Id="rId12" Type="http://schemas.openxmlformats.org/officeDocument/2006/relationships/slideLayout" Target="../slideLayouts/slideLayout16.xml"/><Relationship Id="rId17" Type="http://schemas.openxmlformats.org/officeDocument/2006/relationships/image" Target="../media/image14.png"/><Relationship Id="rId2" Type="http://schemas.openxmlformats.org/officeDocument/2006/relationships/tags" Target="../tags/tag27.xml"/><Relationship Id="rId16" Type="http://schemas.openxmlformats.org/officeDocument/2006/relationships/image" Target="../media/image13.png"/><Relationship Id="rId1" Type="http://schemas.openxmlformats.org/officeDocument/2006/relationships/vmlDrawing" Target="../drawings/vmlDrawing9.vml"/><Relationship Id="rId6" Type="http://schemas.openxmlformats.org/officeDocument/2006/relationships/tags" Target="../tags/tag31.xml"/><Relationship Id="rId11" Type="http://schemas.openxmlformats.org/officeDocument/2006/relationships/tags" Target="../tags/tag36.xml"/><Relationship Id="rId5" Type="http://schemas.openxmlformats.org/officeDocument/2006/relationships/tags" Target="../tags/tag30.xml"/><Relationship Id="rId15" Type="http://schemas.openxmlformats.org/officeDocument/2006/relationships/image" Target="../media/image5.emf"/><Relationship Id="rId10" Type="http://schemas.openxmlformats.org/officeDocument/2006/relationships/tags" Target="../tags/tag35.xml"/><Relationship Id="rId4" Type="http://schemas.openxmlformats.org/officeDocument/2006/relationships/tags" Target="../tags/tag29.xml"/><Relationship Id="rId9" Type="http://schemas.openxmlformats.org/officeDocument/2006/relationships/tags" Target="../tags/tag34.xml"/><Relationship Id="rId14" Type="http://schemas.openxmlformats.org/officeDocument/2006/relationships/oleObject" Target="../embeddings/oleObject9.bin"/></Relationships>
</file>

<file path=ppt/slides/_rels/slide11.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18" Type="http://schemas.openxmlformats.org/officeDocument/2006/relationships/image" Target="../media/image31.png"/><Relationship Id="rId3" Type="http://schemas.microsoft.com/office/2007/relationships/hdphoto" Target="../media/hdphoto5.wdp"/><Relationship Id="rId7" Type="http://schemas.openxmlformats.org/officeDocument/2006/relationships/image" Target="../media/image20.png"/><Relationship Id="rId12" Type="http://schemas.openxmlformats.org/officeDocument/2006/relationships/image" Target="../media/image25.png"/><Relationship Id="rId17" Type="http://schemas.openxmlformats.org/officeDocument/2006/relationships/image" Target="../media/image30.png"/><Relationship Id="rId2" Type="http://schemas.openxmlformats.org/officeDocument/2006/relationships/image" Target="../media/image16.png"/><Relationship Id="rId16" Type="http://schemas.openxmlformats.org/officeDocument/2006/relationships/image" Target="../media/image29.png"/><Relationship Id="rId1" Type="http://schemas.openxmlformats.org/officeDocument/2006/relationships/slideLayout" Target="../slideLayouts/slideLayout23.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5" Type="http://schemas.openxmlformats.org/officeDocument/2006/relationships/image" Target="../media/image28.png"/><Relationship Id="rId10" Type="http://schemas.openxmlformats.org/officeDocument/2006/relationships/image" Target="../media/image23.png"/><Relationship Id="rId19" Type="http://schemas.openxmlformats.org/officeDocument/2006/relationships/image" Target="../media/image32.png"/><Relationship Id="rId4" Type="http://schemas.openxmlformats.org/officeDocument/2006/relationships/image" Target="../media/image17.png"/><Relationship Id="rId9" Type="http://schemas.openxmlformats.org/officeDocument/2006/relationships/image" Target="../media/image22.png"/><Relationship Id="rId14" Type="http://schemas.openxmlformats.org/officeDocument/2006/relationships/image" Target="../media/image27.png"/></Relationships>
</file>

<file path=ppt/slides/_rels/slide12.xml.rels><?xml version="1.0" encoding="UTF-8" standalone="yes"?>
<Relationships xmlns="http://schemas.openxmlformats.org/package/2006/relationships"><Relationship Id="rId3" Type="http://schemas.openxmlformats.org/officeDocument/2006/relationships/image" Target="../media/image34.jpg"/><Relationship Id="rId7" Type="http://schemas.openxmlformats.org/officeDocument/2006/relationships/image" Target="../media/image38.png"/><Relationship Id="rId2" Type="http://schemas.openxmlformats.org/officeDocument/2006/relationships/image" Target="../media/image33.png"/><Relationship Id="rId1" Type="http://schemas.openxmlformats.org/officeDocument/2006/relationships/slideLayout" Target="../slideLayouts/slideLayout23.xml"/><Relationship Id="rId6" Type="http://schemas.openxmlformats.org/officeDocument/2006/relationships/image" Target="../media/image37.png"/><Relationship Id="rId5" Type="http://schemas.openxmlformats.org/officeDocument/2006/relationships/image" Target="../media/image36.jpg"/><Relationship Id="rId4" Type="http://schemas.openxmlformats.org/officeDocument/2006/relationships/image" Target="../media/image35.jpg"/></Relationships>
</file>

<file path=ppt/slides/_rels/slide13.xml.rels><?xml version="1.0" encoding="UTF-8" standalone="yes"?>
<Relationships xmlns="http://schemas.openxmlformats.org/package/2006/relationships"><Relationship Id="rId8" Type="http://schemas.openxmlformats.org/officeDocument/2006/relationships/image" Target="../media/image42.wmf"/><Relationship Id="rId13" Type="http://schemas.openxmlformats.org/officeDocument/2006/relationships/image" Target="../media/image47.jpg"/><Relationship Id="rId3" Type="http://schemas.openxmlformats.org/officeDocument/2006/relationships/tags" Target="../tags/tag39.xml"/><Relationship Id="rId7" Type="http://schemas.openxmlformats.org/officeDocument/2006/relationships/image" Target="../media/image41.jpeg"/><Relationship Id="rId12" Type="http://schemas.openxmlformats.org/officeDocument/2006/relationships/image" Target="../media/image46.pn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40.jpeg"/><Relationship Id="rId11" Type="http://schemas.openxmlformats.org/officeDocument/2006/relationships/image" Target="../media/image45.png"/><Relationship Id="rId5" Type="http://schemas.openxmlformats.org/officeDocument/2006/relationships/image" Target="../media/image39.png"/><Relationship Id="rId10" Type="http://schemas.openxmlformats.org/officeDocument/2006/relationships/image" Target="../media/image44.png"/><Relationship Id="rId4" Type="http://schemas.openxmlformats.org/officeDocument/2006/relationships/slideLayout" Target="../slideLayouts/slideLayout23.xml"/><Relationship Id="rId9" Type="http://schemas.openxmlformats.org/officeDocument/2006/relationships/image" Target="../media/image43.jpeg"/></Relationships>
</file>

<file path=ppt/slides/_rels/slide14.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notesSlide" Target="../notesSlides/notesSlide11.xml"/><Relationship Id="rId1" Type="http://schemas.openxmlformats.org/officeDocument/2006/relationships/slideLayout" Target="../slideLayouts/slideLayout23.xml"/><Relationship Id="rId6" Type="http://schemas.openxmlformats.org/officeDocument/2006/relationships/image" Target="../media/image51.JPG"/><Relationship Id="rId5" Type="http://schemas.openxmlformats.org/officeDocument/2006/relationships/image" Target="../media/image50.WMF"/><Relationship Id="rId4" Type="http://schemas.openxmlformats.org/officeDocument/2006/relationships/image" Target="../media/image49.JPG"/></Relationships>
</file>

<file path=ppt/slides/_rels/slide1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23.xml"/><Relationship Id="rId6" Type="http://schemas.openxmlformats.org/officeDocument/2006/relationships/image" Target="../media/image58.JPG"/><Relationship Id="rId5" Type="http://schemas.openxmlformats.org/officeDocument/2006/relationships/image" Target="../media/image57.JPG"/><Relationship Id="rId4" Type="http://schemas.openxmlformats.org/officeDocument/2006/relationships/image" Target="../media/image56.JPG"/></Relationships>
</file>

<file path=ppt/slides/_rels/slide16.xml.rels><?xml version="1.0" encoding="UTF-8" standalone="yes"?>
<Relationships xmlns="http://schemas.openxmlformats.org/package/2006/relationships"><Relationship Id="rId3" Type="http://schemas.openxmlformats.org/officeDocument/2006/relationships/image" Target="../media/image60.jpg"/><Relationship Id="rId7" Type="http://schemas.openxmlformats.org/officeDocument/2006/relationships/image" Target="../media/image64.jpg"/><Relationship Id="rId2" Type="http://schemas.openxmlformats.org/officeDocument/2006/relationships/image" Target="../media/image59.jpg"/><Relationship Id="rId1" Type="http://schemas.openxmlformats.org/officeDocument/2006/relationships/slideLayout" Target="../slideLayouts/slideLayout23.xml"/><Relationship Id="rId6" Type="http://schemas.openxmlformats.org/officeDocument/2006/relationships/image" Target="../media/image63.jpg"/><Relationship Id="rId5" Type="http://schemas.openxmlformats.org/officeDocument/2006/relationships/image" Target="../media/image62.png"/><Relationship Id="rId4" Type="http://schemas.openxmlformats.org/officeDocument/2006/relationships/image" Target="../media/image61.jpg"/></Relationships>
</file>

<file path=ppt/slides/_rels/slide17.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image" Target="../media/image66.png"/><Relationship Id="rId7" Type="http://schemas.openxmlformats.org/officeDocument/2006/relationships/image" Target="../media/image70.png"/><Relationship Id="rId2" Type="http://schemas.openxmlformats.org/officeDocument/2006/relationships/image" Target="../media/image65.png"/><Relationship Id="rId1" Type="http://schemas.openxmlformats.org/officeDocument/2006/relationships/slideLayout" Target="../slideLayouts/slideLayout23.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png"/></Relationships>
</file>

<file path=ppt/slides/_rels/slide18.xml.rels><?xml version="1.0" encoding="UTF-8" standalone="yes"?>
<Relationships xmlns="http://schemas.openxmlformats.org/package/2006/relationships"><Relationship Id="rId3" Type="http://schemas.openxmlformats.org/officeDocument/2006/relationships/image" Target="../media/image73.JPG"/><Relationship Id="rId2" Type="http://schemas.openxmlformats.org/officeDocument/2006/relationships/image" Target="../media/image72.JPG"/><Relationship Id="rId1" Type="http://schemas.openxmlformats.org/officeDocument/2006/relationships/slideLayout" Target="../slideLayouts/slideLayout23.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JPG"/></Relationships>
</file>

<file path=ppt/slides/_rels/slide19.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75.png"/><Relationship Id="rId1" Type="http://schemas.openxmlformats.org/officeDocument/2006/relationships/slideLayout" Target="../slideLayouts/slideLayout23.xml"/><Relationship Id="rId6" Type="http://schemas.openxmlformats.org/officeDocument/2006/relationships/image" Target="../media/image78.png"/><Relationship Id="rId5" Type="http://schemas.openxmlformats.org/officeDocument/2006/relationships/image" Target="../media/image77.jpg"/><Relationship Id="rId4" Type="http://schemas.openxmlformats.org/officeDocument/2006/relationships/image" Target="../media/image47.jp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23.xml"/><Relationship Id="rId5" Type="http://schemas.openxmlformats.org/officeDocument/2006/relationships/image" Target="../media/image82.png"/><Relationship Id="rId4" Type="http://schemas.openxmlformats.org/officeDocument/2006/relationships/image" Target="../media/image81.png"/></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40.xml"/><Relationship Id="rId1" Type="http://schemas.openxmlformats.org/officeDocument/2006/relationships/vmlDrawing" Target="../drawings/vmlDrawing10.v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notesSlide" Target="../notesSlides/notesSlide12.xml"/></Relationships>
</file>

<file path=ppt/slides/_rels/slide22.xml.rels><?xml version="1.0" encoding="UTF-8" standalone="yes"?>
<Relationships xmlns="http://schemas.openxmlformats.org/package/2006/relationships"><Relationship Id="rId8" Type="http://schemas.openxmlformats.org/officeDocument/2006/relationships/tags" Target="../tags/tag47.xml"/><Relationship Id="rId13" Type="http://schemas.openxmlformats.org/officeDocument/2006/relationships/slideLayout" Target="../slideLayouts/slideLayout16.xml"/><Relationship Id="rId3" Type="http://schemas.openxmlformats.org/officeDocument/2006/relationships/tags" Target="../tags/tag42.xml"/><Relationship Id="rId7" Type="http://schemas.openxmlformats.org/officeDocument/2006/relationships/tags" Target="../tags/tag46.xml"/><Relationship Id="rId12" Type="http://schemas.openxmlformats.org/officeDocument/2006/relationships/tags" Target="../tags/tag51.xml"/><Relationship Id="rId2" Type="http://schemas.openxmlformats.org/officeDocument/2006/relationships/tags" Target="../tags/tag41.xml"/><Relationship Id="rId16" Type="http://schemas.openxmlformats.org/officeDocument/2006/relationships/image" Target="../media/image5.emf"/><Relationship Id="rId1" Type="http://schemas.openxmlformats.org/officeDocument/2006/relationships/vmlDrawing" Target="../drawings/vmlDrawing11.vml"/><Relationship Id="rId6" Type="http://schemas.openxmlformats.org/officeDocument/2006/relationships/tags" Target="../tags/tag45.xml"/><Relationship Id="rId11" Type="http://schemas.openxmlformats.org/officeDocument/2006/relationships/tags" Target="../tags/tag50.xml"/><Relationship Id="rId5" Type="http://schemas.openxmlformats.org/officeDocument/2006/relationships/tags" Target="../tags/tag44.xml"/><Relationship Id="rId15" Type="http://schemas.openxmlformats.org/officeDocument/2006/relationships/oleObject" Target="../embeddings/oleObject11.bin"/><Relationship Id="rId10" Type="http://schemas.openxmlformats.org/officeDocument/2006/relationships/tags" Target="../tags/tag49.xml"/><Relationship Id="rId4" Type="http://schemas.openxmlformats.org/officeDocument/2006/relationships/tags" Target="../tags/tag43.xml"/><Relationship Id="rId9" Type="http://schemas.openxmlformats.org/officeDocument/2006/relationships/tags" Target="../tags/tag48.xml"/><Relationship Id="rId14" Type="http://schemas.openxmlformats.org/officeDocument/2006/relationships/notesSlide" Target="../notesSlides/notesSlide13.xml"/></Relationships>
</file>

<file path=ppt/slides/_rels/slide23.xml.rels><?xml version="1.0" encoding="UTF-8" standalone="yes"?>
<Relationships xmlns="http://schemas.openxmlformats.org/package/2006/relationships"><Relationship Id="rId8" Type="http://schemas.openxmlformats.org/officeDocument/2006/relationships/tags" Target="../tags/tag58.xml"/><Relationship Id="rId13" Type="http://schemas.openxmlformats.org/officeDocument/2006/relationships/notesSlide" Target="../notesSlides/notesSlide14.xml"/><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slideLayout" Target="../slideLayouts/slideLayout16.xml"/><Relationship Id="rId2" Type="http://schemas.openxmlformats.org/officeDocument/2006/relationships/tags" Target="../tags/tag52.xml"/><Relationship Id="rId1" Type="http://schemas.openxmlformats.org/officeDocument/2006/relationships/vmlDrawing" Target="../drawings/vmlDrawing12.vml"/><Relationship Id="rId6" Type="http://schemas.openxmlformats.org/officeDocument/2006/relationships/tags" Target="../tags/tag56.xml"/><Relationship Id="rId11" Type="http://schemas.openxmlformats.org/officeDocument/2006/relationships/tags" Target="../tags/tag61.xml"/><Relationship Id="rId5" Type="http://schemas.openxmlformats.org/officeDocument/2006/relationships/tags" Target="../tags/tag55.xml"/><Relationship Id="rId15" Type="http://schemas.openxmlformats.org/officeDocument/2006/relationships/image" Target="../media/image5.emf"/><Relationship Id="rId10" Type="http://schemas.openxmlformats.org/officeDocument/2006/relationships/tags" Target="../tags/tag60.xml"/><Relationship Id="rId4" Type="http://schemas.openxmlformats.org/officeDocument/2006/relationships/tags" Target="../tags/tag54.xml"/><Relationship Id="rId9" Type="http://schemas.openxmlformats.org/officeDocument/2006/relationships/tags" Target="../tags/tag59.xml"/><Relationship Id="rId14" Type="http://schemas.openxmlformats.org/officeDocument/2006/relationships/oleObject" Target="../embeddings/oleObject12.bin"/></Relationships>
</file>

<file path=ppt/slides/_rels/slide24.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notesSlide" Target="../notesSlides/notesSlide15.xml"/><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slideLayout" Target="../slideLayouts/slideLayout16.xml"/><Relationship Id="rId2" Type="http://schemas.openxmlformats.org/officeDocument/2006/relationships/tags" Target="../tags/tag62.xml"/><Relationship Id="rId1" Type="http://schemas.openxmlformats.org/officeDocument/2006/relationships/vmlDrawing" Target="../drawings/vmlDrawing13.vml"/><Relationship Id="rId6" Type="http://schemas.openxmlformats.org/officeDocument/2006/relationships/tags" Target="../tags/tag66.xml"/><Relationship Id="rId11" Type="http://schemas.openxmlformats.org/officeDocument/2006/relationships/tags" Target="../tags/tag71.xml"/><Relationship Id="rId5" Type="http://schemas.openxmlformats.org/officeDocument/2006/relationships/tags" Target="../tags/tag65.xml"/><Relationship Id="rId15" Type="http://schemas.openxmlformats.org/officeDocument/2006/relationships/image" Target="../media/image5.emf"/><Relationship Id="rId10" Type="http://schemas.openxmlformats.org/officeDocument/2006/relationships/tags" Target="../tags/tag70.xml"/><Relationship Id="rId4" Type="http://schemas.openxmlformats.org/officeDocument/2006/relationships/tags" Target="../tags/tag64.xml"/><Relationship Id="rId9" Type="http://schemas.openxmlformats.org/officeDocument/2006/relationships/tags" Target="../tags/tag69.xml"/><Relationship Id="rId14" Type="http://schemas.openxmlformats.org/officeDocument/2006/relationships/oleObject" Target="../embeddings/oleObject13.bin"/></Relationships>
</file>

<file path=ppt/slides/_rels/slide25.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tags" Target="../tags/tag73.xml"/><Relationship Id="rId7" Type="http://schemas.openxmlformats.org/officeDocument/2006/relationships/tags" Target="../tags/tag77.xml"/><Relationship Id="rId2" Type="http://schemas.openxmlformats.org/officeDocument/2006/relationships/tags" Target="../tags/tag72.xml"/><Relationship Id="rId1" Type="http://schemas.openxmlformats.org/officeDocument/2006/relationships/vmlDrawing" Target="../drawings/vmlDrawing14.vml"/><Relationship Id="rId6" Type="http://schemas.openxmlformats.org/officeDocument/2006/relationships/tags" Target="../tags/tag76.xml"/><Relationship Id="rId11" Type="http://schemas.openxmlformats.org/officeDocument/2006/relationships/image" Target="../media/image5.emf"/><Relationship Id="rId5" Type="http://schemas.openxmlformats.org/officeDocument/2006/relationships/tags" Target="../tags/tag75.xml"/><Relationship Id="rId10" Type="http://schemas.openxmlformats.org/officeDocument/2006/relationships/oleObject" Target="../embeddings/oleObject14.bin"/><Relationship Id="rId4" Type="http://schemas.openxmlformats.org/officeDocument/2006/relationships/tags" Target="../tags/tag74.xml"/><Relationship Id="rId9" Type="http://schemas.openxmlformats.org/officeDocument/2006/relationships/notesSlide" Target="../notesSlides/notesSlide16.xml"/></Relationships>
</file>

<file path=ppt/slides/_rels/slide26.xml.rels><?xml version="1.0" encoding="UTF-8" standalone="yes"?>
<Relationships xmlns="http://schemas.openxmlformats.org/package/2006/relationships"><Relationship Id="rId8" Type="http://schemas.openxmlformats.org/officeDocument/2006/relationships/tags" Target="../tags/tag84.xml"/><Relationship Id="rId13" Type="http://schemas.openxmlformats.org/officeDocument/2006/relationships/image" Target="../media/image5.emf"/><Relationship Id="rId3" Type="http://schemas.openxmlformats.org/officeDocument/2006/relationships/tags" Target="../tags/tag79.xml"/><Relationship Id="rId7" Type="http://schemas.openxmlformats.org/officeDocument/2006/relationships/tags" Target="../tags/tag83.xml"/><Relationship Id="rId12" Type="http://schemas.openxmlformats.org/officeDocument/2006/relationships/oleObject" Target="../embeddings/oleObject15.bin"/><Relationship Id="rId2" Type="http://schemas.openxmlformats.org/officeDocument/2006/relationships/tags" Target="../tags/tag78.xml"/><Relationship Id="rId1" Type="http://schemas.openxmlformats.org/officeDocument/2006/relationships/vmlDrawing" Target="../drawings/vmlDrawing15.vml"/><Relationship Id="rId6" Type="http://schemas.openxmlformats.org/officeDocument/2006/relationships/tags" Target="../tags/tag82.xml"/><Relationship Id="rId11" Type="http://schemas.openxmlformats.org/officeDocument/2006/relationships/notesSlide" Target="../notesSlides/notesSlide17.xml"/><Relationship Id="rId5" Type="http://schemas.openxmlformats.org/officeDocument/2006/relationships/tags" Target="../tags/tag81.xml"/><Relationship Id="rId10" Type="http://schemas.openxmlformats.org/officeDocument/2006/relationships/slideLayout" Target="../slideLayouts/slideLayout16.xml"/><Relationship Id="rId4" Type="http://schemas.openxmlformats.org/officeDocument/2006/relationships/tags" Target="../tags/tag80.xml"/><Relationship Id="rId9" Type="http://schemas.openxmlformats.org/officeDocument/2006/relationships/tags" Target="../tags/tag85.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tags" Target="../tags/tag86.xml"/><Relationship Id="rId1" Type="http://schemas.openxmlformats.org/officeDocument/2006/relationships/vmlDrawing" Target="../drawings/vmlDrawing16.vml"/><Relationship Id="rId6" Type="http://schemas.openxmlformats.org/officeDocument/2006/relationships/image" Target="../media/image5.emf"/><Relationship Id="rId5" Type="http://schemas.openxmlformats.org/officeDocument/2006/relationships/oleObject" Target="../embeddings/oleObject16.bin"/><Relationship Id="rId4" Type="http://schemas.openxmlformats.org/officeDocument/2006/relationships/notesSlide" Target="../notesSlides/notesSlide1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7.xml"/><Relationship Id="rId5" Type="http://schemas.microsoft.com/office/2007/relationships/hdphoto" Target="../media/hdphoto1.wdp"/><Relationship Id="rId4" Type="http://schemas.openxmlformats.org/officeDocument/2006/relationships/image" Target="../media/image8.png"/></Relationships>
</file>

<file path=ppt/slides/_rels/slide30.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slideLayout" Target="../slideLayouts/slideLayout16.xml"/><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tags" Target="../tags/tag92.xml"/><Relationship Id="rId5" Type="http://schemas.openxmlformats.org/officeDocument/2006/relationships/tags" Target="../tags/tag91.xml"/><Relationship Id="rId4" Type="http://schemas.openxmlformats.org/officeDocument/2006/relationships/tags" Target="../tags/tag90.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93.xml"/><Relationship Id="rId1" Type="http://schemas.openxmlformats.org/officeDocument/2006/relationships/vmlDrawing" Target="../drawings/vmlDrawing17.vml"/><Relationship Id="rId6" Type="http://schemas.openxmlformats.org/officeDocument/2006/relationships/image" Target="../media/image5.emf"/><Relationship Id="rId5" Type="http://schemas.openxmlformats.org/officeDocument/2006/relationships/oleObject" Target="../embeddings/oleObject17.bin"/><Relationship Id="rId4" Type="http://schemas.openxmlformats.org/officeDocument/2006/relationships/notesSlide" Target="../notesSlides/notesSlide19.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94.xml"/><Relationship Id="rId1" Type="http://schemas.openxmlformats.org/officeDocument/2006/relationships/vmlDrawing" Target="../drawings/vmlDrawing18.vml"/><Relationship Id="rId6" Type="http://schemas.openxmlformats.org/officeDocument/2006/relationships/image" Target="../media/image5.emf"/><Relationship Id="rId5" Type="http://schemas.openxmlformats.org/officeDocument/2006/relationships/oleObject" Target="../embeddings/oleObject18.bin"/><Relationship Id="rId4" Type="http://schemas.openxmlformats.org/officeDocument/2006/relationships/notesSlide" Target="../notesSlides/notesSlide20.xml"/></Relationships>
</file>

<file path=ppt/slides/_rels/slide33.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tags" Target="../tags/tag96.xml"/><Relationship Id="rId7" Type="http://schemas.openxmlformats.org/officeDocument/2006/relationships/notesSlide" Target="../notesSlides/notesSlide21.xml"/><Relationship Id="rId2" Type="http://schemas.openxmlformats.org/officeDocument/2006/relationships/tags" Target="../tags/tag95.xml"/><Relationship Id="rId1" Type="http://schemas.openxmlformats.org/officeDocument/2006/relationships/vmlDrawing" Target="../drawings/vmlDrawing19.vml"/><Relationship Id="rId6" Type="http://schemas.openxmlformats.org/officeDocument/2006/relationships/slideLayout" Target="../slideLayouts/slideLayout16.xml"/><Relationship Id="rId11" Type="http://schemas.openxmlformats.org/officeDocument/2006/relationships/image" Target="../media/image84.png"/><Relationship Id="rId5" Type="http://schemas.openxmlformats.org/officeDocument/2006/relationships/tags" Target="../tags/tag98.xml"/><Relationship Id="rId10" Type="http://schemas.openxmlformats.org/officeDocument/2006/relationships/image" Target="../media/image83.png"/><Relationship Id="rId4" Type="http://schemas.openxmlformats.org/officeDocument/2006/relationships/tags" Target="../tags/tag97.xml"/><Relationship Id="rId9" Type="http://schemas.openxmlformats.org/officeDocument/2006/relationships/image" Target="../media/image5.emf"/></Relationships>
</file>

<file path=ppt/slides/_rels/slide34.xml.rels><?xml version="1.0" encoding="UTF-8" standalone="yes"?>
<Relationships xmlns="http://schemas.openxmlformats.org/package/2006/relationships"><Relationship Id="rId3" Type="http://schemas.openxmlformats.org/officeDocument/2006/relationships/hyperlink" Target="http://ogp.me/" TargetMode="External"/><Relationship Id="rId2" Type="http://schemas.openxmlformats.org/officeDocument/2006/relationships/image" Target="../media/image15.png"/><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3" Type="http://schemas.openxmlformats.org/officeDocument/2006/relationships/hyperlink" Target="http://ogp.me/" TargetMode="External"/><Relationship Id="rId2" Type="http://schemas.openxmlformats.org/officeDocument/2006/relationships/notesSlide" Target="../notesSlides/notesSlide22.xml"/><Relationship Id="rId1" Type="http://schemas.openxmlformats.org/officeDocument/2006/relationships/slideLayout" Target="../slideLayouts/slideLayout17.xml"/><Relationship Id="rId4" Type="http://schemas.openxmlformats.org/officeDocument/2006/relationships/image" Target="../media/image15.png"/></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99.xml"/><Relationship Id="rId1" Type="http://schemas.openxmlformats.org/officeDocument/2006/relationships/vmlDrawing" Target="../drawings/vmlDrawing20.vml"/><Relationship Id="rId6" Type="http://schemas.openxmlformats.org/officeDocument/2006/relationships/image" Target="../media/image5.emf"/><Relationship Id="rId5" Type="http://schemas.openxmlformats.org/officeDocument/2006/relationships/oleObject" Target="../embeddings/oleObject20.bin"/><Relationship Id="rId4" Type="http://schemas.openxmlformats.org/officeDocument/2006/relationships/notesSlide" Target="../notesSlides/notesSlide23.xml"/></Relationships>
</file>

<file path=ppt/slides/_rels/slide37.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100.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4.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tags" Target="../tags/tag10.xml"/><Relationship Id="rId7" Type="http://schemas.openxmlformats.org/officeDocument/2006/relationships/tags" Target="../tags/tag14.xml"/><Relationship Id="rId2" Type="http://schemas.openxmlformats.org/officeDocument/2006/relationships/tags" Target="../tags/tag9.xml"/><Relationship Id="rId1" Type="http://schemas.openxmlformats.org/officeDocument/2006/relationships/vmlDrawing" Target="../drawings/vmlDrawing3.vml"/><Relationship Id="rId6" Type="http://schemas.openxmlformats.org/officeDocument/2006/relationships/tags" Target="../tags/tag13.xml"/><Relationship Id="rId11" Type="http://schemas.openxmlformats.org/officeDocument/2006/relationships/image" Target="../media/image5.emf"/><Relationship Id="rId5" Type="http://schemas.openxmlformats.org/officeDocument/2006/relationships/tags" Target="../tags/tag12.xml"/><Relationship Id="rId10" Type="http://schemas.openxmlformats.org/officeDocument/2006/relationships/oleObject" Target="../embeddings/oleObject3.bin"/><Relationship Id="rId4" Type="http://schemas.openxmlformats.org/officeDocument/2006/relationships/tags" Target="../tags/tag11.xml"/><Relationship Id="rId9"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3" Type="http://schemas.openxmlformats.org/officeDocument/2006/relationships/hyperlink" Target="http://microsoft.com/msdn" TargetMode="External"/><Relationship Id="rId7" Type="http://schemas.openxmlformats.org/officeDocument/2006/relationships/image" Target="../media/image86.png"/><Relationship Id="rId2" Type="http://schemas.openxmlformats.org/officeDocument/2006/relationships/notesSlide" Target="../notesSlides/notesSlide25.xml"/><Relationship Id="rId1" Type="http://schemas.openxmlformats.org/officeDocument/2006/relationships/slideLayout" Target="../slideLayouts/slideLayout16.xml"/><Relationship Id="rId6" Type="http://schemas.openxmlformats.org/officeDocument/2006/relationships/hyperlink" Target="http://microsoft.com/technet" TargetMode="External"/><Relationship Id="rId5" Type="http://schemas.openxmlformats.org/officeDocument/2006/relationships/hyperlink" Target="http://channel9.msdn.com/Events/TechEd" TargetMode="External"/><Relationship Id="rId4" Type="http://schemas.openxmlformats.org/officeDocument/2006/relationships/hyperlink" Target="http://www.microsoft.com/learning" TargetMode="External"/></Relationships>
</file>

<file path=ppt/slides/_rels/slide41.xml.rels><?xml version="1.0" encoding="UTF-8" standalone="yes"?>
<Relationships xmlns="http://schemas.openxmlformats.org/package/2006/relationships"><Relationship Id="rId8" Type="http://schemas.openxmlformats.org/officeDocument/2006/relationships/image" Target="../media/image92.jpeg"/><Relationship Id="rId3" Type="http://schemas.openxmlformats.org/officeDocument/2006/relationships/image" Target="../media/image87.png"/><Relationship Id="rId7" Type="http://schemas.openxmlformats.org/officeDocument/2006/relationships/image" Target="../media/image91.jpeg"/><Relationship Id="rId2" Type="http://schemas.openxmlformats.org/officeDocument/2006/relationships/notesSlide" Target="../notesSlides/notesSlide26.xml"/><Relationship Id="rId1" Type="http://schemas.openxmlformats.org/officeDocument/2006/relationships/slideLayout" Target="../slideLayouts/slideLayout16.xml"/><Relationship Id="rId6" Type="http://schemas.openxmlformats.org/officeDocument/2006/relationships/image" Target="../media/image90.jpeg"/><Relationship Id="rId5" Type="http://schemas.openxmlformats.org/officeDocument/2006/relationships/image" Target="../media/image89.jpeg"/><Relationship Id="rId4" Type="http://schemas.openxmlformats.org/officeDocument/2006/relationships/image" Target="../media/image88.png"/><Relationship Id="rId9" Type="http://schemas.openxmlformats.org/officeDocument/2006/relationships/image" Target="../media/image93.jpeg"/></Relationships>
</file>

<file path=ppt/slides/_rels/slide42.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27.xml"/><Relationship Id="rId1" Type="http://schemas.openxmlformats.org/officeDocument/2006/relationships/slideLayout" Target="../slideLayouts/slideLayout40.xml"/><Relationship Id="rId5" Type="http://schemas.openxmlformats.org/officeDocument/2006/relationships/image" Target="../media/image96.png"/><Relationship Id="rId4" Type="http://schemas.openxmlformats.org/officeDocument/2006/relationships/image" Target="../media/image95.png"/></Relationships>
</file>

<file path=ppt/slides/_rels/slide43.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28.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15.xml"/><Relationship Id="rId1" Type="http://schemas.openxmlformats.org/officeDocument/2006/relationships/vmlDrawing" Target="../drawings/vmlDrawing4.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16.xml"/><Relationship Id="rId7" Type="http://schemas.openxmlformats.org/officeDocument/2006/relationships/image" Target="../media/image9.emf"/><Relationship Id="rId2" Type="http://schemas.openxmlformats.org/officeDocument/2006/relationships/tags" Target="../tags/tag16.xml"/><Relationship Id="rId1" Type="http://schemas.openxmlformats.org/officeDocument/2006/relationships/vmlDrawing" Target="../drawings/vmlDrawing5.v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notesSlide" Target="../notesSlides/notesSlide6.xml"/><Relationship Id="rId9" Type="http://schemas.microsoft.com/office/2007/relationships/hdphoto" Target="../media/hdphoto2.wdp"/></Relationships>
</file>

<file path=ppt/slides/_rels/slide7.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18.xml"/><Relationship Id="rId7" Type="http://schemas.openxmlformats.org/officeDocument/2006/relationships/notesSlide" Target="../notesSlides/notesSlide7.xml"/><Relationship Id="rId2" Type="http://schemas.openxmlformats.org/officeDocument/2006/relationships/tags" Target="../tags/tag17.xml"/><Relationship Id="rId1" Type="http://schemas.openxmlformats.org/officeDocument/2006/relationships/vmlDrawing" Target="../drawings/vmlDrawing6.vml"/><Relationship Id="rId6" Type="http://schemas.openxmlformats.org/officeDocument/2006/relationships/slideLayout" Target="../slideLayouts/slideLayout16.xml"/><Relationship Id="rId11" Type="http://schemas.microsoft.com/office/2007/relationships/hdphoto" Target="../media/hdphoto3.wdp"/><Relationship Id="rId5" Type="http://schemas.openxmlformats.org/officeDocument/2006/relationships/tags" Target="../tags/tag20.xml"/><Relationship Id="rId10" Type="http://schemas.openxmlformats.org/officeDocument/2006/relationships/image" Target="../media/image11.png"/><Relationship Id="rId4" Type="http://schemas.openxmlformats.org/officeDocument/2006/relationships/tags" Target="../tags/tag19.xml"/><Relationship Id="rId9" Type="http://schemas.openxmlformats.org/officeDocument/2006/relationships/image" Target="../media/image5.emf"/></Relationships>
</file>

<file path=ppt/slides/_rels/slide8.xml.rels><?xml version="1.0" encoding="UTF-8" standalone="yes"?>
<Relationships xmlns="http://schemas.openxmlformats.org/package/2006/relationships"><Relationship Id="rId8" Type="http://schemas.openxmlformats.org/officeDocument/2006/relationships/notesSlide" Target="../notesSlides/notesSlide8.xml"/><Relationship Id="rId3" Type="http://schemas.openxmlformats.org/officeDocument/2006/relationships/tags" Target="../tags/tag22.xml"/><Relationship Id="rId7" Type="http://schemas.openxmlformats.org/officeDocument/2006/relationships/slideLayout" Target="../slideLayouts/slideLayout16.xml"/><Relationship Id="rId12" Type="http://schemas.microsoft.com/office/2007/relationships/hdphoto" Target="../media/hdphoto4.wdp"/><Relationship Id="rId2" Type="http://schemas.openxmlformats.org/officeDocument/2006/relationships/tags" Target="../tags/tag21.xml"/><Relationship Id="rId1" Type="http://schemas.openxmlformats.org/officeDocument/2006/relationships/vmlDrawing" Target="../drawings/vmlDrawing7.vml"/><Relationship Id="rId6" Type="http://schemas.openxmlformats.org/officeDocument/2006/relationships/tags" Target="../tags/tag25.xml"/><Relationship Id="rId11" Type="http://schemas.openxmlformats.org/officeDocument/2006/relationships/image" Target="../media/image12.png"/><Relationship Id="rId5" Type="http://schemas.openxmlformats.org/officeDocument/2006/relationships/tags" Target="../tags/tag24.xml"/><Relationship Id="rId10" Type="http://schemas.openxmlformats.org/officeDocument/2006/relationships/image" Target="../media/image5.emf"/><Relationship Id="rId4" Type="http://schemas.openxmlformats.org/officeDocument/2006/relationships/tags" Target="../tags/tag23.xml"/><Relationship Id="rId9" Type="http://schemas.openxmlformats.org/officeDocument/2006/relationships/oleObject" Target="../embeddings/oleObject7.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26.xml"/><Relationship Id="rId1" Type="http://schemas.openxmlformats.org/officeDocument/2006/relationships/vmlDrawing" Target="../drawings/vmlDrawing8.v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907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2501" y="0"/>
          <a:ext cx="161910" cy="161910"/>
        </p:xfrm>
        <a:graphic>
          <a:graphicData uri="http://schemas.openxmlformats.org/presentationml/2006/ole">
            <mc:AlternateContent xmlns:mc="http://schemas.openxmlformats.org/markup-compatibility/2006">
              <mc:Choice xmlns:v="urn:schemas-microsoft-com:vml" Requires="v">
                <p:oleObj spid="_x0000_s19462"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2501" y="0"/>
                        <a:ext cx="161910" cy="161910"/>
                      </a:xfrm>
                      <a:prstGeom prst="rect">
                        <a:avLst/>
                      </a:prstGeom>
                    </p:spPr>
                  </p:pic>
                </p:oleObj>
              </mc:Fallback>
            </mc:AlternateContent>
          </a:graphicData>
        </a:graphic>
      </p:graphicFrame>
      <p:sp>
        <p:nvSpPr>
          <p:cNvPr id="4" name="Title 3"/>
          <p:cNvSpPr>
            <a:spLocks noGrp="1"/>
          </p:cNvSpPr>
          <p:nvPr>
            <p:ph type="title"/>
            <p:custDataLst>
              <p:tags r:id="rId3"/>
            </p:custDataLst>
          </p:nvPr>
        </p:nvSpPr>
        <p:spPr/>
        <p:txBody>
          <a:bodyPr/>
          <a:lstStyle/>
          <a:p>
            <a:r>
              <a:rPr lang="en-US" dirty="0" smtClean="0"/>
              <a:t>Incorporate Open Standards</a:t>
            </a:r>
            <a:endParaRPr lang="en-US" dirty="0"/>
          </a:p>
        </p:txBody>
      </p:sp>
      <p:sp>
        <p:nvSpPr>
          <p:cNvPr id="19" name="Rectangle 18"/>
          <p:cNvSpPr/>
          <p:nvPr>
            <p:custDataLst>
              <p:tags r:id="rId4"/>
            </p:custDataLst>
          </p:nvPr>
        </p:nvSpPr>
        <p:spPr bwMode="auto">
          <a:xfrm>
            <a:off x="549758" y="1457192"/>
            <a:ext cx="3770568" cy="1585426"/>
          </a:xfrm>
          <a:prstGeom prst="rect">
            <a:avLst/>
          </a:prstGeom>
          <a:solidFill>
            <a:schemeClr val="accent3"/>
          </a:solidFill>
          <a:ln w="9525" cap="flat" cmpd="sng" algn="ctr">
            <a:noFill/>
            <a:prstDash val="solid"/>
            <a:headEnd type="none" w="med" len="med"/>
            <a:tailEnd type="none" w="med" len="med"/>
          </a:ln>
          <a:effectLst>
            <a:outerShdw blurRad="40005" dist="22860" dir="5400000" algn="ctr" rotWithShape="0">
              <a:srgbClr val="000000">
                <a:alpha val="35000"/>
              </a:srgbClr>
            </a:outerShdw>
          </a:effectLst>
          <a:scene3d>
            <a:camera prst="orthographicFront" fov="0">
              <a:rot lat="0" lon="0" rev="0"/>
            </a:camera>
            <a:lightRig rig="glow" dir="t">
              <a:rot lat="0" lon="0" rev="6360000"/>
            </a:lightRig>
          </a:scene3d>
          <a:sp3d prstMaterial="flat">
            <a:contourClr>
              <a:srgbClr val="008FBA">
                <a:satMod val="300000"/>
              </a:srgbClr>
            </a:contourClr>
          </a:sp3d>
        </p:spPr>
        <p:txBody>
          <a:bodyPr vert="horz" wrap="square" lIns="93260" tIns="46630" rIns="1025864" bIns="46630" numCol="1" rtlCol="0" anchor="b" anchorCtr="0" compatLnSpc="1">
            <a:prstTxWarp prst="textNoShape">
              <a:avLst/>
            </a:prstTxWarp>
            <a:noAutofit/>
          </a:bodyPr>
          <a:lstStyle/>
          <a:p>
            <a:pPr marL="0" lvl="1" defTabSz="699483">
              <a:lnSpc>
                <a:spcPct val="90000"/>
              </a:lnSpc>
              <a:spcBef>
                <a:spcPts val="612"/>
              </a:spcBef>
              <a:buSzPct val="90000"/>
            </a:pPr>
            <a:r>
              <a:rPr lang="en-US" sz="2856" dirty="0">
                <a:ln>
                  <a:solidFill>
                    <a:srgbClr val="FFFFFF">
                      <a:alpha val="0"/>
                    </a:srgbClr>
                  </a:solidFill>
                </a:ln>
                <a:solidFill>
                  <a:srgbClr val="FFFFFF"/>
                </a:solidFill>
                <a:latin typeface="Segoe UI Light" pitchFamily="34" charset="0"/>
              </a:rPr>
              <a:t>Unlock Data from Silos</a:t>
            </a:r>
          </a:p>
        </p:txBody>
      </p:sp>
      <p:sp>
        <p:nvSpPr>
          <p:cNvPr id="20" name="Rectangle 19"/>
          <p:cNvSpPr/>
          <p:nvPr>
            <p:custDataLst>
              <p:tags r:id="rId5"/>
            </p:custDataLst>
          </p:nvPr>
        </p:nvSpPr>
        <p:spPr bwMode="auto">
          <a:xfrm>
            <a:off x="4382499" y="1457192"/>
            <a:ext cx="7525267" cy="1585426"/>
          </a:xfrm>
          <a:prstGeom prst="rect">
            <a:avLst/>
          </a:prstGeom>
          <a:solidFill>
            <a:srgbClr val="000000">
              <a:alpha val="20000"/>
            </a:srgbClr>
          </a:solidFill>
          <a:ln w="9525" cap="flat" cmpd="sng" algn="ctr">
            <a:solidFill>
              <a:srgbClr val="FFFFFF">
                <a:alpha val="50000"/>
              </a:srgbClr>
            </a:solidFill>
            <a:prstDash val="solid"/>
            <a:headEnd type="none" w="med" len="med"/>
            <a:tailEnd type="none" w="med" len="med"/>
          </a:ln>
          <a:effectLst/>
        </p:spPr>
        <p:txBody>
          <a:bodyPr vert="horz" wrap="square" lIns="46630" tIns="46630" rIns="46630" bIns="46630" numCol="1" rtlCol="0" anchor="ctr" anchorCtr="0" compatLnSpc="1">
            <a:prstTxWarp prst="textNoShape">
              <a:avLst/>
            </a:prstTxWarp>
            <a:noAutofit/>
          </a:bodyPr>
          <a:lstStyle/>
          <a:p>
            <a:pPr marL="357820" lvl="1" indent="-234769">
              <a:spcBef>
                <a:spcPts val="306"/>
              </a:spcBef>
              <a:spcAft>
                <a:spcPts val="306"/>
              </a:spcAft>
              <a:buClr>
                <a:srgbClr val="FFFFFF"/>
              </a:buClr>
              <a:buSzPct val="100000"/>
              <a:buFont typeface="Arial" pitchFamily="34" charset="0"/>
              <a:buChar char="•"/>
            </a:pPr>
            <a:r>
              <a:rPr lang="en-US" sz="1836" dirty="0">
                <a:ln>
                  <a:solidFill>
                    <a:srgbClr val="FFFFFF">
                      <a:alpha val="0"/>
                    </a:srgbClr>
                  </a:solidFill>
                </a:ln>
                <a:solidFill>
                  <a:srgbClr val="FFFFFF"/>
                </a:solidFill>
              </a:rPr>
              <a:t>Make data readily consumable</a:t>
            </a:r>
          </a:p>
          <a:p>
            <a:pPr marL="357820" lvl="1" indent="-234769">
              <a:spcBef>
                <a:spcPts val="306"/>
              </a:spcBef>
              <a:spcAft>
                <a:spcPts val="306"/>
              </a:spcAft>
              <a:buClr>
                <a:srgbClr val="FFFFFF"/>
              </a:buClr>
              <a:buSzPct val="100000"/>
              <a:buFont typeface="Arial" pitchFamily="34" charset="0"/>
              <a:buChar char="•"/>
            </a:pPr>
            <a:r>
              <a:rPr lang="en-US" sz="1836" dirty="0">
                <a:ln>
                  <a:solidFill>
                    <a:srgbClr val="FFFFFF">
                      <a:alpha val="0"/>
                    </a:srgbClr>
                  </a:solidFill>
                </a:ln>
                <a:solidFill>
                  <a:srgbClr val="FFFFFF"/>
                </a:solidFill>
              </a:rPr>
              <a:t>Great for consumption from multiple mainstream clients, i.e. Excel</a:t>
            </a:r>
          </a:p>
          <a:p>
            <a:pPr marL="357820" lvl="1" indent="-234769">
              <a:spcBef>
                <a:spcPts val="306"/>
              </a:spcBef>
              <a:spcAft>
                <a:spcPts val="306"/>
              </a:spcAft>
              <a:buClr>
                <a:srgbClr val="FFFFFF"/>
              </a:buClr>
              <a:buSzPct val="100000"/>
              <a:buFont typeface="Arial" pitchFamily="34" charset="0"/>
              <a:buChar char="•"/>
            </a:pPr>
            <a:r>
              <a:rPr lang="en-US" sz="1836" dirty="0">
                <a:ln>
                  <a:solidFill>
                    <a:srgbClr val="FFFFFF">
                      <a:alpha val="0"/>
                    </a:srgbClr>
                  </a:solidFill>
                </a:ln>
                <a:solidFill>
                  <a:srgbClr val="FFFFFF"/>
                </a:solidFill>
              </a:rPr>
              <a:t>Great for consumption of data in composite client services and apps</a:t>
            </a:r>
          </a:p>
        </p:txBody>
      </p:sp>
      <p:sp>
        <p:nvSpPr>
          <p:cNvPr id="21" name="Rectangle 20"/>
          <p:cNvSpPr/>
          <p:nvPr>
            <p:custDataLst>
              <p:tags r:id="rId6"/>
            </p:custDataLst>
          </p:nvPr>
        </p:nvSpPr>
        <p:spPr bwMode="auto">
          <a:xfrm>
            <a:off x="549758" y="3214566"/>
            <a:ext cx="3770568" cy="1585426"/>
          </a:xfrm>
          <a:prstGeom prst="rect">
            <a:avLst/>
          </a:prstGeom>
          <a:solidFill>
            <a:schemeClr val="accent1"/>
          </a:solidFill>
          <a:ln w="9525">
            <a:noFill/>
            <a:headEnd type="none" w="med" len="med"/>
            <a:tailEnd type="none" w="med" len="med"/>
          </a:ln>
          <a:effectLst>
            <a:outerShdw blurRad="40005" dist="22860" dir="5400000" algn="ctr" rotWithShape="0">
              <a:srgbClr val="000000">
                <a:alpha val="35000"/>
              </a:srgbClr>
            </a:outerShdw>
          </a:effectLst>
        </p:spPr>
        <p:style>
          <a:lnRef idx="1">
            <a:schemeClr val="accent2"/>
          </a:lnRef>
          <a:fillRef idx="3">
            <a:schemeClr val="accent2"/>
          </a:fillRef>
          <a:effectRef idx="2">
            <a:schemeClr val="accent2"/>
          </a:effectRef>
          <a:fontRef idx="minor">
            <a:schemeClr val="lt1"/>
          </a:fontRef>
        </p:style>
        <p:txBody>
          <a:bodyPr vert="horz" wrap="square" lIns="93260" tIns="46630" rIns="1025864" bIns="46630" numCol="1" rtlCol="0" anchor="b" anchorCtr="0" compatLnSpc="1">
            <a:prstTxWarp prst="textNoShape">
              <a:avLst/>
            </a:prstTxWarp>
            <a:noAutofit/>
          </a:bodyPr>
          <a:lstStyle/>
          <a:p>
            <a:pPr marL="0" lvl="1" defTabSz="699483"/>
            <a:r>
              <a:rPr lang="en-US" sz="2856" dirty="0">
                <a:ln>
                  <a:solidFill>
                    <a:srgbClr val="FFFFFF">
                      <a:alpha val="0"/>
                    </a:srgbClr>
                  </a:solidFill>
                </a:ln>
                <a:solidFill>
                  <a:srgbClr val="FFFFFF"/>
                </a:solidFill>
                <a:latin typeface="Segoe UI Light" pitchFamily="34" charset="0"/>
              </a:rPr>
              <a:t>Provide the ability to delegate access</a:t>
            </a:r>
          </a:p>
        </p:txBody>
      </p:sp>
      <p:sp>
        <p:nvSpPr>
          <p:cNvPr id="22" name="Rectangle 21"/>
          <p:cNvSpPr/>
          <p:nvPr>
            <p:custDataLst>
              <p:tags r:id="rId7"/>
            </p:custDataLst>
          </p:nvPr>
        </p:nvSpPr>
        <p:spPr bwMode="auto">
          <a:xfrm>
            <a:off x="4382499" y="3214566"/>
            <a:ext cx="7525267" cy="1585426"/>
          </a:xfrm>
          <a:prstGeom prst="rect">
            <a:avLst/>
          </a:prstGeom>
          <a:solidFill>
            <a:srgbClr val="000000">
              <a:alpha val="20000"/>
            </a:srgbClr>
          </a:solidFill>
          <a:ln w="9525" cap="flat" cmpd="sng" algn="ctr">
            <a:solidFill>
              <a:srgbClr val="FFFFFF">
                <a:alpha val="50000"/>
              </a:srgbClr>
            </a:solidFill>
            <a:prstDash val="solid"/>
            <a:headEnd type="none" w="med" len="med"/>
            <a:tailEnd type="none" w="med" len="med"/>
          </a:ln>
          <a:effectLst/>
        </p:spPr>
        <p:txBody>
          <a:bodyPr vert="horz" wrap="square" lIns="46630" tIns="46630" rIns="46630" bIns="46630" numCol="1" rtlCol="0" anchor="ctr" anchorCtr="0" compatLnSpc="1">
            <a:prstTxWarp prst="textNoShape">
              <a:avLst/>
            </a:prstTxWarp>
            <a:noAutofit/>
          </a:bodyPr>
          <a:lstStyle/>
          <a:p>
            <a:pPr marL="357820" lvl="1" indent="-234769">
              <a:spcBef>
                <a:spcPts val="306"/>
              </a:spcBef>
              <a:spcAft>
                <a:spcPts val="306"/>
              </a:spcAft>
              <a:buClr>
                <a:srgbClr val="FFFFFF"/>
              </a:buClr>
              <a:buSzPct val="100000"/>
              <a:buFont typeface="Arial" pitchFamily="34" charset="0"/>
              <a:buChar char="•"/>
            </a:pPr>
            <a:r>
              <a:rPr lang="en-US" sz="1836" dirty="0">
                <a:ln>
                  <a:solidFill>
                    <a:srgbClr val="FFFFFF">
                      <a:alpha val="0"/>
                    </a:srgbClr>
                  </a:solidFill>
                </a:ln>
                <a:solidFill>
                  <a:srgbClr val="FFFFFF"/>
                </a:solidFill>
              </a:rPr>
              <a:t>Predictable experience</a:t>
            </a:r>
          </a:p>
          <a:p>
            <a:pPr marL="357820" lvl="1" indent="-234769">
              <a:spcBef>
                <a:spcPts val="306"/>
              </a:spcBef>
              <a:spcAft>
                <a:spcPts val="306"/>
              </a:spcAft>
              <a:buClr>
                <a:srgbClr val="FFFFFF"/>
              </a:buClr>
              <a:buSzPct val="100000"/>
              <a:buFont typeface="Arial" pitchFamily="34" charset="0"/>
              <a:buChar char="•"/>
            </a:pPr>
            <a:r>
              <a:rPr lang="en-US" sz="1836" dirty="0">
                <a:ln>
                  <a:solidFill>
                    <a:srgbClr val="FFFFFF">
                      <a:alpha val="0"/>
                    </a:srgbClr>
                  </a:solidFill>
                </a:ln>
                <a:solidFill>
                  <a:srgbClr val="FFFFFF"/>
                </a:solidFill>
              </a:rPr>
              <a:t>Support across authentication from multiple client types</a:t>
            </a:r>
          </a:p>
          <a:p>
            <a:pPr marL="357820" lvl="1" indent="-234769">
              <a:spcBef>
                <a:spcPts val="306"/>
              </a:spcBef>
              <a:spcAft>
                <a:spcPts val="306"/>
              </a:spcAft>
              <a:buClr>
                <a:srgbClr val="FFFFFF"/>
              </a:buClr>
              <a:buSzPct val="100000"/>
              <a:buFont typeface="Arial" pitchFamily="34" charset="0"/>
              <a:buChar char="•"/>
            </a:pPr>
            <a:r>
              <a:rPr lang="en-US" sz="1836" dirty="0">
                <a:ln>
                  <a:solidFill>
                    <a:srgbClr val="FFFFFF">
                      <a:alpha val="0"/>
                    </a:srgbClr>
                  </a:solidFill>
                </a:ln>
                <a:solidFill>
                  <a:srgbClr val="FFFFFF"/>
                </a:solidFill>
              </a:rPr>
              <a:t>User control over what is accessed</a:t>
            </a:r>
          </a:p>
        </p:txBody>
      </p:sp>
      <p:sp>
        <p:nvSpPr>
          <p:cNvPr id="23" name="Rectangle 22"/>
          <p:cNvSpPr/>
          <p:nvPr>
            <p:custDataLst>
              <p:tags r:id="rId8"/>
            </p:custDataLst>
          </p:nvPr>
        </p:nvSpPr>
        <p:spPr bwMode="auto">
          <a:xfrm>
            <a:off x="549758" y="4971941"/>
            <a:ext cx="3770568" cy="1585426"/>
          </a:xfrm>
          <a:prstGeom prst="rect">
            <a:avLst/>
          </a:prstGeom>
          <a:solidFill>
            <a:schemeClr val="accent2"/>
          </a:solidFill>
          <a:ln w="9525">
            <a:noFill/>
            <a:headEnd type="none" w="med" len="med"/>
            <a:tailEnd type="none" w="med" len="med"/>
          </a:ln>
          <a:effectLst>
            <a:outerShdw blurRad="40005" dist="22860" dir="5400000" algn="ctr" rotWithShape="0">
              <a:srgbClr val="000000">
                <a:alpha val="35000"/>
              </a:srgbClr>
            </a:outerShdw>
          </a:effectLst>
        </p:spPr>
        <p:style>
          <a:lnRef idx="1">
            <a:schemeClr val="accent2"/>
          </a:lnRef>
          <a:fillRef idx="3">
            <a:schemeClr val="accent2"/>
          </a:fillRef>
          <a:effectRef idx="2">
            <a:schemeClr val="accent2"/>
          </a:effectRef>
          <a:fontRef idx="minor">
            <a:schemeClr val="lt1"/>
          </a:fontRef>
        </p:style>
        <p:txBody>
          <a:bodyPr vert="horz" wrap="square" lIns="93260" tIns="46630" rIns="1025864" bIns="46630" numCol="1" rtlCol="0" anchor="b" anchorCtr="0" compatLnSpc="1">
            <a:prstTxWarp prst="textNoShape">
              <a:avLst/>
            </a:prstTxWarp>
            <a:noAutofit/>
          </a:bodyPr>
          <a:lstStyle/>
          <a:p>
            <a:pPr marL="0" lvl="1" defTabSz="699483"/>
            <a:r>
              <a:rPr lang="en-US" sz="2856" dirty="0" smtClean="0">
                <a:ln>
                  <a:solidFill>
                    <a:srgbClr val="FFFFFF">
                      <a:alpha val="0"/>
                    </a:srgbClr>
                  </a:solidFill>
                </a:ln>
                <a:solidFill>
                  <a:srgbClr val="FFFFFF"/>
                </a:solidFill>
                <a:latin typeface="Segoe UI Light" pitchFamily="34" charset="0"/>
              </a:rPr>
              <a:t>Participate</a:t>
            </a:r>
            <a:br>
              <a:rPr lang="en-US" sz="2856" dirty="0" smtClean="0">
                <a:ln>
                  <a:solidFill>
                    <a:srgbClr val="FFFFFF">
                      <a:alpha val="0"/>
                    </a:srgbClr>
                  </a:solidFill>
                </a:ln>
                <a:solidFill>
                  <a:srgbClr val="FFFFFF"/>
                </a:solidFill>
                <a:latin typeface="Segoe UI Light" pitchFamily="34" charset="0"/>
              </a:rPr>
            </a:br>
            <a:r>
              <a:rPr lang="en-US" sz="2856" dirty="0" smtClean="0">
                <a:ln>
                  <a:solidFill>
                    <a:srgbClr val="FFFFFF">
                      <a:alpha val="0"/>
                    </a:srgbClr>
                  </a:solidFill>
                </a:ln>
                <a:solidFill>
                  <a:srgbClr val="FFFFFF"/>
                </a:solidFill>
                <a:latin typeface="Segoe UI Light" pitchFamily="34" charset="0"/>
              </a:rPr>
              <a:t>in a social</a:t>
            </a:r>
          </a:p>
          <a:p>
            <a:pPr marL="0" lvl="1" defTabSz="699483"/>
            <a:r>
              <a:rPr lang="en-US" sz="2856" dirty="0" smtClean="0">
                <a:ln>
                  <a:solidFill>
                    <a:srgbClr val="FFFFFF">
                      <a:alpha val="0"/>
                    </a:srgbClr>
                  </a:solidFill>
                </a:ln>
                <a:solidFill>
                  <a:srgbClr val="FFFFFF"/>
                </a:solidFill>
                <a:latin typeface="Segoe UI Light" pitchFamily="34" charset="0"/>
              </a:rPr>
              <a:t>graph</a:t>
            </a:r>
            <a:endParaRPr lang="en-US" sz="2856" dirty="0">
              <a:ln>
                <a:solidFill>
                  <a:srgbClr val="FFFFFF">
                    <a:alpha val="0"/>
                  </a:srgbClr>
                </a:solidFill>
              </a:ln>
              <a:solidFill>
                <a:srgbClr val="FFFFFF"/>
              </a:solidFill>
              <a:latin typeface="Segoe UI Light" pitchFamily="34" charset="0"/>
            </a:endParaRPr>
          </a:p>
        </p:txBody>
      </p:sp>
      <p:sp>
        <p:nvSpPr>
          <p:cNvPr id="24" name="Rectangle 23"/>
          <p:cNvSpPr/>
          <p:nvPr>
            <p:custDataLst>
              <p:tags r:id="rId9"/>
            </p:custDataLst>
          </p:nvPr>
        </p:nvSpPr>
        <p:spPr bwMode="auto">
          <a:xfrm>
            <a:off x="4382499" y="4971941"/>
            <a:ext cx="7525267" cy="1585426"/>
          </a:xfrm>
          <a:prstGeom prst="rect">
            <a:avLst/>
          </a:prstGeom>
          <a:solidFill>
            <a:srgbClr val="000000">
              <a:alpha val="20000"/>
            </a:srgbClr>
          </a:solidFill>
          <a:ln w="9525" cap="flat" cmpd="sng" algn="ctr">
            <a:solidFill>
              <a:srgbClr val="FFFFFF">
                <a:alpha val="50000"/>
              </a:srgbClr>
            </a:solidFill>
            <a:prstDash val="solid"/>
            <a:headEnd type="none" w="med" len="med"/>
            <a:tailEnd type="none" w="med" len="med"/>
          </a:ln>
          <a:effectLst/>
        </p:spPr>
        <p:txBody>
          <a:bodyPr vert="horz" wrap="square" lIns="46630" tIns="46630" rIns="46630" bIns="46630" numCol="1" rtlCol="0" anchor="ctr" anchorCtr="0" compatLnSpc="1">
            <a:prstTxWarp prst="textNoShape">
              <a:avLst/>
            </a:prstTxWarp>
            <a:noAutofit/>
          </a:bodyPr>
          <a:lstStyle/>
          <a:p>
            <a:pPr marL="342900" indent="-342900">
              <a:buFont typeface="Arial" panose="020B0604020202020204" pitchFamily="34" charset="0"/>
              <a:buChar char="•"/>
            </a:pPr>
            <a:r>
              <a:rPr lang="en-US" sz="1836" dirty="0" smtClean="0">
                <a:ln>
                  <a:solidFill>
                    <a:srgbClr val="FFFFFF">
                      <a:alpha val="0"/>
                    </a:srgbClr>
                  </a:solidFill>
                </a:ln>
                <a:solidFill>
                  <a:srgbClr val="FFFFFF"/>
                </a:solidFill>
              </a:rPr>
              <a:t>Common approach to the social graph for Enterprise and Consumer scenarios</a:t>
            </a:r>
          </a:p>
          <a:p>
            <a:pPr marL="342900" indent="-342900">
              <a:buFont typeface="Arial" panose="020B0604020202020204" pitchFamily="34" charset="0"/>
              <a:buChar char="•"/>
            </a:pPr>
            <a:r>
              <a:rPr lang="en-US" sz="1836" dirty="0" smtClean="0">
                <a:ln>
                  <a:solidFill>
                    <a:srgbClr val="FFFFFF">
                      <a:alpha val="0"/>
                    </a:srgbClr>
                  </a:solidFill>
                </a:ln>
                <a:solidFill>
                  <a:srgbClr val="FFFFFF"/>
                </a:solidFill>
              </a:rPr>
              <a:t>Enable </a:t>
            </a:r>
            <a:r>
              <a:rPr lang="en-US" sz="1836" dirty="0">
                <a:ln>
                  <a:solidFill>
                    <a:srgbClr val="FFFFFF">
                      <a:alpha val="0"/>
                    </a:srgbClr>
                  </a:solidFill>
                </a:ln>
                <a:solidFill>
                  <a:srgbClr val="FFFFFF"/>
                </a:solidFill>
              </a:rPr>
              <a:t>any web page to become a rich object in a social </a:t>
            </a:r>
            <a:r>
              <a:rPr lang="en-US" sz="1836" dirty="0" smtClean="0">
                <a:ln>
                  <a:solidFill>
                    <a:srgbClr val="FFFFFF">
                      <a:alpha val="0"/>
                    </a:srgbClr>
                  </a:solidFill>
                </a:ln>
                <a:solidFill>
                  <a:srgbClr val="FFFFFF"/>
                </a:solidFill>
              </a:rPr>
              <a:t>graph</a:t>
            </a:r>
          </a:p>
          <a:p>
            <a:pPr marL="342900" indent="-342900">
              <a:buFont typeface="Arial" panose="020B0604020202020204" pitchFamily="34" charset="0"/>
              <a:buChar char="•"/>
            </a:pPr>
            <a:r>
              <a:rPr lang="en-US" sz="1836" dirty="0" smtClean="0">
                <a:ln>
                  <a:solidFill>
                    <a:srgbClr val="FFFFFF">
                      <a:alpha val="0"/>
                    </a:srgbClr>
                  </a:solidFill>
                </a:ln>
                <a:solidFill>
                  <a:srgbClr val="FFFFFF"/>
                </a:solidFill>
              </a:rPr>
              <a:t>Enable social graph connectivity in services and client apps</a:t>
            </a:r>
            <a:endParaRPr lang="en-US" sz="1836" dirty="0">
              <a:ln>
                <a:solidFill>
                  <a:srgbClr val="FFFFFF">
                    <a:alpha val="0"/>
                  </a:srgbClr>
                </a:solidFill>
              </a:ln>
              <a:solidFill>
                <a:srgbClr val="FFFFFF"/>
              </a:solidFill>
            </a:endParaRPr>
          </a:p>
          <a:p>
            <a:pPr marL="342900" indent="-342900">
              <a:buFont typeface="Arial" panose="020B0604020202020204" pitchFamily="34" charset="0"/>
              <a:buChar char="•"/>
            </a:pPr>
            <a:endParaRPr lang="en-US" sz="1836" dirty="0">
              <a:ln>
                <a:solidFill>
                  <a:srgbClr val="FFFFFF">
                    <a:alpha val="0"/>
                  </a:srgbClr>
                </a:solidFill>
              </a:ln>
              <a:solidFill>
                <a:srgbClr val="FFFFFF"/>
              </a:solidFill>
            </a:endParaRPr>
          </a:p>
        </p:txBody>
      </p:sp>
      <p:pic>
        <p:nvPicPr>
          <p:cNvPr id="25" name="Picture 24"/>
          <p:cNvPicPr>
            <a:picLocks noChangeAspect="1"/>
          </p:cNvPicPr>
          <p:nvPr>
            <p:custDataLst>
              <p:tags r:id="rId10"/>
            </p:custDataLst>
          </p:nvPr>
        </p:nvPicPr>
        <p:blipFill>
          <a:blip r:embed="rId16">
            <a:extLst>
              <a:ext uri="{28A0092B-C50C-407E-A947-70E740481C1C}">
                <a14:useLocalDpi xmlns:a14="http://schemas.microsoft.com/office/drawing/2010/main" val="0"/>
              </a:ext>
            </a:extLst>
          </a:blip>
          <a:stretch>
            <a:fillRect/>
          </a:stretch>
        </p:blipFill>
        <p:spPr>
          <a:xfrm>
            <a:off x="3188897" y="3261197"/>
            <a:ext cx="1084800" cy="1088055"/>
          </a:xfrm>
          <a:prstGeom prst="rect">
            <a:avLst/>
          </a:prstGeom>
        </p:spPr>
      </p:pic>
      <p:pic>
        <p:nvPicPr>
          <p:cNvPr id="26" name="Picture 25"/>
          <p:cNvPicPr>
            <a:picLocks noChangeAspect="1"/>
          </p:cNvPicPr>
          <p:nvPr>
            <p:custDataLst>
              <p:tags r:id="rId11"/>
            </p:custDataLst>
          </p:nvPr>
        </p:nvPicPr>
        <p:blipFill>
          <a:blip r:embed="rId17">
            <a:extLst>
              <a:ext uri="{28A0092B-C50C-407E-A947-70E740481C1C}">
                <a14:useLocalDpi xmlns:a14="http://schemas.microsoft.com/office/drawing/2010/main" val="0"/>
              </a:ext>
            </a:extLst>
          </a:blip>
          <a:stretch>
            <a:fillRect/>
          </a:stretch>
        </p:blipFill>
        <p:spPr>
          <a:xfrm>
            <a:off x="2428828" y="1596478"/>
            <a:ext cx="1891498" cy="653427"/>
          </a:xfrm>
          <a:prstGeom prst="rect">
            <a:avLst/>
          </a:prstGeom>
        </p:spPr>
      </p:pic>
      <p:pic>
        <p:nvPicPr>
          <p:cNvPr id="16" name="Picture 15"/>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058688" y="4971940"/>
            <a:ext cx="1215009" cy="1215009"/>
          </a:xfrm>
          <a:prstGeom prst="rect">
            <a:avLst/>
          </a:prstGeom>
        </p:spPr>
      </p:pic>
    </p:spTree>
    <p:extLst>
      <p:ext uri="{BB962C8B-B14F-4D97-AF65-F5344CB8AC3E}">
        <p14:creationId xmlns:p14="http://schemas.microsoft.com/office/powerpoint/2010/main" val="3496383848"/>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p:cNvSpPr/>
          <p:nvPr/>
        </p:nvSpPr>
        <p:spPr bwMode="auto">
          <a:xfrm>
            <a:off x="6233234" y="909016"/>
            <a:ext cx="4585940" cy="6061836"/>
          </a:xfrm>
          <a:prstGeom prst="rect">
            <a:avLst/>
          </a:prstGeom>
          <a:solidFill>
            <a:schemeClr val="tx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3" rIns="0" bIns="34973" numCol="1" rtlCol="0" anchor="ctr" anchorCtr="0" compatLnSpc="1">
            <a:prstTxWarp prst="textNoShape">
              <a:avLst/>
            </a:prstTxWarp>
          </a:bodyPr>
          <a:lstStyle/>
          <a:p>
            <a:pPr algn="ctr" defTabSz="699291"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47" name="Rectangle 46"/>
          <p:cNvSpPr/>
          <p:nvPr/>
        </p:nvSpPr>
        <p:spPr bwMode="auto">
          <a:xfrm>
            <a:off x="1662383" y="909390"/>
            <a:ext cx="4679683" cy="492849"/>
          </a:xfrm>
          <a:prstGeom prst="rect">
            <a:avLst/>
          </a:prstGeom>
          <a:solidFill>
            <a:schemeClr val="tx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3" rIns="0" bIns="34973" numCol="1" rtlCol="0" anchor="ctr" anchorCtr="0" compatLnSpc="1">
            <a:prstTxWarp prst="textNoShape">
              <a:avLst/>
            </a:prstTxWarp>
          </a:bodyPr>
          <a:lstStyle/>
          <a:p>
            <a:pPr algn="ctr" defTabSz="699291"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3" name="Title 2"/>
          <p:cNvSpPr>
            <a:spLocks noGrp="1"/>
          </p:cNvSpPr>
          <p:nvPr>
            <p:ph type="title"/>
          </p:nvPr>
        </p:nvSpPr>
        <p:spPr>
          <a:xfrm>
            <a:off x="274639" y="144462"/>
            <a:ext cx="11889564" cy="917575"/>
          </a:xfrm>
        </p:spPr>
        <p:txBody>
          <a:bodyPr/>
          <a:lstStyle/>
          <a:p>
            <a:r>
              <a:rPr lang="en-US" dirty="0" smtClean="0"/>
              <a:t>Scenarios</a:t>
            </a:r>
            <a:endParaRPr lang="en-US" dirty="0"/>
          </a:p>
        </p:txBody>
      </p:sp>
      <p:sp>
        <p:nvSpPr>
          <p:cNvPr id="4" name="Rectangle 3"/>
          <p:cNvSpPr/>
          <p:nvPr/>
        </p:nvSpPr>
        <p:spPr bwMode="auto">
          <a:xfrm>
            <a:off x="6233234" y="909016"/>
            <a:ext cx="4585940" cy="5805727"/>
          </a:xfrm>
          <a:prstGeom prst="rect">
            <a:avLst/>
          </a:prstGeom>
          <a:solidFill>
            <a:schemeClr val="tx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3" rIns="0" bIns="34973" numCol="1" rtlCol="0" anchor="ctr" anchorCtr="0" compatLnSpc="1">
            <a:prstTxWarp prst="textNoShape">
              <a:avLst/>
            </a:prstTxWarp>
          </a:bodyPr>
          <a:lstStyle/>
          <a:p>
            <a:pPr algn="ctr" defTabSz="699291"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5" name="Freeform 4"/>
          <p:cNvSpPr>
            <a:spLocks noChangeAspect="1" noEditPoints="1"/>
          </p:cNvSpPr>
          <p:nvPr/>
        </p:nvSpPr>
        <p:spPr bwMode="black">
          <a:xfrm>
            <a:off x="7892666" y="2233662"/>
            <a:ext cx="651474" cy="612915"/>
          </a:xfrm>
          <a:custGeom>
            <a:avLst/>
            <a:gdLst>
              <a:gd name="T0" fmla="*/ 16 w 1389"/>
              <a:gd name="T1" fmla="*/ 0 h 878"/>
              <a:gd name="T2" fmla="*/ 0 w 1389"/>
              <a:gd name="T3" fmla="*/ 332 h 878"/>
              <a:gd name="T4" fmla="*/ 0 w 1389"/>
              <a:gd name="T5" fmla="*/ 788 h 878"/>
              <a:gd name="T6" fmla="*/ 198 w 1389"/>
              <a:gd name="T7" fmla="*/ 802 h 878"/>
              <a:gd name="T8" fmla="*/ 647 w 1389"/>
              <a:gd name="T9" fmla="*/ 803 h 878"/>
              <a:gd name="T10" fmla="*/ 647 w 1389"/>
              <a:gd name="T11" fmla="*/ 826 h 878"/>
              <a:gd name="T12" fmla="*/ 355 w 1389"/>
              <a:gd name="T13" fmla="*/ 840 h 878"/>
              <a:gd name="T14" fmla="*/ 345 w 1389"/>
              <a:gd name="T15" fmla="*/ 878 h 878"/>
              <a:gd name="T16" fmla="*/ 1039 w 1389"/>
              <a:gd name="T17" fmla="*/ 864 h 878"/>
              <a:gd name="T18" fmla="*/ 1000 w 1389"/>
              <a:gd name="T19" fmla="*/ 826 h 878"/>
              <a:gd name="T20" fmla="*/ 721 w 1389"/>
              <a:gd name="T21" fmla="*/ 804 h 878"/>
              <a:gd name="T22" fmla="*/ 1374 w 1389"/>
              <a:gd name="T23" fmla="*/ 803 h 878"/>
              <a:gd name="T24" fmla="*/ 1389 w 1389"/>
              <a:gd name="T25" fmla="*/ 14 h 878"/>
              <a:gd name="T26" fmla="*/ 1126 w 1389"/>
              <a:gd name="T27" fmla="*/ 781 h 878"/>
              <a:gd name="T28" fmla="*/ 1107 w 1389"/>
              <a:gd name="T29" fmla="*/ 778 h 878"/>
              <a:gd name="T30" fmla="*/ 1126 w 1389"/>
              <a:gd name="T31" fmla="*/ 774 h 878"/>
              <a:gd name="T32" fmla="*/ 1126 w 1389"/>
              <a:gd name="T33" fmla="*/ 781 h 878"/>
              <a:gd name="T34" fmla="*/ 1144 w 1389"/>
              <a:gd name="T35" fmla="*/ 781 h 878"/>
              <a:gd name="T36" fmla="*/ 1144 w 1389"/>
              <a:gd name="T37" fmla="*/ 774 h 878"/>
              <a:gd name="T38" fmla="*/ 1164 w 1389"/>
              <a:gd name="T39" fmla="*/ 778 h 878"/>
              <a:gd name="T40" fmla="*/ 1194 w 1389"/>
              <a:gd name="T41" fmla="*/ 781 h 878"/>
              <a:gd name="T42" fmla="*/ 1174 w 1389"/>
              <a:gd name="T43" fmla="*/ 778 h 878"/>
              <a:gd name="T44" fmla="*/ 1194 w 1389"/>
              <a:gd name="T45" fmla="*/ 774 h 878"/>
              <a:gd name="T46" fmla="*/ 1194 w 1389"/>
              <a:gd name="T47" fmla="*/ 781 h 878"/>
              <a:gd name="T48" fmla="*/ 1211 w 1389"/>
              <a:gd name="T49" fmla="*/ 781 h 878"/>
              <a:gd name="T50" fmla="*/ 1211 w 1389"/>
              <a:gd name="T51" fmla="*/ 774 h 878"/>
              <a:gd name="T52" fmla="*/ 1231 w 1389"/>
              <a:gd name="T53" fmla="*/ 778 h 878"/>
              <a:gd name="T54" fmla="*/ 1261 w 1389"/>
              <a:gd name="T55" fmla="*/ 781 h 878"/>
              <a:gd name="T56" fmla="*/ 1241 w 1389"/>
              <a:gd name="T57" fmla="*/ 778 h 878"/>
              <a:gd name="T58" fmla="*/ 1261 w 1389"/>
              <a:gd name="T59" fmla="*/ 774 h 878"/>
              <a:gd name="T60" fmla="*/ 1261 w 1389"/>
              <a:gd name="T61" fmla="*/ 781 h 878"/>
              <a:gd name="T62" fmla="*/ 1278 w 1389"/>
              <a:gd name="T63" fmla="*/ 781 h 878"/>
              <a:gd name="T64" fmla="*/ 1278 w 1389"/>
              <a:gd name="T65" fmla="*/ 774 h 878"/>
              <a:gd name="T66" fmla="*/ 1298 w 1389"/>
              <a:gd name="T67" fmla="*/ 778 h 878"/>
              <a:gd name="T68" fmla="*/ 1316 w 1389"/>
              <a:gd name="T69" fmla="*/ 787 h 878"/>
              <a:gd name="T70" fmla="*/ 1316 w 1389"/>
              <a:gd name="T71" fmla="*/ 768 h 878"/>
              <a:gd name="T72" fmla="*/ 1316 w 1389"/>
              <a:gd name="T73" fmla="*/ 787 h 878"/>
              <a:gd name="T74" fmla="*/ 1326 w 1389"/>
              <a:gd name="T75" fmla="*/ 754 h 878"/>
              <a:gd name="T76" fmla="*/ 455 w 1389"/>
              <a:gd name="T77" fmla="*/ 754 h 878"/>
              <a:gd name="T78" fmla="*/ 49 w 1389"/>
              <a:gd name="T79" fmla="*/ 739 h 878"/>
              <a:gd name="T80" fmla="*/ 49 w 1389"/>
              <a:gd name="T81" fmla="*/ 332 h 878"/>
              <a:gd name="T82" fmla="*/ 64 w 1389"/>
              <a:gd name="T83" fmla="*/ 48 h 878"/>
              <a:gd name="T84" fmla="*/ 1340 w 1389"/>
              <a:gd name="T85" fmla="*/ 63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9" h="878">
                <a:moveTo>
                  <a:pt x="1374" y="0"/>
                </a:moveTo>
                <a:cubicBezTo>
                  <a:pt x="16" y="0"/>
                  <a:pt x="16" y="0"/>
                  <a:pt x="16" y="0"/>
                </a:cubicBezTo>
                <a:cubicBezTo>
                  <a:pt x="7" y="0"/>
                  <a:pt x="0" y="6"/>
                  <a:pt x="0" y="14"/>
                </a:cubicBezTo>
                <a:cubicBezTo>
                  <a:pt x="0" y="139"/>
                  <a:pt x="0" y="244"/>
                  <a:pt x="0" y="332"/>
                </a:cubicBezTo>
                <a:cubicBezTo>
                  <a:pt x="0" y="384"/>
                  <a:pt x="0" y="430"/>
                  <a:pt x="0" y="470"/>
                </a:cubicBezTo>
                <a:cubicBezTo>
                  <a:pt x="0" y="788"/>
                  <a:pt x="0" y="788"/>
                  <a:pt x="0" y="788"/>
                </a:cubicBezTo>
                <a:cubicBezTo>
                  <a:pt x="0" y="796"/>
                  <a:pt x="7" y="802"/>
                  <a:pt x="16" y="802"/>
                </a:cubicBezTo>
                <a:cubicBezTo>
                  <a:pt x="16" y="802"/>
                  <a:pt x="16" y="802"/>
                  <a:pt x="198" y="802"/>
                </a:cubicBezTo>
                <a:cubicBezTo>
                  <a:pt x="198" y="802"/>
                  <a:pt x="198" y="803"/>
                  <a:pt x="198" y="803"/>
                </a:cubicBezTo>
                <a:cubicBezTo>
                  <a:pt x="647" y="803"/>
                  <a:pt x="647" y="803"/>
                  <a:pt x="647" y="803"/>
                </a:cubicBezTo>
                <a:cubicBezTo>
                  <a:pt x="647" y="803"/>
                  <a:pt x="647" y="803"/>
                  <a:pt x="647" y="804"/>
                </a:cubicBezTo>
                <a:cubicBezTo>
                  <a:pt x="647" y="826"/>
                  <a:pt x="647" y="826"/>
                  <a:pt x="647" y="826"/>
                </a:cubicBezTo>
                <a:cubicBezTo>
                  <a:pt x="369" y="826"/>
                  <a:pt x="369" y="826"/>
                  <a:pt x="369" y="826"/>
                </a:cubicBezTo>
                <a:cubicBezTo>
                  <a:pt x="362" y="826"/>
                  <a:pt x="355" y="832"/>
                  <a:pt x="355" y="840"/>
                </a:cubicBezTo>
                <a:cubicBezTo>
                  <a:pt x="331" y="864"/>
                  <a:pt x="331" y="864"/>
                  <a:pt x="331" y="864"/>
                </a:cubicBezTo>
                <a:cubicBezTo>
                  <a:pt x="331" y="872"/>
                  <a:pt x="337" y="878"/>
                  <a:pt x="345" y="878"/>
                </a:cubicBezTo>
                <a:cubicBezTo>
                  <a:pt x="1024" y="878"/>
                  <a:pt x="1024" y="878"/>
                  <a:pt x="1024" y="878"/>
                </a:cubicBezTo>
                <a:cubicBezTo>
                  <a:pt x="1033" y="878"/>
                  <a:pt x="1039" y="872"/>
                  <a:pt x="1039" y="864"/>
                </a:cubicBezTo>
                <a:cubicBezTo>
                  <a:pt x="1015" y="840"/>
                  <a:pt x="1015" y="840"/>
                  <a:pt x="1015" y="840"/>
                </a:cubicBezTo>
                <a:cubicBezTo>
                  <a:pt x="1015" y="832"/>
                  <a:pt x="1009" y="826"/>
                  <a:pt x="1000" y="826"/>
                </a:cubicBezTo>
                <a:cubicBezTo>
                  <a:pt x="721" y="826"/>
                  <a:pt x="721" y="826"/>
                  <a:pt x="721" y="826"/>
                </a:cubicBezTo>
                <a:cubicBezTo>
                  <a:pt x="721" y="804"/>
                  <a:pt x="721" y="804"/>
                  <a:pt x="721" y="804"/>
                </a:cubicBezTo>
                <a:cubicBezTo>
                  <a:pt x="721" y="803"/>
                  <a:pt x="721" y="803"/>
                  <a:pt x="721" y="803"/>
                </a:cubicBezTo>
                <a:cubicBezTo>
                  <a:pt x="1374" y="803"/>
                  <a:pt x="1374" y="803"/>
                  <a:pt x="1374" y="803"/>
                </a:cubicBezTo>
                <a:cubicBezTo>
                  <a:pt x="1383" y="803"/>
                  <a:pt x="1389" y="797"/>
                  <a:pt x="1389" y="789"/>
                </a:cubicBezTo>
                <a:cubicBezTo>
                  <a:pt x="1389" y="14"/>
                  <a:pt x="1389" y="14"/>
                  <a:pt x="1389" y="14"/>
                </a:cubicBezTo>
                <a:cubicBezTo>
                  <a:pt x="1389" y="6"/>
                  <a:pt x="1383" y="0"/>
                  <a:pt x="1374" y="0"/>
                </a:cubicBezTo>
                <a:close/>
                <a:moveTo>
                  <a:pt x="1126" y="781"/>
                </a:moveTo>
                <a:cubicBezTo>
                  <a:pt x="1110" y="781"/>
                  <a:pt x="1110" y="781"/>
                  <a:pt x="1110" y="781"/>
                </a:cubicBezTo>
                <a:cubicBezTo>
                  <a:pt x="1108" y="781"/>
                  <a:pt x="1107" y="780"/>
                  <a:pt x="1107" y="778"/>
                </a:cubicBezTo>
                <a:cubicBezTo>
                  <a:pt x="1107" y="776"/>
                  <a:pt x="1108" y="774"/>
                  <a:pt x="1110" y="774"/>
                </a:cubicBezTo>
                <a:cubicBezTo>
                  <a:pt x="1126" y="774"/>
                  <a:pt x="1126" y="774"/>
                  <a:pt x="1126" y="774"/>
                </a:cubicBezTo>
                <a:cubicBezTo>
                  <a:pt x="1129" y="774"/>
                  <a:pt x="1130" y="776"/>
                  <a:pt x="1130" y="778"/>
                </a:cubicBezTo>
                <a:cubicBezTo>
                  <a:pt x="1130" y="780"/>
                  <a:pt x="1129" y="781"/>
                  <a:pt x="1126" y="781"/>
                </a:cubicBezTo>
                <a:close/>
                <a:moveTo>
                  <a:pt x="1160" y="781"/>
                </a:moveTo>
                <a:cubicBezTo>
                  <a:pt x="1144" y="781"/>
                  <a:pt x="1144" y="781"/>
                  <a:pt x="1144" y="781"/>
                </a:cubicBezTo>
                <a:cubicBezTo>
                  <a:pt x="1142" y="781"/>
                  <a:pt x="1140" y="780"/>
                  <a:pt x="1140" y="778"/>
                </a:cubicBezTo>
                <a:cubicBezTo>
                  <a:pt x="1140" y="776"/>
                  <a:pt x="1142" y="774"/>
                  <a:pt x="1144" y="774"/>
                </a:cubicBezTo>
                <a:cubicBezTo>
                  <a:pt x="1160" y="774"/>
                  <a:pt x="1160" y="774"/>
                  <a:pt x="1160" y="774"/>
                </a:cubicBezTo>
                <a:cubicBezTo>
                  <a:pt x="1162" y="774"/>
                  <a:pt x="1164" y="776"/>
                  <a:pt x="1164" y="778"/>
                </a:cubicBezTo>
                <a:cubicBezTo>
                  <a:pt x="1164" y="780"/>
                  <a:pt x="1162" y="781"/>
                  <a:pt x="1160" y="781"/>
                </a:cubicBezTo>
                <a:close/>
                <a:moveTo>
                  <a:pt x="1194" y="781"/>
                </a:moveTo>
                <a:cubicBezTo>
                  <a:pt x="1177" y="781"/>
                  <a:pt x="1177" y="781"/>
                  <a:pt x="1177" y="781"/>
                </a:cubicBezTo>
                <a:cubicBezTo>
                  <a:pt x="1175" y="781"/>
                  <a:pt x="1174" y="780"/>
                  <a:pt x="1174" y="778"/>
                </a:cubicBezTo>
                <a:cubicBezTo>
                  <a:pt x="1174" y="776"/>
                  <a:pt x="1175" y="774"/>
                  <a:pt x="1177" y="774"/>
                </a:cubicBezTo>
                <a:cubicBezTo>
                  <a:pt x="1194" y="774"/>
                  <a:pt x="1194" y="774"/>
                  <a:pt x="1194" y="774"/>
                </a:cubicBezTo>
                <a:cubicBezTo>
                  <a:pt x="1196" y="774"/>
                  <a:pt x="1198" y="776"/>
                  <a:pt x="1198" y="778"/>
                </a:cubicBezTo>
                <a:cubicBezTo>
                  <a:pt x="1198" y="780"/>
                  <a:pt x="1196" y="781"/>
                  <a:pt x="1194" y="781"/>
                </a:cubicBezTo>
                <a:close/>
                <a:moveTo>
                  <a:pt x="1228" y="781"/>
                </a:moveTo>
                <a:cubicBezTo>
                  <a:pt x="1211" y="781"/>
                  <a:pt x="1211" y="781"/>
                  <a:pt x="1211" y="781"/>
                </a:cubicBezTo>
                <a:cubicBezTo>
                  <a:pt x="1209" y="781"/>
                  <a:pt x="1207" y="780"/>
                  <a:pt x="1207" y="778"/>
                </a:cubicBezTo>
                <a:cubicBezTo>
                  <a:pt x="1207" y="776"/>
                  <a:pt x="1209" y="774"/>
                  <a:pt x="1211" y="774"/>
                </a:cubicBezTo>
                <a:cubicBezTo>
                  <a:pt x="1228" y="774"/>
                  <a:pt x="1228" y="774"/>
                  <a:pt x="1228" y="774"/>
                </a:cubicBezTo>
                <a:cubicBezTo>
                  <a:pt x="1230" y="774"/>
                  <a:pt x="1231" y="776"/>
                  <a:pt x="1231" y="778"/>
                </a:cubicBezTo>
                <a:cubicBezTo>
                  <a:pt x="1231" y="780"/>
                  <a:pt x="1230" y="781"/>
                  <a:pt x="1228" y="781"/>
                </a:cubicBezTo>
                <a:close/>
                <a:moveTo>
                  <a:pt x="1261" y="781"/>
                </a:moveTo>
                <a:cubicBezTo>
                  <a:pt x="1244" y="781"/>
                  <a:pt x="1244" y="781"/>
                  <a:pt x="1244" y="781"/>
                </a:cubicBezTo>
                <a:cubicBezTo>
                  <a:pt x="1242" y="781"/>
                  <a:pt x="1241" y="780"/>
                  <a:pt x="1241" y="778"/>
                </a:cubicBezTo>
                <a:cubicBezTo>
                  <a:pt x="1241" y="776"/>
                  <a:pt x="1242" y="774"/>
                  <a:pt x="1244" y="774"/>
                </a:cubicBezTo>
                <a:cubicBezTo>
                  <a:pt x="1261" y="774"/>
                  <a:pt x="1261" y="774"/>
                  <a:pt x="1261" y="774"/>
                </a:cubicBezTo>
                <a:cubicBezTo>
                  <a:pt x="1263" y="774"/>
                  <a:pt x="1265" y="776"/>
                  <a:pt x="1265" y="778"/>
                </a:cubicBezTo>
                <a:cubicBezTo>
                  <a:pt x="1265" y="780"/>
                  <a:pt x="1263" y="781"/>
                  <a:pt x="1261" y="781"/>
                </a:cubicBezTo>
                <a:close/>
                <a:moveTo>
                  <a:pt x="1295" y="781"/>
                </a:moveTo>
                <a:cubicBezTo>
                  <a:pt x="1278" y="781"/>
                  <a:pt x="1278" y="781"/>
                  <a:pt x="1278" y="781"/>
                </a:cubicBezTo>
                <a:cubicBezTo>
                  <a:pt x="1276" y="781"/>
                  <a:pt x="1274" y="780"/>
                  <a:pt x="1274" y="778"/>
                </a:cubicBezTo>
                <a:cubicBezTo>
                  <a:pt x="1274" y="776"/>
                  <a:pt x="1276" y="774"/>
                  <a:pt x="1278" y="774"/>
                </a:cubicBezTo>
                <a:cubicBezTo>
                  <a:pt x="1295" y="774"/>
                  <a:pt x="1295" y="774"/>
                  <a:pt x="1295" y="774"/>
                </a:cubicBezTo>
                <a:cubicBezTo>
                  <a:pt x="1297" y="774"/>
                  <a:pt x="1298" y="776"/>
                  <a:pt x="1298" y="778"/>
                </a:cubicBezTo>
                <a:cubicBezTo>
                  <a:pt x="1298" y="780"/>
                  <a:pt x="1297" y="781"/>
                  <a:pt x="1295" y="781"/>
                </a:cubicBezTo>
                <a:close/>
                <a:moveTo>
                  <a:pt x="1316" y="787"/>
                </a:moveTo>
                <a:cubicBezTo>
                  <a:pt x="1311" y="787"/>
                  <a:pt x="1307" y="783"/>
                  <a:pt x="1307" y="778"/>
                </a:cubicBezTo>
                <a:cubicBezTo>
                  <a:pt x="1307" y="773"/>
                  <a:pt x="1311" y="768"/>
                  <a:pt x="1316" y="768"/>
                </a:cubicBezTo>
                <a:cubicBezTo>
                  <a:pt x="1321" y="768"/>
                  <a:pt x="1325" y="773"/>
                  <a:pt x="1325" y="778"/>
                </a:cubicBezTo>
                <a:cubicBezTo>
                  <a:pt x="1325" y="783"/>
                  <a:pt x="1321" y="787"/>
                  <a:pt x="1316" y="787"/>
                </a:cubicBezTo>
                <a:close/>
                <a:moveTo>
                  <a:pt x="1340" y="740"/>
                </a:moveTo>
                <a:cubicBezTo>
                  <a:pt x="1340" y="748"/>
                  <a:pt x="1334" y="754"/>
                  <a:pt x="1326" y="754"/>
                </a:cubicBezTo>
                <a:cubicBezTo>
                  <a:pt x="918" y="754"/>
                  <a:pt x="642" y="754"/>
                  <a:pt x="455" y="754"/>
                </a:cubicBezTo>
                <a:cubicBezTo>
                  <a:pt x="455" y="754"/>
                  <a:pt x="455" y="754"/>
                  <a:pt x="455" y="754"/>
                </a:cubicBezTo>
                <a:cubicBezTo>
                  <a:pt x="64" y="754"/>
                  <a:pt x="64" y="754"/>
                  <a:pt x="64" y="754"/>
                </a:cubicBezTo>
                <a:cubicBezTo>
                  <a:pt x="56" y="754"/>
                  <a:pt x="49" y="747"/>
                  <a:pt x="49" y="739"/>
                </a:cubicBezTo>
                <a:cubicBezTo>
                  <a:pt x="49" y="739"/>
                  <a:pt x="49" y="739"/>
                  <a:pt x="49" y="470"/>
                </a:cubicBezTo>
                <a:cubicBezTo>
                  <a:pt x="49" y="417"/>
                  <a:pt x="49" y="372"/>
                  <a:pt x="49" y="332"/>
                </a:cubicBezTo>
                <a:cubicBezTo>
                  <a:pt x="49" y="63"/>
                  <a:pt x="49" y="63"/>
                  <a:pt x="49" y="63"/>
                </a:cubicBezTo>
                <a:cubicBezTo>
                  <a:pt x="49" y="55"/>
                  <a:pt x="56" y="48"/>
                  <a:pt x="64" y="48"/>
                </a:cubicBezTo>
                <a:cubicBezTo>
                  <a:pt x="1326" y="48"/>
                  <a:pt x="1326" y="48"/>
                  <a:pt x="1326" y="48"/>
                </a:cubicBezTo>
                <a:cubicBezTo>
                  <a:pt x="1334" y="48"/>
                  <a:pt x="1340" y="55"/>
                  <a:pt x="1340" y="63"/>
                </a:cubicBezTo>
                <a:cubicBezTo>
                  <a:pt x="1340" y="740"/>
                  <a:pt x="1340" y="740"/>
                  <a:pt x="1340" y="740"/>
                </a:cubicBezTo>
                <a:close/>
              </a:path>
            </a:pathLst>
          </a:custGeom>
          <a:solidFill>
            <a:srgbClr val="FFFFFF"/>
          </a:solidFill>
          <a:ln w="25400" cap="flat" cmpd="sng" algn="ctr">
            <a:noFill/>
            <a:prstDash val="solid"/>
            <a:headEnd type="none" w="med" len="med"/>
            <a:tailEnd type="none" w="med" len="med"/>
          </a:ln>
          <a:effectLst/>
        </p:spPr>
        <p:txBody>
          <a:bodyPr vert="horz" wrap="square" lIns="61718" tIns="30859" rIns="61718" bIns="30859"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555505">
              <a:defRPr/>
            </a:pPr>
            <a:endParaRPr lang="en-US" sz="1350" spc="-92">
              <a:solidFill>
                <a:prstClr val="black">
                  <a:lumMod val="50000"/>
                </a:prstClr>
              </a:solidFill>
              <a:latin typeface="Segoe Light" pitchFamily="34" charset="0"/>
            </a:endParaRPr>
          </a:p>
        </p:txBody>
      </p:sp>
      <p:grpSp>
        <p:nvGrpSpPr>
          <p:cNvPr id="6" name="Group 5"/>
          <p:cNvGrpSpPr>
            <a:grpSpLocks noChangeAspect="1"/>
          </p:cNvGrpSpPr>
          <p:nvPr/>
        </p:nvGrpSpPr>
        <p:grpSpPr bwMode="black">
          <a:xfrm>
            <a:off x="7235879" y="2524305"/>
            <a:ext cx="411277" cy="413378"/>
            <a:chOff x="1868488" y="569913"/>
            <a:chExt cx="8445500" cy="5700712"/>
          </a:xfrm>
        </p:grpSpPr>
        <p:sp>
          <p:nvSpPr>
            <p:cNvPr id="7" name="Freeform 6"/>
            <p:cNvSpPr>
              <a:spLocks noEditPoints="1"/>
            </p:cNvSpPr>
            <p:nvPr/>
          </p:nvSpPr>
          <p:spPr bwMode="black">
            <a:xfrm>
              <a:off x="1868488" y="569913"/>
              <a:ext cx="8445500" cy="5700712"/>
            </a:xfrm>
            <a:custGeom>
              <a:avLst/>
              <a:gdLst>
                <a:gd name="T0" fmla="*/ 2163 w 2252"/>
                <a:gd name="T1" fmla="*/ 31 h 1520"/>
                <a:gd name="T2" fmla="*/ 390 w 2252"/>
                <a:gd name="T3" fmla="*/ 31 h 1520"/>
                <a:gd name="T4" fmla="*/ 90 w 2252"/>
                <a:gd name="T5" fmla="*/ 24 h 1520"/>
                <a:gd name="T6" fmla="*/ 0 w 2252"/>
                <a:gd name="T7" fmla="*/ 113 h 1520"/>
                <a:gd name="T8" fmla="*/ 0 w 2252"/>
                <a:gd name="T9" fmla="*/ 1418 h 1520"/>
                <a:gd name="T10" fmla="*/ 90 w 2252"/>
                <a:gd name="T11" fmla="*/ 1508 h 1520"/>
                <a:gd name="T12" fmla="*/ 463 w 2252"/>
                <a:gd name="T13" fmla="*/ 1478 h 1520"/>
                <a:gd name="T14" fmla="*/ 2163 w 2252"/>
                <a:gd name="T15" fmla="*/ 1478 h 1520"/>
                <a:gd name="T16" fmla="*/ 2252 w 2252"/>
                <a:gd name="T17" fmla="*/ 1388 h 1520"/>
                <a:gd name="T18" fmla="*/ 2252 w 2252"/>
                <a:gd name="T19" fmla="*/ 121 h 1520"/>
                <a:gd name="T20" fmla="*/ 2163 w 2252"/>
                <a:gd name="T21" fmla="*/ 31 h 1520"/>
                <a:gd name="T22" fmla="*/ 1635 w 2252"/>
                <a:gd name="T23" fmla="*/ 1391 h 1520"/>
                <a:gd name="T24" fmla="*/ 546 w 2252"/>
                <a:gd name="T25" fmla="*/ 1391 h 1520"/>
                <a:gd name="T26" fmla="*/ 512 w 2252"/>
                <a:gd name="T27" fmla="*/ 1354 h 1520"/>
                <a:gd name="T28" fmla="*/ 546 w 2252"/>
                <a:gd name="T29" fmla="*/ 1316 h 1520"/>
                <a:gd name="T30" fmla="*/ 1635 w 2252"/>
                <a:gd name="T31" fmla="*/ 1316 h 1520"/>
                <a:gd name="T32" fmla="*/ 1668 w 2252"/>
                <a:gd name="T33" fmla="*/ 1354 h 1520"/>
                <a:gd name="T34" fmla="*/ 1635 w 2252"/>
                <a:gd name="T35" fmla="*/ 1391 h 1520"/>
                <a:gd name="T36" fmla="*/ 1305 w 2252"/>
                <a:gd name="T37" fmla="*/ 1195 h 1520"/>
                <a:gd name="T38" fmla="*/ 877 w 2252"/>
                <a:gd name="T39" fmla="*/ 766 h 1520"/>
                <a:gd name="T40" fmla="*/ 1305 w 2252"/>
                <a:gd name="T41" fmla="*/ 337 h 1520"/>
                <a:gd name="T42" fmla="*/ 1734 w 2252"/>
                <a:gd name="T43" fmla="*/ 766 h 1520"/>
                <a:gd name="T44" fmla="*/ 1305 w 2252"/>
                <a:gd name="T45" fmla="*/ 1195 h 1520"/>
                <a:gd name="T46" fmla="*/ 1966 w 2252"/>
                <a:gd name="T47" fmla="*/ 325 h 1520"/>
                <a:gd name="T48" fmla="*/ 1810 w 2252"/>
                <a:gd name="T49" fmla="*/ 325 h 1520"/>
                <a:gd name="T50" fmla="*/ 1720 w 2252"/>
                <a:gd name="T51" fmla="*/ 235 h 1520"/>
                <a:gd name="T52" fmla="*/ 1810 w 2252"/>
                <a:gd name="T53" fmla="*/ 146 h 1520"/>
                <a:gd name="T54" fmla="*/ 1966 w 2252"/>
                <a:gd name="T55" fmla="*/ 146 h 1520"/>
                <a:gd name="T56" fmla="*/ 2056 w 2252"/>
                <a:gd name="T57" fmla="*/ 235 h 1520"/>
                <a:gd name="T58" fmla="*/ 1966 w 2252"/>
                <a:gd name="T59" fmla="*/ 325 h 1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52" h="1520">
                  <a:moveTo>
                    <a:pt x="2163" y="31"/>
                  </a:moveTo>
                  <a:cubicBezTo>
                    <a:pt x="390" y="31"/>
                    <a:pt x="390" y="31"/>
                    <a:pt x="390" y="31"/>
                  </a:cubicBezTo>
                  <a:cubicBezTo>
                    <a:pt x="247" y="0"/>
                    <a:pt x="126" y="24"/>
                    <a:pt x="90" y="24"/>
                  </a:cubicBezTo>
                  <a:cubicBezTo>
                    <a:pt x="40" y="24"/>
                    <a:pt x="0" y="64"/>
                    <a:pt x="0" y="113"/>
                  </a:cubicBezTo>
                  <a:cubicBezTo>
                    <a:pt x="0" y="1418"/>
                    <a:pt x="0" y="1418"/>
                    <a:pt x="0" y="1418"/>
                  </a:cubicBezTo>
                  <a:cubicBezTo>
                    <a:pt x="0" y="1468"/>
                    <a:pt x="40" y="1508"/>
                    <a:pt x="90" y="1508"/>
                  </a:cubicBezTo>
                  <a:cubicBezTo>
                    <a:pt x="134" y="1508"/>
                    <a:pt x="382" y="1520"/>
                    <a:pt x="463" y="1478"/>
                  </a:cubicBezTo>
                  <a:cubicBezTo>
                    <a:pt x="2163" y="1478"/>
                    <a:pt x="2163" y="1478"/>
                    <a:pt x="2163" y="1478"/>
                  </a:cubicBezTo>
                  <a:cubicBezTo>
                    <a:pt x="2212" y="1478"/>
                    <a:pt x="2252" y="1438"/>
                    <a:pt x="2252" y="1388"/>
                  </a:cubicBezTo>
                  <a:cubicBezTo>
                    <a:pt x="2252" y="121"/>
                    <a:pt x="2252" y="121"/>
                    <a:pt x="2252" y="121"/>
                  </a:cubicBezTo>
                  <a:cubicBezTo>
                    <a:pt x="2252" y="71"/>
                    <a:pt x="2212" y="31"/>
                    <a:pt x="2163" y="31"/>
                  </a:cubicBezTo>
                  <a:close/>
                  <a:moveTo>
                    <a:pt x="1635" y="1391"/>
                  </a:moveTo>
                  <a:cubicBezTo>
                    <a:pt x="546" y="1391"/>
                    <a:pt x="546" y="1391"/>
                    <a:pt x="546" y="1391"/>
                  </a:cubicBezTo>
                  <a:cubicBezTo>
                    <a:pt x="527" y="1391"/>
                    <a:pt x="512" y="1374"/>
                    <a:pt x="512" y="1354"/>
                  </a:cubicBezTo>
                  <a:cubicBezTo>
                    <a:pt x="512" y="1333"/>
                    <a:pt x="527" y="1316"/>
                    <a:pt x="546" y="1316"/>
                  </a:cubicBezTo>
                  <a:cubicBezTo>
                    <a:pt x="1635" y="1316"/>
                    <a:pt x="1635" y="1316"/>
                    <a:pt x="1635" y="1316"/>
                  </a:cubicBezTo>
                  <a:cubicBezTo>
                    <a:pt x="1653" y="1316"/>
                    <a:pt x="1668" y="1333"/>
                    <a:pt x="1668" y="1354"/>
                  </a:cubicBezTo>
                  <a:cubicBezTo>
                    <a:pt x="1668" y="1374"/>
                    <a:pt x="1653" y="1391"/>
                    <a:pt x="1635" y="1391"/>
                  </a:cubicBezTo>
                  <a:close/>
                  <a:moveTo>
                    <a:pt x="1305" y="1195"/>
                  </a:moveTo>
                  <a:cubicBezTo>
                    <a:pt x="1068" y="1195"/>
                    <a:pt x="877" y="1003"/>
                    <a:pt x="877" y="766"/>
                  </a:cubicBezTo>
                  <a:cubicBezTo>
                    <a:pt x="877" y="529"/>
                    <a:pt x="1068" y="337"/>
                    <a:pt x="1305" y="337"/>
                  </a:cubicBezTo>
                  <a:cubicBezTo>
                    <a:pt x="1542" y="337"/>
                    <a:pt x="1734" y="529"/>
                    <a:pt x="1734" y="766"/>
                  </a:cubicBezTo>
                  <a:cubicBezTo>
                    <a:pt x="1734" y="1003"/>
                    <a:pt x="1542" y="1195"/>
                    <a:pt x="1305" y="1195"/>
                  </a:cubicBezTo>
                  <a:close/>
                  <a:moveTo>
                    <a:pt x="1966" y="325"/>
                  </a:moveTo>
                  <a:cubicBezTo>
                    <a:pt x="1810" y="325"/>
                    <a:pt x="1810" y="325"/>
                    <a:pt x="1810" y="325"/>
                  </a:cubicBezTo>
                  <a:cubicBezTo>
                    <a:pt x="1760" y="325"/>
                    <a:pt x="1720" y="285"/>
                    <a:pt x="1720" y="235"/>
                  </a:cubicBezTo>
                  <a:cubicBezTo>
                    <a:pt x="1720" y="186"/>
                    <a:pt x="1760" y="146"/>
                    <a:pt x="1810" y="146"/>
                  </a:cubicBezTo>
                  <a:cubicBezTo>
                    <a:pt x="1966" y="146"/>
                    <a:pt x="1966" y="146"/>
                    <a:pt x="1966" y="146"/>
                  </a:cubicBezTo>
                  <a:cubicBezTo>
                    <a:pt x="2016" y="146"/>
                    <a:pt x="2056" y="186"/>
                    <a:pt x="2056" y="235"/>
                  </a:cubicBezTo>
                  <a:cubicBezTo>
                    <a:pt x="2056" y="285"/>
                    <a:pt x="2016" y="325"/>
                    <a:pt x="1966" y="325"/>
                  </a:cubicBezTo>
                  <a:close/>
                </a:path>
              </a:pathLst>
            </a:custGeom>
            <a:solidFill>
              <a:srgbClr val="FFFFFF"/>
            </a:solidFill>
            <a:ln w="25400" cap="flat" cmpd="sng" algn="ctr">
              <a:noFill/>
              <a:prstDash val="solid"/>
              <a:headEnd type="none" w="med" len="med"/>
              <a:tailEnd type="none" w="med" len="med"/>
            </a:ln>
            <a:effectLst/>
          </p:spPr>
          <p:txBody>
            <a:bodyPr vert="horz" wrap="square" lIns="68567" tIns="34283" rIns="68567" bIns="34283"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555505">
                <a:defRPr/>
              </a:pPr>
              <a:endParaRPr lang="en-US" sz="1350" spc="-92">
                <a:solidFill>
                  <a:prstClr val="black">
                    <a:lumMod val="50000"/>
                  </a:prstClr>
                </a:solidFill>
                <a:latin typeface="Segoe Light" pitchFamily="34" charset="0"/>
              </a:endParaRPr>
            </a:p>
          </p:txBody>
        </p:sp>
        <p:sp>
          <p:nvSpPr>
            <p:cNvPr id="8" name="Freeform 7"/>
            <p:cNvSpPr>
              <a:spLocks noEditPoints="1"/>
            </p:cNvSpPr>
            <p:nvPr/>
          </p:nvSpPr>
          <p:spPr bwMode="black">
            <a:xfrm>
              <a:off x="5603876" y="2279650"/>
              <a:ext cx="2320925" cy="2320925"/>
            </a:xfrm>
            <a:custGeom>
              <a:avLst/>
              <a:gdLst>
                <a:gd name="T0" fmla="*/ 309 w 619"/>
                <a:gd name="T1" fmla="*/ 0 h 619"/>
                <a:gd name="T2" fmla="*/ 0 w 619"/>
                <a:gd name="T3" fmla="*/ 310 h 619"/>
                <a:gd name="T4" fmla="*/ 309 w 619"/>
                <a:gd name="T5" fmla="*/ 619 h 619"/>
                <a:gd name="T6" fmla="*/ 619 w 619"/>
                <a:gd name="T7" fmla="*/ 310 h 619"/>
                <a:gd name="T8" fmla="*/ 309 w 619"/>
                <a:gd name="T9" fmla="*/ 0 h 619"/>
                <a:gd name="T10" fmla="*/ 313 w 619"/>
                <a:gd name="T11" fmla="*/ 507 h 619"/>
                <a:gd name="T12" fmla="*/ 112 w 619"/>
                <a:gd name="T13" fmla="*/ 306 h 619"/>
                <a:gd name="T14" fmla="*/ 313 w 619"/>
                <a:gd name="T15" fmla="*/ 105 h 619"/>
                <a:gd name="T16" fmla="*/ 514 w 619"/>
                <a:gd name="T17" fmla="*/ 306 h 619"/>
                <a:gd name="T18" fmla="*/ 313 w 619"/>
                <a:gd name="T19"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9" h="619">
                  <a:moveTo>
                    <a:pt x="309" y="0"/>
                  </a:moveTo>
                  <a:cubicBezTo>
                    <a:pt x="138" y="0"/>
                    <a:pt x="0" y="139"/>
                    <a:pt x="0" y="310"/>
                  </a:cubicBezTo>
                  <a:cubicBezTo>
                    <a:pt x="0" y="481"/>
                    <a:pt x="138" y="619"/>
                    <a:pt x="309" y="619"/>
                  </a:cubicBezTo>
                  <a:cubicBezTo>
                    <a:pt x="480" y="619"/>
                    <a:pt x="619" y="481"/>
                    <a:pt x="619" y="310"/>
                  </a:cubicBezTo>
                  <a:cubicBezTo>
                    <a:pt x="619" y="139"/>
                    <a:pt x="480" y="0"/>
                    <a:pt x="309" y="0"/>
                  </a:cubicBezTo>
                  <a:close/>
                  <a:moveTo>
                    <a:pt x="313" y="507"/>
                  </a:moveTo>
                  <a:cubicBezTo>
                    <a:pt x="202" y="507"/>
                    <a:pt x="112" y="417"/>
                    <a:pt x="112" y="306"/>
                  </a:cubicBezTo>
                  <a:cubicBezTo>
                    <a:pt x="112" y="195"/>
                    <a:pt x="202" y="105"/>
                    <a:pt x="313" y="105"/>
                  </a:cubicBezTo>
                  <a:cubicBezTo>
                    <a:pt x="424" y="105"/>
                    <a:pt x="514" y="195"/>
                    <a:pt x="514" y="306"/>
                  </a:cubicBezTo>
                  <a:cubicBezTo>
                    <a:pt x="514" y="417"/>
                    <a:pt x="424" y="507"/>
                    <a:pt x="313" y="507"/>
                  </a:cubicBezTo>
                  <a:close/>
                </a:path>
              </a:pathLst>
            </a:custGeom>
            <a:solidFill>
              <a:srgbClr val="FFFFFF"/>
            </a:solidFill>
            <a:ln w="25400" cap="flat" cmpd="sng" algn="ctr">
              <a:noFill/>
              <a:prstDash val="solid"/>
              <a:headEnd type="none" w="med" len="med"/>
              <a:tailEnd type="none" w="med" len="med"/>
            </a:ln>
            <a:effectLst/>
          </p:spPr>
          <p:txBody>
            <a:bodyPr vert="horz" wrap="square" lIns="68567" tIns="34283" rIns="68567" bIns="34283"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555505">
                <a:defRPr/>
              </a:pPr>
              <a:endParaRPr lang="en-US" sz="1350" spc="-92">
                <a:solidFill>
                  <a:prstClr val="black">
                    <a:lumMod val="50000"/>
                  </a:prstClr>
                </a:solidFill>
                <a:latin typeface="Segoe Light" pitchFamily="34" charset="0"/>
              </a:endParaRPr>
            </a:p>
          </p:txBody>
        </p:sp>
      </p:grpSp>
      <p:grpSp>
        <p:nvGrpSpPr>
          <p:cNvPr id="9" name="Group 8"/>
          <p:cNvGrpSpPr/>
          <p:nvPr/>
        </p:nvGrpSpPr>
        <p:grpSpPr bwMode="black">
          <a:xfrm>
            <a:off x="9956375" y="2463563"/>
            <a:ext cx="358715" cy="525275"/>
            <a:chOff x="2057400" y="2063082"/>
            <a:chExt cx="1338263" cy="1316037"/>
          </a:xfrm>
          <a:solidFill>
            <a:srgbClr val="FFFFFF"/>
          </a:solidFill>
        </p:grpSpPr>
        <p:sp>
          <p:nvSpPr>
            <p:cNvPr id="10" name="Freeform 9"/>
            <p:cNvSpPr>
              <a:spLocks noEditPoints="1"/>
            </p:cNvSpPr>
            <p:nvPr/>
          </p:nvSpPr>
          <p:spPr bwMode="black">
            <a:xfrm>
              <a:off x="2057400" y="2434557"/>
              <a:ext cx="1338263" cy="633412"/>
            </a:xfrm>
            <a:custGeom>
              <a:avLst/>
              <a:gdLst>
                <a:gd name="T0" fmla="*/ 332 w 357"/>
                <a:gd name="T1" fmla="*/ 0 h 169"/>
                <a:gd name="T2" fmla="*/ 26 w 357"/>
                <a:gd name="T3" fmla="*/ 0 h 169"/>
                <a:gd name="T4" fmla="*/ 0 w 357"/>
                <a:gd name="T5" fmla="*/ 25 h 169"/>
                <a:gd name="T6" fmla="*/ 0 w 357"/>
                <a:gd name="T7" fmla="*/ 144 h 169"/>
                <a:gd name="T8" fmla="*/ 26 w 357"/>
                <a:gd name="T9" fmla="*/ 169 h 169"/>
                <a:gd name="T10" fmla="*/ 70 w 357"/>
                <a:gd name="T11" fmla="*/ 169 h 169"/>
                <a:gd name="T12" fmla="*/ 70 w 357"/>
                <a:gd name="T13" fmla="*/ 90 h 169"/>
                <a:gd name="T14" fmla="*/ 288 w 357"/>
                <a:gd name="T15" fmla="*/ 90 h 169"/>
                <a:gd name="T16" fmla="*/ 288 w 357"/>
                <a:gd name="T17" fmla="*/ 169 h 169"/>
                <a:gd name="T18" fmla="*/ 332 w 357"/>
                <a:gd name="T19" fmla="*/ 169 h 169"/>
                <a:gd name="T20" fmla="*/ 357 w 357"/>
                <a:gd name="T21" fmla="*/ 144 h 169"/>
                <a:gd name="T22" fmla="*/ 357 w 357"/>
                <a:gd name="T23" fmla="*/ 25 h 169"/>
                <a:gd name="T24" fmla="*/ 332 w 357"/>
                <a:gd name="T25" fmla="*/ 0 h 169"/>
                <a:gd name="T26" fmla="*/ 319 w 357"/>
                <a:gd name="T27" fmla="*/ 56 h 169"/>
                <a:gd name="T28" fmla="*/ 308 w 357"/>
                <a:gd name="T29" fmla="*/ 45 h 169"/>
                <a:gd name="T30" fmla="*/ 319 w 357"/>
                <a:gd name="T31" fmla="*/ 34 h 169"/>
                <a:gd name="T32" fmla="*/ 330 w 357"/>
                <a:gd name="T33" fmla="*/ 45 h 169"/>
                <a:gd name="T34" fmla="*/ 319 w 357"/>
                <a:gd name="T35" fmla="*/ 5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7" h="169">
                  <a:moveTo>
                    <a:pt x="332" y="0"/>
                  </a:moveTo>
                  <a:cubicBezTo>
                    <a:pt x="26" y="0"/>
                    <a:pt x="26" y="0"/>
                    <a:pt x="26" y="0"/>
                  </a:cubicBezTo>
                  <a:cubicBezTo>
                    <a:pt x="12" y="0"/>
                    <a:pt x="0" y="11"/>
                    <a:pt x="0" y="25"/>
                  </a:cubicBezTo>
                  <a:cubicBezTo>
                    <a:pt x="0" y="144"/>
                    <a:pt x="0" y="144"/>
                    <a:pt x="0" y="144"/>
                  </a:cubicBezTo>
                  <a:cubicBezTo>
                    <a:pt x="0" y="158"/>
                    <a:pt x="12" y="169"/>
                    <a:pt x="26" y="169"/>
                  </a:cubicBezTo>
                  <a:cubicBezTo>
                    <a:pt x="70" y="169"/>
                    <a:pt x="70" y="169"/>
                    <a:pt x="70" y="169"/>
                  </a:cubicBezTo>
                  <a:cubicBezTo>
                    <a:pt x="70" y="90"/>
                    <a:pt x="70" y="90"/>
                    <a:pt x="70" y="90"/>
                  </a:cubicBezTo>
                  <a:cubicBezTo>
                    <a:pt x="288" y="90"/>
                    <a:pt x="288" y="90"/>
                    <a:pt x="288" y="90"/>
                  </a:cubicBezTo>
                  <a:cubicBezTo>
                    <a:pt x="288" y="169"/>
                    <a:pt x="288" y="169"/>
                    <a:pt x="288" y="169"/>
                  </a:cubicBezTo>
                  <a:cubicBezTo>
                    <a:pt x="332" y="169"/>
                    <a:pt x="332" y="169"/>
                    <a:pt x="332" y="169"/>
                  </a:cubicBezTo>
                  <a:cubicBezTo>
                    <a:pt x="346" y="169"/>
                    <a:pt x="357" y="158"/>
                    <a:pt x="357" y="144"/>
                  </a:cubicBezTo>
                  <a:cubicBezTo>
                    <a:pt x="357" y="25"/>
                    <a:pt x="357" y="25"/>
                    <a:pt x="357" y="25"/>
                  </a:cubicBezTo>
                  <a:cubicBezTo>
                    <a:pt x="357" y="11"/>
                    <a:pt x="346" y="0"/>
                    <a:pt x="332" y="0"/>
                  </a:cubicBezTo>
                  <a:close/>
                  <a:moveTo>
                    <a:pt x="319" y="56"/>
                  </a:moveTo>
                  <a:cubicBezTo>
                    <a:pt x="313" y="56"/>
                    <a:pt x="308" y="51"/>
                    <a:pt x="308" y="45"/>
                  </a:cubicBezTo>
                  <a:cubicBezTo>
                    <a:pt x="308" y="39"/>
                    <a:pt x="313" y="34"/>
                    <a:pt x="319" y="34"/>
                  </a:cubicBezTo>
                  <a:cubicBezTo>
                    <a:pt x="325" y="34"/>
                    <a:pt x="330" y="39"/>
                    <a:pt x="330" y="45"/>
                  </a:cubicBezTo>
                  <a:cubicBezTo>
                    <a:pt x="330" y="51"/>
                    <a:pt x="325" y="56"/>
                    <a:pt x="319"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738">
                <a:defRPr/>
              </a:pPr>
              <a:endParaRPr lang="en-US" sz="1199" dirty="0">
                <a:solidFill>
                  <a:prstClr val="black"/>
                </a:solidFill>
              </a:endParaRPr>
            </a:p>
          </p:txBody>
        </p:sp>
        <p:sp>
          <p:nvSpPr>
            <p:cNvPr id="11" name="Freeform 10"/>
            <p:cNvSpPr>
              <a:spLocks noEditPoints="1"/>
            </p:cNvSpPr>
            <p:nvPr/>
          </p:nvSpPr>
          <p:spPr bwMode="black">
            <a:xfrm>
              <a:off x="2379663" y="2756819"/>
              <a:ext cx="693738" cy="622300"/>
            </a:xfrm>
            <a:custGeom>
              <a:avLst/>
              <a:gdLst>
                <a:gd name="T0" fmla="*/ 0 w 185"/>
                <a:gd name="T1" fmla="*/ 0 h 166"/>
                <a:gd name="T2" fmla="*/ 0 w 185"/>
                <a:gd name="T3" fmla="*/ 126 h 166"/>
                <a:gd name="T4" fmla="*/ 41 w 185"/>
                <a:gd name="T5" fmla="*/ 166 h 166"/>
                <a:gd name="T6" fmla="*/ 185 w 185"/>
                <a:gd name="T7" fmla="*/ 166 h 166"/>
                <a:gd name="T8" fmla="*/ 185 w 185"/>
                <a:gd name="T9" fmla="*/ 0 h 166"/>
                <a:gd name="T10" fmla="*/ 0 w 185"/>
                <a:gd name="T11" fmla="*/ 0 h 166"/>
                <a:gd name="T12" fmla="*/ 162 w 185"/>
                <a:gd name="T13" fmla="*/ 144 h 166"/>
                <a:gd name="T14" fmla="*/ 69 w 185"/>
                <a:gd name="T15" fmla="*/ 144 h 166"/>
                <a:gd name="T16" fmla="*/ 69 w 185"/>
                <a:gd name="T17" fmla="*/ 116 h 166"/>
                <a:gd name="T18" fmla="*/ 51 w 185"/>
                <a:gd name="T19" fmla="*/ 98 h 166"/>
                <a:gd name="T20" fmla="*/ 23 w 185"/>
                <a:gd name="T21" fmla="*/ 98 h 166"/>
                <a:gd name="T22" fmla="*/ 23 w 185"/>
                <a:gd name="T23" fmla="*/ 4 h 166"/>
                <a:gd name="T24" fmla="*/ 162 w 185"/>
                <a:gd name="T25" fmla="*/ 4 h 166"/>
                <a:gd name="T26" fmla="*/ 162 w 185"/>
                <a:gd name="T27" fmla="*/ 144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5" h="166">
                  <a:moveTo>
                    <a:pt x="0" y="0"/>
                  </a:moveTo>
                  <a:cubicBezTo>
                    <a:pt x="0" y="126"/>
                    <a:pt x="0" y="126"/>
                    <a:pt x="0" y="126"/>
                  </a:cubicBezTo>
                  <a:cubicBezTo>
                    <a:pt x="41" y="166"/>
                    <a:pt x="41" y="166"/>
                    <a:pt x="41" y="166"/>
                  </a:cubicBezTo>
                  <a:cubicBezTo>
                    <a:pt x="185" y="166"/>
                    <a:pt x="185" y="166"/>
                    <a:pt x="185" y="166"/>
                  </a:cubicBezTo>
                  <a:cubicBezTo>
                    <a:pt x="185" y="0"/>
                    <a:pt x="185" y="0"/>
                    <a:pt x="185" y="0"/>
                  </a:cubicBezTo>
                  <a:lnTo>
                    <a:pt x="0" y="0"/>
                  </a:lnTo>
                  <a:close/>
                  <a:moveTo>
                    <a:pt x="162" y="144"/>
                  </a:moveTo>
                  <a:cubicBezTo>
                    <a:pt x="154" y="144"/>
                    <a:pt x="77" y="144"/>
                    <a:pt x="69" y="144"/>
                  </a:cubicBezTo>
                  <a:cubicBezTo>
                    <a:pt x="69" y="138"/>
                    <a:pt x="69" y="116"/>
                    <a:pt x="69" y="116"/>
                  </a:cubicBezTo>
                  <a:cubicBezTo>
                    <a:pt x="69" y="104"/>
                    <a:pt x="63" y="98"/>
                    <a:pt x="51" y="98"/>
                  </a:cubicBezTo>
                  <a:cubicBezTo>
                    <a:pt x="51" y="98"/>
                    <a:pt x="29" y="98"/>
                    <a:pt x="23" y="98"/>
                  </a:cubicBezTo>
                  <a:cubicBezTo>
                    <a:pt x="23" y="90"/>
                    <a:pt x="23" y="4"/>
                    <a:pt x="23" y="4"/>
                  </a:cubicBezTo>
                  <a:cubicBezTo>
                    <a:pt x="162" y="4"/>
                    <a:pt x="162" y="4"/>
                    <a:pt x="162" y="4"/>
                  </a:cubicBezTo>
                  <a:cubicBezTo>
                    <a:pt x="162" y="4"/>
                    <a:pt x="162" y="135"/>
                    <a:pt x="162"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738">
                <a:defRPr/>
              </a:pPr>
              <a:endParaRPr lang="en-US" sz="1199" dirty="0">
                <a:solidFill>
                  <a:prstClr val="black"/>
                </a:solidFill>
              </a:endParaRPr>
            </a:p>
          </p:txBody>
        </p:sp>
        <p:sp>
          <p:nvSpPr>
            <p:cNvPr id="12" name="Rectangle 11"/>
            <p:cNvSpPr>
              <a:spLocks noChangeArrowheads="1"/>
            </p:cNvSpPr>
            <p:nvPr/>
          </p:nvSpPr>
          <p:spPr bwMode="black">
            <a:xfrm>
              <a:off x="2538413" y="2858419"/>
              <a:ext cx="396875" cy="523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738">
                <a:defRPr/>
              </a:pPr>
              <a:endParaRPr lang="en-US" sz="1199" dirty="0">
                <a:solidFill>
                  <a:prstClr val="black"/>
                </a:solidFill>
              </a:endParaRPr>
            </a:p>
          </p:txBody>
        </p:sp>
        <p:sp>
          <p:nvSpPr>
            <p:cNvPr id="13" name="Rectangle 12"/>
            <p:cNvSpPr>
              <a:spLocks noChangeArrowheads="1"/>
            </p:cNvSpPr>
            <p:nvPr/>
          </p:nvSpPr>
          <p:spPr bwMode="black">
            <a:xfrm>
              <a:off x="2538413" y="2996532"/>
              <a:ext cx="396875" cy="523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5" rIns="68570" bIns="3428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738">
                <a:defRPr/>
              </a:pPr>
              <a:endParaRPr lang="en-US" sz="1199" dirty="0">
                <a:solidFill>
                  <a:prstClr val="black"/>
                </a:solidFill>
              </a:endParaRPr>
            </a:p>
          </p:txBody>
        </p:sp>
        <p:sp>
          <p:nvSpPr>
            <p:cNvPr id="14" name="Freeform 13"/>
            <p:cNvSpPr>
              <a:spLocks/>
            </p:cNvSpPr>
            <p:nvPr/>
          </p:nvSpPr>
          <p:spPr bwMode="black">
            <a:xfrm>
              <a:off x="2320925" y="2063082"/>
              <a:ext cx="815975" cy="311150"/>
            </a:xfrm>
            <a:custGeom>
              <a:avLst/>
              <a:gdLst>
                <a:gd name="T0" fmla="*/ 0 w 218"/>
                <a:gd name="T1" fmla="*/ 83 h 83"/>
                <a:gd name="T2" fmla="*/ 0 w 218"/>
                <a:gd name="T3" fmla="*/ 13 h 83"/>
                <a:gd name="T4" fmla="*/ 12 w 218"/>
                <a:gd name="T5" fmla="*/ 0 h 83"/>
                <a:gd name="T6" fmla="*/ 205 w 218"/>
                <a:gd name="T7" fmla="*/ 0 h 83"/>
                <a:gd name="T8" fmla="*/ 218 w 218"/>
                <a:gd name="T9" fmla="*/ 13 h 83"/>
                <a:gd name="T10" fmla="*/ 218 w 218"/>
                <a:gd name="T11" fmla="*/ 83 h 83"/>
                <a:gd name="T12" fmla="*/ 0 w 218"/>
                <a:gd name="T13" fmla="*/ 83 h 83"/>
              </a:gdLst>
              <a:ahLst/>
              <a:cxnLst>
                <a:cxn ang="0">
                  <a:pos x="T0" y="T1"/>
                </a:cxn>
                <a:cxn ang="0">
                  <a:pos x="T2" y="T3"/>
                </a:cxn>
                <a:cxn ang="0">
                  <a:pos x="T4" y="T5"/>
                </a:cxn>
                <a:cxn ang="0">
                  <a:pos x="T6" y="T7"/>
                </a:cxn>
                <a:cxn ang="0">
                  <a:pos x="T8" y="T9"/>
                </a:cxn>
                <a:cxn ang="0">
                  <a:pos x="T10" y="T11"/>
                </a:cxn>
                <a:cxn ang="0">
                  <a:pos x="T12" y="T13"/>
                </a:cxn>
              </a:cxnLst>
              <a:rect l="0" t="0" r="r" b="b"/>
              <a:pathLst>
                <a:path w="218" h="83">
                  <a:moveTo>
                    <a:pt x="0" y="83"/>
                  </a:moveTo>
                  <a:cubicBezTo>
                    <a:pt x="0" y="13"/>
                    <a:pt x="0" y="13"/>
                    <a:pt x="0" y="13"/>
                  </a:cubicBezTo>
                  <a:cubicBezTo>
                    <a:pt x="0" y="6"/>
                    <a:pt x="5" y="0"/>
                    <a:pt x="12" y="0"/>
                  </a:cubicBezTo>
                  <a:cubicBezTo>
                    <a:pt x="205" y="0"/>
                    <a:pt x="205" y="0"/>
                    <a:pt x="205" y="0"/>
                  </a:cubicBezTo>
                  <a:cubicBezTo>
                    <a:pt x="212" y="0"/>
                    <a:pt x="218" y="6"/>
                    <a:pt x="218" y="13"/>
                  </a:cubicBezTo>
                  <a:cubicBezTo>
                    <a:pt x="218" y="83"/>
                    <a:pt x="218" y="83"/>
                    <a:pt x="218" y="83"/>
                  </a:cubicBezTo>
                  <a:lnTo>
                    <a:pt x="0"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5" rIns="68570" bIns="3428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738">
                <a:defRPr/>
              </a:pPr>
              <a:endParaRPr lang="en-US" sz="1199" dirty="0">
                <a:solidFill>
                  <a:prstClr val="black"/>
                </a:solidFill>
              </a:endParaRPr>
            </a:p>
          </p:txBody>
        </p:sp>
      </p:grpSp>
      <p:sp>
        <p:nvSpPr>
          <p:cNvPr id="15" name="Freeform 14"/>
          <p:cNvSpPr>
            <a:spLocks noEditPoints="1"/>
          </p:cNvSpPr>
          <p:nvPr/>
        </p:nvSpPr>
        <p:spPr bwMode="auto">
          <a:xfrm rot="5400000">
            <a:off x="8888558" y="3136425"/>
            <a:ext cx="591391" cy="331645"/>
          </a:xfrm>
          <a:custGeom>
            <a:avLst/>
            <a:gdLst/>
            <a:ahLst/>
            <a:cxnLst>
              <a:cxn ang="0">
                <a:pos x="514" y="0"/>
              </a:cxn>
              <a:cxn ang="0">
                <a:pos x="17" y="0"/>
              </a:cxn>
              <a:cxn ang="0">
                <a:pos x="0" y="17"/>
              </a:cxn>
              <a:cxn ang="0">
                <a:pos x="0" y="356"/>
              </a:cxn>
              <a:cxn ang="0">
                <a:pos x="17" y="373"/>
              </a:cxn>
              <a:cxn ang="0">
                <a:pos x="514" y="373"/>
              </a:cxn>
              <a:cxn ang="0">
                <a:pos x="531" y="356"/>
              </a:cxn>
              <a:cxn ang="0">
                <a:pos x="531" y="17"/>
              </a:cxn>
              <a:cxn ang="0">
                <a:pos x="514" y="0"/>
              </a:cxn>
              <a:cxn ang="0">
                <a:pos x="501" y="329"/>
              </a:cxn>
              <a:cxn ang="0">
                <a:pos x="486" y="343"/>
              </a:cxn>
              <a:cxn ang="0">
                <a:pos x="45" y="343"/>
              </a:cxn>
              <a:cxn ang="0">
                <a:pos x="30" y="329"/>
              </a:cxn>
              <a:cxn ang="0">
                <a:pos x="30" y="45"/>
              </a:cxn>
              <a:cxn ang="0">
                <a:pos x="45" y="30"/>
              </a:cxn>
              <a:cxn ang="0">
                <a:pos x="486" y="30"/>
              </a:cxn>
              <a:cxn ang="0">
                <a:pos x="501" y="45"/>
              </a:cxn>
              <a:cxn ang="0">
                <a:pos x="501" y="329"/>
              </a:cxn>
            </a:cxnLst>
            <a:rect l="0" t="0" r="r" b="b"/>
            <a:pathLst>
              <a:path w="531" h="373">
                <a:moveTo>
                  <a:pt x="514" y="0"/>
                </a:moveTo>
                <a:cubicBezTo>
                  <a:pt x="17" y="0"/>
                  <a:pt x="17" y="0"/>
                  <a:pt x="17" y="0"/>
                </a:cubicBezTo>
                <a:cubicBezTo>
                  <a:pt x="7" y="0"/>
                  <a:pt x="0" y="8"/>
                  <a:pt x="0" y="17"/>
                </a:cubicBezTo>
                <a:cubicBezTo>
                  <a:pt x="0" y="356"/>
                  <a:pt x="0" y="356"/>
                  <a:pt x="0" y="356"/>
                </a:cubicBezTo>
                <a:cubicBezTo>
                  <a:pt x="0" y="366"/>
                  <a:pt x="7" y="373"/>
                  <a:pt x="17" y="373"/>
                </a:cubicBezTo>
                <a:cubicBezTo>
                  <a:pt x="514" y="373"/>
                  <a:pt x="514" y="373"/>
                  <a:pt x="514" y="373"/>
                </a:cubicBezTo>
                <a:cubicBezTo>
                  <a:pt x="524" y="373"/>
                  <a:pt x="531" y="366"/>
                  <a:pt x="531" y="356"/>
                </a:cubicBezTo>
                <a:cubicBezTo>
                  <a:pt x="531" y="17"/>
                  <a:pt x="531" y="17"/>
                  <a:pt x="531" y="17"/>
                </a:cubicBezTo>
                <a:cubicBezTo>
                  <a:pt x="531" y="8"/>
                  <a:pt x="524" y="0"/>
                  <a:pt x="514" y="0"/>
                </a:cubicBezTo>
                <a:close/>
                <a:moveTo>
                  <a:pt x="501" y="329"/>
                </a:moveTo>
                <a:cubicBezTo>
                  <a:pt x="501" y="337"/>
                  <a:pt x="494" y="343"/>
                  <a:pt x="486" y="343"/>
                </a:cubicBezTo>
                <a:cubicBezTo>
                  <a:pt x="45" y="343"/>
                  <a:pt x="45" y="343"/>
                  <a:pt x="45" y="343"/>
                </a:cubicBezTo>
                <a:cubicBezTo>
                  <a:pt x="37" y="343"/>
                  <a:pt x="30" y="337"/>
                  <a:pt x="30" y="329"/>
                </a:cubicBezTo>
                <a:cubicBezTo>
                  <a:pt x="30" y="45"/>
                  <a:pt x="30" y="45"/>
                  <a:pt x="30" y="45"/>
                </a:cubicBezTo>
                <a:cubicBezTo>
                  <a:pt x="30" y="37"/>
                  <a:pt x="37" y="30"/>
                  <a:pt x="45" y="30"/>
                </a:cubicBezTo>
                <a:cubicBezTo>
                  <a:pt x="486" y="30"/>
                  <a:pt x="486" y="30"/>
                  <a:pt x="486" y="30"/>
                </a:cubicBezTo>
                <a:cubicBezTo>
                  <a:pt x="494" y="30"/>
                  <a:pt x="501" y="37"/>
                  <a:pt x="501" y="45"/>
                </a:cubicBezTo>
                <a:lnTo>
                  <a:pt x="501" y="329"/>
                </a:lnTo>
                <a:close/>
              </a:path>
            </a:pathLst>
          </a:custGeom>
          <a:solidFill>
            <a:srgbClr val="FFFFFF"/>
          </a:solidFill>
          <a:extLst/>
        </p:spPr>
        <p:txBody>
          <a:bodyPr vert="horz" wrap="square" lIns="68567" tIns="34283" rIns="68567" bIns="3428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514372">
              <a:defRPr/>
            </a:pPr>
            <a:endParaRPr lang="en-US" sz="1049" kern="0" dirty="0">
              <a:solidFill>
                <a:srgbClr val="FFFFFF"/>
              </a:solidFill>
            </a:endParaRPr>
          </a:p>
        </p:txBody>
      </p:sp>
      <p:pic>
        <p:nvPicPr>
          <p:cNvPr id="16" name="Picture 15"/>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8518228" y="2909917"/>
            <a:ext cx="314187" cy="674483"/>
          </a:xfrm>
          <a:prstGeom prst="rect">
            <a:avLst/>
          </a:prstGeom>
        </p:spPr>
      </p:pic>
      <p:grpSp>
        <p:nvGrpSpPr>
          <p:cNvPr id="17" name="Group 16"/>
          <p:cNvGrpSpPr/>
          <p:nvPr/>
        </p:nvGrpSpPr>
        <p:grpSpPr>
          <a:xfrm>
            <a:off x="8789652" y="2517488"/>
            <a:ext cx="867042" cy="202148"/>
            <a:chOff x="4292648" y="-841503"/>
            <a:chExt cx="2709147" cy="565277"/>
          </a:xfrm>
          <a:solidFill>
            <a:sysClr val="window" lastClr="FFFFFF"/>
          </a:solidFill>
        </p:grpSpPr>
        <p:sp>
          <p:nvSpPr>
            <p:cNvPr id="18" name="Freeform 17"/>
            <p:cNvSpPr>
              <a:spLocks noEditPoints="1"/>
            </p:cNvSpPr>
            <p:nvPr/>
          </p:nvSpPr>
          <p:spPr bwMode="auto">
            <a:xfrm rot="16200000">
              <a:off x="5364583" y="-1913438"/>
              <a:ext cx="565277" cy="2709147"/>
            </a:xfrm>
            <a:custGeom>
              <a:avLst/>
              <a:gdLst>
                <a:gd name="T0" fmla="*/ 1571 w 1643"/>
                <a:gd name="T1" fmla="*/ 1562 h 3937"/>
                <a:gd name="T2" fmla="*/ 1623 w 1643"/>
                <a:gd name="T3" fmla="*/ 3390 h 3937"/>
                <a:gd name="T4" fmla="*/ 1587 w 1643"/>
                <a:gd name="T5" fmla="*/ 3477 h 3937"/>
                <a:gd name="T6" fmla="*/ 1056 w 1643"/>
                <a:gd name="T7" fmla="*/ 3902 h 3937"/>
                <a:gd name="T8" fmla="*/ 986 w 1643"/>
                <a:gd name="T9" fmla="*/ 2544 h 3937"/>
                <a:gd name="T10" fmla="*/ 1048 w 1643"/>
                <a:gd name="T11" fmla="*/ 18 h 3937"/>
                <a:gd name="T12" fmla="*/ 1615 w 1643"/>
                <a:gd name="T13" fmla="*/ 467 h 3937"/>
                <a:gd name="T14" fmla="*/ 1640 w 1643"/>
                <a:gd name="T15" fmla="*/ 533 h 3937"/>
                <a:gd name="T16" fmla="*/ 1571 w 1643"/>
                <a:gd name="T17" fmla="*/ 1562 h 3937"/>
                <a:gd name="T18" fmla="*/ 1005 w 1643"/>
                <a:gd name="T19" fmla="*/ 3927 h 3937"/>
                <a:gd name="T20" fmla="*/ 59 w 1643"/>
                <a:gd name="T21" fmla="*/ 3894 h 3937"/>
                <a:gd name="T22" fmla="*/ 11 w 1643"/>
                <a:gd name="T23" fmla="*/ 3811 h 3937"/>
                <a:gd name="T24" fmla="*/ 122 w 1643"/>
                <a:gd name="T25" fmla="*/ 2525 h 3937"/>
                <a:gd name="T26" fmla="*/ 31 w 1643"/>
                <a:gd name="T27" fmla="*/ 129 h 3937"/>
                <a:gd name="T28" fmla="*/ 74 w 1643"/>
                <a:gd name="T29" fmla="*/ 49 h 3937"/>
                <a:gd name="T30" fmla="*/ 997 w 1643"/>
                <a:gd name="T31" fmla="*/ 5 h 3937"/>
                <a:gd name="T32" fmla="*/ 934 w 1643"/>
                <a:gd name="T33" fmla="*/ 2544 h 3937"/>
                <a:gd name="T34" fmla="*/ 934 w 1643"/>
                <a:gd name="T35" fmla="*/ 2545 h 3937"/>
                <a:gd name="T36" fmla="*/ 1005 w 1643"/>
                <a:gd name="T37" fmla="*/ 3927 h 3937"/>
                <a:gd name="T38" fmla="*/ 413 w 1643"/>
                <a:gd name="T39" fmla="*/ 2946 h 3937"/>
                <a:gd name="T40" fmla="*/ 355 w 1643"/>
                <a:gd name="T41" fmla="*/ 2884 h 3937"/>
                <a:gd name="T42" fmla="*/ 290 w 1643"/>
                <a:gd name="T43" fmla="*/ 2882 h 3937"/>
                <a:gd name="T44" fmla="*/ 228 w 1643"/>
                <a:gd name="T45" fmla="*/ 2940 h 3937"/>
                <a:gd name="T46" fmla="*/ 204 w 1643"/>
                <a:gd name="T47" fmla="*/ 3640 h 3937"/>
                <a:gd name="T48" fmla="*/ 261 w 1643"/>
                <a:gd name="T49" fmla="*/ 3702 h 3937"/>
                <a:gd name="T50" fmla="*/ 326 w 1643"/>
                <a:gd name="T51" fmla="*/ 3705 h 3937"/>
                <a:gd name="T52" fmla="*/ 389 w 1643"/>
                <a:gd name="T53" fmla="*/ 3647 h 3937"/>
                <a:gd name="T54" fmla="*/ 413 w 1643"/>
                <a:gd name="T55" fmla="*/ 2946 h 3937"/>
                <a:gd name="T56" fmla="*/ 814 w 1643"/>
                <a:gd name="T57" fmla="*/ 2552 h 3937"/>
                <a:gd name="T58" fmla="*/ 577 w 1643"/>
                <a:gd name="T59" fmla="*/ 2310 h 3937"/>
                <a:gd name="T60" fmla="*/ 340 w 1643"/>
                <a:gd name="T61" fmla="*/ 2552 h 3937"/>
                <a:gd name="T62" fmla="*/ 577 w 1643"/>
                <a:gd name="T63" fmla="*/ 2794 h 3937"/>
                <a:gd name="T64" fmla="*/ 814 w 1643"/>
                <a:gd name="T65" fmla="*/ 2552 h 3937"/>
                <a:gd name="T66" fmla="*/ 879 w 1643"/>
                <a:gd name="T67" fmla="*/ 2077 h 3937"/>
                <a:gd name="T68" fmla="*/ 855 w 1643"/>
                <a:gd name="T69" fmla="*/ 287 h 3937"/>
                <a:gd name="T70" fmla="*/ 782 w 1643"/>
                <a:gd name="T71" fmla="*/ 216 h 3937"/>
                <a:gd name="T72" fmla="*/ 689 w 1643"/>
                <a:gd name="T73" fmla="*/ 218 h 3937"/>
                <a:gd name="T74" fmla="*/ 618 w 1643"/>
                <a:gd name="T75" fmla="*/ 291 h 3937"/>
                <a:gd name="T76" fmla="*/ 642 w 1643"/>
                <a:gd name="T77" fmla="*/ 2081 h 3937"/>
                <a:gd name="T78" fmla="*/ 715 w 1643"/>
                <a:gd name="T79" fmla="*/ 2152 h 3937"/>
                <a:gd name="T80" fmla="*/ 808 w 1643"/>
                <a:gd name="T81" fmla="*/ 2150 h 3937"/>
                <a:gd name="T82" fmla="*/ 879 w 1643"/>
                <a:gd name="T83" fmla="*/ 2077 h 3937"/>
                <a:gd name="T84" fmla="*/ 720 w 1643"/>
                <a:gd name="T85" fmla="*/ 2552 h 3937"/>
                <a:gd name="T86" fmla="*/ 577 w 1643"/>
                <a:gd name="T87" fmla="*/ 2698 h 3937"/>
                <a:gd name="T88" fmla="*/ 434 w 1643"/>
                <a:gd name="T89" fmla="*/ 2552 h 3937"/>
                <a:gd name="T90" fmla="*/ 577 w 1643"/>
                <a:gd name="T91" fmla="*/ 2406 h 3937"/>
                <a:gd name="T92" fmla="*/ 720 w 1643"/>
                <a:gd name="T93" fmla="*/ 2552 h 3937"/>
                <a:gd name="T94" fmla="*/ 605 w 1643"/>
                <a:gd name="T95" fmla="*/ 2552 h 3937"/>
                <a:gd name="T96" fmla="*/ 577 w 1643"/>
                <a:gd name="T97" fmla="*/ 2523 h 3937"/>
                <a:gd name="T98" fmla="*/ 549 w 1643"/>
                <a:gd name="T99" fmla="*/ 2552 h 3937"/>
                <a:gd name="T100" fmla="*/ 577 w 1643"/>
                <a:gd name="T101" fmla="*/ 2580 h 3937"/>
                <a:gd name="T102" fmla="*/ 605 w 1643"/>
                <a:gd name="T103" fmla="*/ 2552 h 3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43" h="3937">
                  <a:moveTo>
                    <a:pt x="1571" y="1562"/>
                  </a:moveTo>
                  <a:cubicBezTo>
                    <a:pt x="1572" y="1593"/>
                    <a:pt x="1626" y="3350"/>
                    <a:pt x="1623" y="3390"/>
                  </a:cubicBezTo>
                  <a:cubicBezTo>
                    <a:pt x="1620" y="3430"/>
                    <a:pt x="1606" y="3454"/>
                    <a:pt x="1587" y="3477"/>
                  </a:cubicBezTo>
                  <a:cubicBezTo>
                    <a:pt x="1571" y="3496"/>
                    <a:pt x="1193" y="3812"/>
                    <a:pt x="1056" y="3902"/>
                  </a:cubicBezTo>
                  <a:cubicBezTo>
                    <a:pt x="986" y="2544"/>
                    <a:pt x="986" y="2544"/>
                    <a:pt x="986" y="2544"/>
                  </a:cubicBezTo>
                  <a:cubicBezTo>
                    <a:pt x="1048" y="18"/>
                    <a:pt x="1048" y="18"/>
                    <a:pt x="1048" y="18"/>
                  </a:cubicBezTo>
                  <a:cubicBezTo>
                    <a:pt x="1172" y="88"/>
                    <a:pt x="1602" y="448"/>
                    <a:pt x="1615" y="467"/>
                  </a:cubicBezTo>
                  <a:cubicBezTo>
                    <a:pt x="1630" y="489"/>
                    <a:pt x="1638" y="511"/>
                    <a:pt x="1640" y="533"/>
                  </a:cubicBezTo>
                  <a:cubicBezTo>
                    <a:pt x="1643" y="554"/>
                    <a:pt x="1570" y="1531"/>
                    <a:pt x="1571" y="1562"/>
                  </a:cubicBezTo>
                  <a:close/>
                  <a:moveTo>
                    <a:pt x="1005" y="3927"/>
                  </a:moveTo>
                  <a:cubicBezTo>
                    <a:pt x="901" y="3937"/>
                    <a:pt x="76" y="3903"/>
                    <a:pt x="59" y="3894"/>
                  </a:cubicBezTo>
                  <a:cubicBezTo>
                    <a:pt x="42" y="3885"/>
                    <a:pt x="22" y="3845"/>
                    <a:pt x="11" y="3811"/>
                  </a:cubicBezTo>
                  <a:cubicBezTo>
                    <a:pt x="0" y="3778"/>
                    <a:pt x="118" y="2621"/>
                    <a:pt x="122" y="2525"/>
                  </a:cubicBezTo>
                  <a:cubicBezTo>
                    <a:pt x="126" y="2429"/>
                    <a:pt x="24" y="147"/>
                    <a:pt x="31" y="129"/>
                  </a:cubicBezTo>
                  <a:cubicBezTo>
                    <a:pt x="38" y="110"/>
                    <a:pt x="56" y="59"/>
                    <a:pt x="74" y="49"/>
                  </a:cubicBezTo>
                  <a:cubicBezTo>
                    <a:pt x="90" y="39"/>
                    <a:pt x="835" y="0"/>
                    <a:pt x="997" y="5"/>
                  </a:cubicBezTo>
                  <a:cubicBezTo>
                    <a:pt x="934" y="2544"/>
                    <a:pt x="934" y="2544"/>
                    <a:pt x="934" y="2544"/>
                  </a:cubicBezTo>
                  <a:cubicBezTo>
                    <a:pt x="934" y="2545"/>
                    <a:pt x="934" y="2545"/>
                    <a:pt x="934" y="2545"/>
                  </a:cubicBezTo>
                  <a:lnTo>
                    <a:pt x="1005" y="3927"/>
                  </a:lnTo>
                  <a:close/>
                  <a:moveTo>
                    <a:pt x="413" y="2946"/>
                  </a:moveTo>
                  <a:cubicBezTo>
                    <a:pt x="414" y="2913"/>
                    <a:pt x="388" y="2885"/>
                    <a:pt x="355" y="2884"/>
                  </a:cubicBezTo>
                  <a:cubicBezTo>
                    <a:pt x="290" y="2882"/>
                    <a:pt x="290" y="2882"/>
                    <a:pt x="290" y="2882"/>
                  </a:cubicBezTo>
                  <a:cubicBezTo>
                    <a:pt x="257" y="2881"/>
                    <a:pt x="230" y="2907"/>
                    <a:pt x="228" y="2940"/>
                  </a:cubicBezTo>
                  <a:cubicBezTo>
                    <a:pt x="204" y="3640"/>
                    <a:pt x="204" y="3640"/>
                    <a:pt x="204" y="3640"/>
                  </a:cubicBezTo>
                  <a:cubicBezTo>
                    <a:pt x="202" y="3673"/>
                    <a:pt x="229" y="3701"/>
                    <a:pt x="261" y="3702"/>
                  </a:cubicBezTo>
                  <a:cubicBezTo>
                    <a:pt x="326" y="3705"/>
                    <a:pt x="326" y="3705"/>
                    <a:pt x="326" y="3705"/>
                  </a:cubicBezTo>
                  <a:cubicBezTo>
                    <a:pt x="359" y="3706"/>
                    <a:pt x="387" y="3680"/>
                    <a:pt x="389" y="3647"/>
                  </a:cubicBezTo>
                  <a:lnTo>
                    <a:pt x="413" y="2946"/>
                  </a:lnTo>
                  <a:close/>
                  <a:moveTo>
                    <a:pt x="814" y="2552"/>
                  </a:moveTo>
                  <a:cubicBezTo>
                    <a:pt x="814" y="2418"/>
                    <a:pt x="708" y="2310"/>
                    <a:pt x="577" y="2310"/>
                  </a:cubicBezTo>
                  <a:cubicBezTo>
                    <a:pt x="446" y="2310"/>
                    <a:pt x="340" y="2418"/>
                    <a:pt x="340" y="2552"/>
                  </a:cubicBezTo>
                  <a:cubicBezTo>
                    <a:pt x="340" y="2685"/>
                    <a:pt x="446" y="2794"/>
                    <a:pt x="577" y="2794"/>
                  </a:cubicBezTo>
                  <a:cubicBezTo>
                    <a:pt x="708" y="2794"/>
                    <a:pt x="814" y="2685"/>
                    <a:pt x="814" y="2552"/>
                  </a:cubicBezTo>
                  <a:close/>
                  <a:moveTo>
                    <a:pt x="879" y="2077"/>
                  </a:moveTo>
                  <a:cubicBezTo>
                    <a:pt x="855" y="287"/>
                    <a:pt x="855" y="287"/>
                    <a:pt x="855" y="287"/>
                  </a:cubicBezTo>
                  <a:cubicBezTo>
                    <a:pt x="855" y="248"/>
                    <a:pt x="822" y="216"/>
                    <a:pt x="782" y="216"/>
                  </a:cubicBezTo>
                  <a:cubicBezTo>
                    <a:pt x="689" y="218"/>
                    <a:pt x="689" y="218"/>
                    <a:pt x="689" y="218"/>
                  </a:cubicBezTo>
                  <a:cubicBezTo>
                    <a:pt x="650" y="218"/>
                    <a:pt x="618" y="251"/>
                    <a:pt x="618" y="291"/>
                  </a:cubicBezTo>
                  <a:cubicBezTo>
                    <a:pt x="642" y="2081"/>
                    <a:pt x="642" y="2081"/>
                    <a:pt x="642" y="2081"/>
                  </a:cubicBezTo>
                  <a:cubicBezTo>
                    <a:pt x="642" y="2120"/>
                    <a:pt x="675" y="2152"/>
                    <a:pt x="715" y="2152"/>
                  </a:cubicBezTo>
                  <a:cubicBezTo>
                    <a:pt x="808" y="2150"/>
                    <a:pt x="808" y="2150"/>
                    <a:pt x="808" y="2150"/>
                  </a:cubicBezTo>
                  <a:cubicBezTo>
                    <a:pt x="848" y="2150"/>
                    <a:pt x="879" y="2117"/>
                    <a:pt x="879" y="2077"/>
                  </a:cubicBezTo>
                  <a:close/>
                  <a:moveTo>
                    <a:pt x="720" y="2552"/>
                  </a:moveTo>
                  <a:cubicBezTo>
                    <a:pt x="720" y="2632"/>
                    <a:pt x="656" y="2698"/>
                    <a:pt x="577" y="2698"/>
                  </a:cubicBezTo>
                  <a:cubicBezTo>
                    <a:pt x="498" y="2698"/>
                    <a:pt x="434" y="2632"/>
                    <a:pt x="434" y="2552"/>
                  </a:cubicBezTo>
                  <a:cubicBezTo>
                    <a:pt x="434" y="2471"/>
                    <a:pt x="498" y="2406"/>
                    <a:pt x="577" y="2406"/>
                  </a:cubicBezTo>
                  <a:cubicBezTo>
                    <a:pt x="656" y="2406"/>
                    <a:pt x="720" y="2471"/>
                    <a:pt x="720" y="2552"/>
                  </a:cubicBezTo>
                  <a:close/>
                  <a:moveTo>
                    <a:pt x="605" y="2552"/>
                  </a:moveTo>
                  <a:cubicBezTo>
                    <a:pt x="605" y="2536"/>
                    <a:pt x="592" y="2523"/>
                    <a:pt x="577" y="2523"/>
                  </a:cubicBezTo>
                  <a:cubicBezTo>
                    <a:pt x="562" y="2523"/>
                    <a:pt x="549" y="2536"/>
                    <a:pt x="549" y="2552"/>
                  </a:cubicBezTo>
                  <a:cubicBezTo>
                    <a:pt x="549" y="2567"/>
                    <a:pt x="562" y="2580"/>
                    <a:pt x="577" y="2580"/>
                  </a:cubicBezTo>
                  <a:cubicBezTo>
                    <a:pt x="592" y="2580"/>
                    <a:pt x="605" y="2567"/>
                    <a:pt x="605" y="2552"/>
                  </a:cubicBezTo>
                  <a:close/>
                </a:path>
              </a:pathLst>
            </a:custGeom>
            <a:grpFill/>
            <a:ln>
              <a:noFill/>
            </a:ln>
            <a:extLst/>
          </p:spPr>
          <p:txBody>
            <a:bodyPr vert="horz" wrap="square" lIns="68570" tIns="34285" rIns="68570" bIns="34285"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738">
                <a:defRPr/>
              </a:pPr>
              <a:endParaRPr lang="en-US" sz="1125" dirty="0">
                <a:solidFill>
                  <a:srgbClr val="FFFFFF"/>
                </a:solidFill>
              </a:endParaRPr>
            </a:p>
          </p:txBody>
        </p:sp>
        <p:sp>
          <p:nvSpPr>
            <p:cNvPr id="19" name="Rectangle 18"/>
            <p:cNvSpPr/>
            <p:nvPr/>
          </p:nvSpPr>
          <p:spPr>
            <a:xfrm>
              <a:off x="5796008" y="-570822"/>
              <a:ext cx="724592" cy="212681"/>
            </a:xfrm>
            <a:prstGeom prst="rect">
              <a:avLst/>
            </a:prstGeom>
            <a:grp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738">
                <a:defRPr/>
              </a:pPr>
              <a:endParaRPr lang="en-US" sz="1350" dirty="0">
                <a:solidFill>
                  <a:srgbClr val="FFFFFF"/>
                </a:solidFill>
              </a:endParaRPr>
            </a:p>
          </p:txBody>
        </p:sp>
        <p:sp>
          <p:nvSpPr>
            <p:cNvPr id="20" name="Rectangle 19"/>
            <p:cNvSpPr/>
            <p:nvPr/>
          </p:nvSpPr>
          <p:spPr>
            <a:xfrm>
              <a:off x="6202942" y="-540004"/>
              <a:ext cx="724592" cy="212681"/>
            </a:xfrm>
            <a:prstGeom prst="rect">
              <a:avLst/>
            </a:prstGeom>
            <a:grp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738">
                <a:defRPr/>
              </a:pPr>
              <a:endParaRPr lang="en-US" sz="1350" dirty="0">
                <a:solidFill>
                  <a:srgbClr val="FFFFFF"/>
                </a:solidFill>
              </a:endParaRPr>
            </a:p>
          </p:txBody>
        </p:sp>
        <p:sp>
          <p:nvSpPr>
            <p:cNvPr id="21" name="Rectangle 20"/>
            <p:cNvSpPr/>
            <p:nvPr/>
          </p:nvSpPr>
          <p:spPr>
            <a:xfrm>
              <a:off x="4624379" y="-578104"/>
              <a:ext cx="1451590" cy="212681"/>
            </a:xfrm>
            <a:prstGeom prst="rect">
              <a:avLst/>
            </a:prstGeom>
            <a:grp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738">
                <a:defRPr/>
              </a:pPr>
              <a:endParaRPr lang="en-US" sz="1350" dirty="0">
                <a:solidFill>
                  <a:srgbClr val="FFFFFF"/>
                </a:solidFill>
              </a:endParaRPr>
            </a:p>
          </p:txBody>
        </p:sp>
      </p:grpSp>
      <p:sp>
        <p:nvSpPr>
          <p:cNvPr id="22" name="Freeform 21"/>
          <p:cNvSpPr>
            <a:spLocks noEditPoints="1"/>
          </p:cNvSpPr>
          <p:nvPr/>
        </p:nvSpPr>
        <p:spPr bwMode="auto">
          <a:xfrm>
            <a:off x="9797357" y="3059407"/>
            <a:ext cx="147852" cy="511417"/>
          </a:xfrm>
          <a:custGeom>
            <a:avLst/>
            <a:gdLst>
              <a:gd name="T0" fmla="*/ 1571 w 1643"/>
              <a:gd name="T1" fmla="*/ 1562 h 3937"/>
              <a:gd name="T2" fmla="*/ 1623 w 1643"/>
              <a:gd name="T3" fmla="*/ 3390 h 3937"/>
              <a:gd name="T4" fmla="*/ 1587 w 1643"/>
              <a:gd name="T5" fmla="*/ 3477 h 3937"/>
              <a:gd name="T6" fmla="*/ 1056 w 1643"/>
              <a:gd name="T7" fmla="*/ 3902 h 3937"/>
              <a:gd name="T8" fmla="*/ 986 w 1643"/>
              <a:gd name="T9" fmla="*/ 2544 h 3937"/>
              <a:gd name="T10" fmla="*/ 1048 w 1643"/>
              <a:gd name="T11" fmla="*/ 18 h 3937"/>
              <a:gd name="T12" fmla="*/ 1615 w 1643"/>
              <a:gd name="T13" fmla="*/ 467 h 3937"/>
              <a:gd name="T14" fmla="*/ 1640 w 1643"/>
              <a:gd name="T15" fmla="*/ 533 h 3937"/>
              <a:gd name="T16" fmla="*/ 1571 w 1643"/>
              <a:gd name="T17" fmla="*/ 1562 h 3937"/>
              <a:gd name="T18" fmla="*/ 1005 w 1643"/>
              <a:gd name="T19" fmla="*/ 3927 h 3937"/>
              <a:gd name="T20" fmla="*/ 59 w 1643"/>
              <a:gd name="T21" fmla="*/ 3894 h 3937"/>
              <a:gd name="T22" fmla="*/ 11 w 1643"/>
              <a:gd name="T23" fmla="*/ 3811 h 3937"/>
              <a:gd name="T24" fmla="*/ 122 w 1643"/>
              <a:gd name="T25" fmla="*/ 2525 h 3937"/>
              <a:gd name="T26" fmla="*/ 31 w 1643"/>
              <a:gd name="T27" fmla="*/ 129 h 3937"/>
              <a:gd name="T28" fmla="*/ 74 w 1643"/>
              <a:gd name="T29" fmla="*/ 49 h 3937"/>
              <a:gd name="T30" fmla="*/ 997 w 1643"/>
              <a:gd name="T31" fmla="*/ 5 h 3937"/>
              <a:gd name="T32" fmla="*/ 934 w 1643"/>
              <a:gd name="T33" fmla="*/ 2544 h 3937"/>
              <a:gd name="T34" fmla="*/ 934 w 1643"/>
              <a:gd name="T35" fmla="*/ 2545 h 3937"/>
              <a:gd name="T36" fmla="*/ 1005 w 1643"/>
              <a:gd name="T37" fmla="*/ 3927 h 3937"/>
              <a:gd name="T38" fmla="*/ 413 w 1643"/>
              <a:gd name="T39" fmla="*/ 2946 h 3937"/>
              <a:gd name="T40" fmla="*/ 355 w 1643"/>
              <a:gd name="T41" fmla="*/ 2884 h 3937"/>
              <a:gd name="T42" fmla="*/ 290 w 1643"/>
              <a:gd name="T43" fmla="*/ 2882 h 3937"/>
              <a:gd name="T44" fmla="*/ 228 w 1643"/>
              <a:gd name="T45" fmla="*/ 2940 h 3937"/>
              <a:gd name="T46" fmla="*/ 204 w 1643"/>
              <a:gd name="T47" fmla="*/ 3640 h 3937"/>
              <a:gd name="T48" fmla="*/ 261 w 1643"/>
              <a:gd name="T49" fmla="*/ 3702 h 3937"/>
              <a:gd name="T50" fmla="*/ 326 w 1643"/>
              <a:gd name="T51" fmla="*/ 3705 h 3937"/>
              <a:gd name="T52" fmla="*/ 389 w 1643"/>
              <a:gd name="T53" fmla="*/ 3647 h 3937"/>
              <a:gd name="T54" fmla="*/ 413 w 1643"/>
              <a:gd name="T55" fmla="*/ 2946 h 3937"/>
              <a:gd name="T56" fmla="*/ 814 w 1643"/>
              <a:gd name="T57" fmla="*/ 2552 h 3937"/>
              <a:gd name="T58" fmla="*/ 577 w 1643"/>
              <a:gd name="T59" fmla="*/ 2310 h 3937"/>
              <a:gd name="T60" fmla="*/ 340 w 1643"/>
              <a:gd name="T61" fmla="*/ 2552 h 3937"/>
              <a:gd name="T62" fmla="*/ 577 w 1643"/>
              <a:gd name="T63" fmla="*/ 2794 h 3937"/>
              <a:gd name="T64" fmla="*/ 814 w 1643"/>
              <a:gd name="T65" fmla="*/ 2552 h 3937"/>
              <a:gd name="T66" fmla="*/ 879 w 1643"/>
              <a:gd name="T67" fmla="*/ 2077 h 3937"/>
              <a:gd name="T68" fmla="*/ 855 w 1643"/>
              <a:gd name="T69" fmla="*/ 287 h 3937"/>
              <a:gd name="T70" fmla="*/ 782 w 1643"/>
              <a:gd name="T71" fmla="*/ 216 h 3937"/>
              <a:gd name="T72" fmla="*/ 689 w 1643"/>
              <a:gd name="T73" fmla="*/ 218 h 3937"/>
              <a:gd name="T74" fmla="*/ 618 w 1643"/>
              <a:gd name="T75" fmla="*/ 291 h 3937"/>
              <a:gd name="T76" fmla="*/ 642 w 1643"/>
              <a:gd name="T77" fmla="*/ 2081 h 3937"/>
              <a:gd name="T78" fmla="*/ 715 w 1643"/>
              <a:gd name="T79" fmla="*/ 2152 h 3937"/>
              <a:gd name="T80" fmla="*/ 808 w 1643"/>
              <a:gd name="T81" fmla="*/ 2150 h 3937"/>
              <a:gd name="T82" fmla="*/ 879 w 1643"/>
              <a:gd name="T83" fmla="*/ 2077 h 3937"/>
              <a:gd name="T84" fmla="*/ 720 w 1643"/>
              <a:gd name="T85" fmla="*/ 2552 h 3937"/>
              <a:gd name="T86" fmla="*/ 577 w 1643"/>
              <a:gd name="T87" fmla="*/ 2698 h 3937"/>
              <a:gd name="T88" fmla="*/ 434 w 1643"/>
              <a:gd name="T89" fmla="*/ 2552 h 3937"/>
              <a:gd name="T90" fmla="*/ 577 w 1643"/>
              <a:gd name="T91" fmla="*/ 2406 h 3937"/>
              <a:gd name="T92" fmla="*/ 720 w 1643"/>
              <a:gd name="T93" fmla="*/ 2552 h 3937"/>
              <a:gd name="T94" fmla="*/ 605 w 1643"/>
              <a:gd name="T95" fmla="*/ 2552 h 3937"/>
              <a:gd name="T96" fmla="*/ 577 w 1643"/>
              <a:gd name="T97" fmla="*/ 2523 h 3937"/>
              <a:gd name="T98" fmla="*/ 549 w 1643"/>
              <a:gd name="T99" fmla="*/ 2552 h 3937"/>
              <a:gd name="T100" fmla="*/ 577 w 1643"/>
              <a:gd name="T101" fmla="*/ 2580 h 3937"/>
              <a:gd name="T102" fmla="*/ 605 w 1643"/>
              <a:gd name="T103" fmla="*/ 2552 h 3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43" h="3937">
                <a:moveTo>
                  <a:pt x="1571" y="1562"/>
                </a:moveTo>
                <a:cubicBezTo>
                  <a:pt x="1572" y="1593"/>
                  <a:pt x="1626" y="3350"/>
                  <a:pt x="1623" y="3390"/>
                </a:cubicBezTo>
                <a:cubicBezTo>
                  <a:pt x="1620" y="3430"/>
                  <a:pt x="1606" y="3454"/>
                  <a:pt x="1587" y="3477"/>
                </a:cubicBezTo>
                <a:cubicBezTo>
                  <a:pt x="1571" y="3496"/>
                  <a:pt x="1193" y="3812"/>
                  <a:pt x="1056" y="3902"/>
                </a:cubicBezTo>
                <a:cubicBezTo>
                  <a:pt x="986" y="2544"/>
                  <a:pt x="986" y="2544"/>
                  <a:pt x="986" y="2544"/>
                </a:cubicBezTo>
                <a:cubicBezTo>
                  <a:pt x="1048" y="18"/>
                  <a:pt x="1048" y="18"/>
                  <a:pt x="1048" y="18"/>
                </a:cubicBezTo>
                <a:cubicBezTo>
                  <a:pt x="1172" y="88"/>
                  <a:pt x="1602" y="448"/>
                  <a:pt x="1615" y="467"/>
                </a:cubicBezTo>
                <a:cubicBezTo>
                  <a:pt x="1630" y="489"/>
                  <a:pt x="1638" y="511"/>
                  <a:pt x="1640" y="533"/>
                </a:cubicBezTo>
                <a:cubicBezTo>
                  <a:pt x="1643" y="554"/>
                  <a:pt x="1570" y="1531"/>
                  <a:pt x="1571" y="1562"/>
                </a:cubicBezTo>
                <a:close/>
                <a:moveTo>
                  <a:pt x="1005" y="3927"/>
                </a:moveTo>
                <a:cubicBezTo>
                  <a:pt x="901" y="3937"/>
                  <a:pt x="76" y="3903"/>
                  <a:pt x="59" y="3894"/>
                </a:cubicBezTo>
                <a:cubicBezTo>
                  <a:pt x="42" y="3885"/>
                  <a:pt x="22" y="3845"/>
                  <a:pt x="11" y="3811"/>
                </a:cubicBezTo>
                <a:cubicBezTo>
                  <a:pt x="0" y="3778"/>
                  <a:pt x="118" y="2621"/>
                  <a:pt x="122" y="2525"/>
                </a:cubicBezTo>
                <a:cubicBezTo>
                  <a:pt x="126" y="2429"/>
                  <a:pt x="24" y="147"/>
                  <a:pt x="31" y="129"/>
                </a:cubicBezTo>
                <a:cubicBezTo>
                  <a:pt x="38" y="110"/>
                  <a:pt x="56" y="59"/>
                  <a:pt x="74" y="49"/>
                </a:cubicBezTo>
                <a:cubicBezTo>
                  <a:pt x="90" y="39"/>
                  <a:pt x="835" y="0"/>
                  <a:pt x="997" y="5"/>
                </a:cubicBezTo>
                <a:cubicBezTo>
                  <a:pt x="934" y="2544"/>
                  <a:pt x="934" y="2544"/>
                  <a:pt x="934" y="2544"/>
                </a:cubicBezTo>
                <a:cubicBezTo>
                  <a:pt x="934" y="2545"/>
                  <a:pt x="934" y="2545"/>
                  <a:pt x="934" y="2545"/>
                </a:cubicBezTo>
                <a:lnTo>
                  <a:pt x="1005" y="3927"/>
                </a:lnTo>
                <a:close/>
                <a:moveTo>
                  <a:pt x="413" y="2946"/>
                </a:moveTo>
                <a:cubicBezTo>
                  <a:pt x="414" y="2913"/>
                  <a:pt x="388" y="2885"/>
                  <a:pt x="355" y="2884"/>
                </a:cubicBezTo>
                <a:cubicBezTo>
                  <a:pt x="290" y="2882"/>
                  <a:pt x="290" y="2882"/>
                  <a:pt x="290" y="2882"/>
                </a:cubicBezTo>
                <a:cubicBezTo>
                  <a:pt x="257" y="2881"/>
                  <a:pt x="230" y="2907"/>
                  <a:pt x="228" y="2940"/>
                </a:cubicBezTo>
                <a:cubicBezTo>
                  <a:pt x="204" y="3640"/>
                  <a:pt x="204" y="3640"/>
                  <a:pt x="204" y="3640"/>
                </a:cubicBezTo>
                <a:cubicBezTo>
                  <a:pt x="202" y="3673"/>
                  <a:pt x="229" y="3701"/>
                  <a:pt x="261" y="3702"/>
                </a:cubicBezTo>
                <a:cubicBezTo>
                  <a:pt x="326" y="3705"/>
                  <a:pt x="326" y="3705"/>
                  <a:pt x="326" y="3705"/>
                </a:cubicBezTo>
                <a:cubicBezTo>
                  <a:pt x="359" y="3706"/>
                  <a:pt x="387" y="3680"/>
                  <a:pt x="389" y="3647"/>
                </a:cubicBezTo>
                <a:lnTo>
                  <a:pt x="413" y="2946"/>
                </a:lnTo>
                <a:close/>
                <a:moveTo>
                  <a:pt x="814" y="2552"/>
                </a:moveTo>
                <a:cubicBezTo>
                  <a:pt x="814" y="2418"/>
                  <a:pt x="708" y="2310"/>
                  <a:pt x="577" y="2310"/>
                </a:cubicBezTo>
                <a:cubicBezTo>
                  <a:pt x="446" y="2310"/>
                  <a:pt x="340" y="2418"/>
                  <a:pt x="340" y="2552"/>
                </a:cubicBezTo>
                <a:cubicBezTo>
                  <a:pt x="340" y="2685"/>
                  <a:pt x="446" y="2794"/>
                  <a:pt x="577" y="2794"/>
                </a:cubicBezTo>
                <a:cubicBezTo>
                  <a:pt x="708" y="2794"/>
                  <a:pt x="814" y="2685"/>
                  <a:pt x="814" y="2552"/>
                </a:cubicBezTo>
                <a:close/>
                <a:moveTo>
                  <a:pt x="879" y="2077"/>
                </a:moveTo>
                <a:cubicBezTo>
                  <a:pt x="855" y="287"/>
                  <a:pt x="855" y="287"/>
                  <a:pt x="855" y="287"/>
                </a:cubicBezTo>
                <a:cubicBezTo>
                  <a:pt x="855" y="248"/>
                  <a:pt x="822" y="216"/>
                  <a:pt x="782" y="216"/>
                </a:cubicBezTo>
                <a:cubicBezTo>
                  <a:pt x="689" y="218"/>
                  <a:pt x="689" y="218"/>
                  <a:pt x="689" y="218"/>
                </a:cubicBezTo>
                <a:cubicBezTo>
                  <a:pt x="650" y="218"/>
                  <a:pt x="618" y="251"/>
                  <a:pt x="618" y="291"/>
                </a:cubicBezTo>
                <a:cubicBezTo>
                  <a:pt x="642" y="2081"/>
                  <a:pt x="642" y="2081"/>
                  <a:pt x="642" y="2081"/>
                </a:cubicBezTo>
                <a:cubicBezTo>
                  <a:pt x="642" y="2120"/>
                  <a:pt x="675" y="2152"/>
                  <a:pt x="715" y="2152"/>
                </a:cubicBezTo>
                <a:cubicBezTo>
                  <a:pt x="808" y="2150"/>
                  <a:pt x="808" y="2150"/>
                  <a:pt x="808" y="2150"/>
                </a:cubicBezTo>
                <a:cubicBezTo>
                  <a:pt x="848" y="2150"/>
                  <a:pt x="879" y="2117"/>
                  <a:pt x="879" y="2077"/>
                </a:cubicBezTo>
                <a:close/>
                <a:moveTo>
                  <a:pt x="720" y="2552"/>
                </a:moveTo>
                <a:cubicBezTo>
                  <a:pt x="720" y="2632"/>
                  <a:pt x="656" y="2698"/>
                  <a:pt x="577" y="2698"/>
                </a:cubicBezTo>
                <a:cubicBezTo>
                  <a:pt x="498" y="2698"/>
                  <a:pt x="434" y="2632"/>
                  <a:pt x="434" y="2552"/>
                </a:cubicBezTo>
                <a:cubicBezTo>
                  <a:pt x="434" y="2471"/>
                  <a:pt x="498" y="2406"/>
                  <a:pt x="577" y="2406"/>
                </a:cubicBezTo>
                <a:cubicBezTo>
                  <a:pt x="656" y="2406"/>
                  <a:pt x="720" y="2471"/>
                  <a:pt x="720" y="2552"/>
                </a:cubicBezTo>
                <a:close/>
                <a:moveTo>
                  <a:pt x="605" y="2552"/>
                </a:moveTo>
                <a:cubicBezTo>
                  <a:pt x="605" y="2536"/>
                  <a:pt x="592" y="2523"/>
                  <a:pt x="577" y="2523"/>
                </a:cubicBezTo>
                <a:cubicBezTo>
                  <a:pt x="562" y="2523"/>
                  <a:pt x="549" y="2536"/>
                  <a:pt x="549" y="2552"/>
                </a:cubicBezTo>
                <a:cubicBezTo>
                  <a:pt x="549" y="2567"/>
                  <a:pt x="562" y="2580"/>
                  <a:pt x="577" y="2580"/>
                </a:cubicBezTo>
                <a:cubicBezTo>
                  <a:pt x="592" y="2580"/>
                  <a:pt x="605" y="2567"/>
                  <a:pt x="605" y="2552"/>
                </a:cubicBezTo>
                <a:close/>
              </a:path>
            </a:pathLst>
          </a:custGeom>
          <a:solidFill>
            <a:sysClr val="window" lastClr="FFFFFF"/>
          </a:solidFill>
          <a:ln>
            <a:noFill/>
          </a:ln>
          <a:extLst/>
        </p:spPr>
        <p:txBody>
          <a:bodyPr vert="horz" wrap="square" lIns="51435" tIns="25718" rIns="51435" bIns="2571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738">
              <a:defRPr/>
            </a:pPr>
            <a:endParaRPr lang="en-US" sz="1125" dirty="0">
              <a:solidFill>
                <a:srgbClr val="FFFFFF"/>
              </a:solidFill>
            </a:endParaRPr>
          </a:p>
        </p:txBody>
      </p:sp>
      <p:pic>
        <p:nvPicPr>
          <p:cNvPr id="23" name="Picture 22" descr="\\MAGNUM\Projects\Microsoft\Cloud Power FY12\Design\Icons\PNGs\Virtual_Network.png"/>
          <p:cNvPicPr>
            <a:picLocks noChangeAspect="1" noChangeArrowheads="1"/>
          </p:cNvPicPr>
          <p:nvPr/>
        </p:nvPicPr>
        <p:blipFill rotWithShape="1">
          <a:blip r:embed="rId4" cstate="print">
            <a:lum bright="100000"/>
            <a:extLst>
              <a:ext uri="{28A0092B-C50C-407E-A947-70E740481C1C}">
                <a14:useLocalDpi xmlns:a14="http://schemas.microsoft.com/office/drawing/2010/main"/>
              </a:ext>
            </a:extLst>
          </a:blip>
          <a:srcRect t="30442" b="36572"/>
          <a:stretch/>
        </p:blipFill>
        <p:spPr bwMode="auto">
          <a:xfrm>
            <a:off x="7321046" y="4628834"/>
            <a:ext cx="1521332" cy="501832"/>
          </a:xfrm>
          <a:prstGeom prst="rect">
            <a:avLst/>
          </a:prstGeom>
          <a:noFill/>
        </p:spPr>
      </p:pic>
      <p:sp>
        <p:nvSpPr>
          <p:cNvPr id="24" name="Freeform 29"/>
          <p:cNvSpPr>
            <a:spLocks noChangeAspect="1" noEditPoints="1"/>
          </p:cNvSpPr>
          <p:nvPr/>
        </p:nvSpPr>
        <p:spPr bwMode="auto">
          <a:xfrm>
            <a:off x="7340710" y="1751505"/>
            <a:ext cx="532339" cy="473874"/>
          </a:xfrm>
          <a:custGeom>
            <a:avLst/>
            <a:gdLst>
              <a:gd name="T0" fmla="*/ 104 w 1922"/>
              <a:gd name="T1" fmla="*/ 548 h 1882"/>
              <a:gd name="T2" fmla="*/ 2 w 1922"/>
              <a:gd name="T3" fmla="*/ 1366 h 1882"/>
              <a:gd name="T4" fmla="*/ 116 w 1922"/>
              <a:gd name="T5" fmla="*/ 1420 h 1882"/>
              <a:gd name="T6" fmla="*/ 1844 w 1922"/>
              <a:gd name="T7" fmla="*/ 26 h 1882"/>
              <a:gd name="T8" fmla="*/ 828 w 1922"/>
              <a:gd name="T9" fmla="*/ 14 h 1882"/>
              <a:gd name="T10" fmla="*/ 786 w 1922"/>
              <a:gd name="T11" fmla="*/ 652 h 1882"/>
              <a:gd name="T12" fmla="*/ 726 w 1922"/>
              <a:gd name="T13" fmla="*/ 1340 h 1882"/>
              <a:gd name="T14" fmla="*/ 780 w 1922"/>
              <a:gd name="T15" fmla="*/ 1732 h 1882"/>
              <a:gd name="T16" fmla="*/ 1922 w 1922"/>
              <a:gd name="T17" fmla="*/ 506 h 1882"/>
              <a:gd name="T18" fmla="*/ 1032 w 1922"/>
              <a:gd name="T19" fmla="*/ 1564 h 1882"/>
              <a:gd name="T20" fmla="*/ 956 w 1922"/>
              <a:gd name="T21" fmla="*/ 1460 h 1882"/>
              <a:gd name="T22" fmla="*/ 1118 w 1922"/>
              <a:gd name="T23" fmla="*/ 1472 h 1882"/>
              <a:gd name="T24" fmla="*/ 1032 w 1922"/>
              <a:gd name="T25" fmla="*/ 1564 h 1882"/>
              <a:gd name="T26" fmla="*/ 942 w 1922"/>
              <a:gd name="T27" fmla="*/ 1278 h 1882"/>
              <a:gd name="T28" fmla="*/ 1098 w 1922"/>
              <a:gd name="T29" fmla="*/ 1244 h 1882"/>
              <a:gd name="T30" fmla="*/ 1052 w 1922"/>
              <a:gd name="T31" fmla="*/ 1356 h 1882"/>
              <a:gd name="T32" fmla="*/ 940 w 1922"/>
              <a:gd name="T33" fmla="*/ 1084 h 1882"/>
              <a:gd name="T34" fmla="*/ 1070 w 1922"/>
              <a:gd name="T35" fmla="*/ 1024 h 1882"/>
              <a:gd name="T36" fmla="*/ 1086 w 1922"/>
              <a:gd name="T37" fmla="*/ 1140 h 1882"/>
              <a:gd name="T38" fmla="*/ 1246 w 1922"/>
              <a:gd name="T39" fmla="*/ 1522 h 1882"/>
              <a:gd name="T40" fmla="*/ 1332 w 1922"/>
              <a:gd name="T41" fmla="*/ 1430 h 1882"/>
              <a:gd name="T42" fmla="*/ 1410 w 1922"/>
              <a:gd name="T43" fmla="*/ 1534 h 1882"/>
              <a:gd name="T44" fmla="*/ 1266 w 1922"/>
              <a:gd name="T45" fmla="*/ 1338 h 1882"/>
              <a:gd name="T46" fmla="*/ 1312 w 1922"/>
              <a:gd name="T47" fmla="*/ 1226 h 1882"/>
              <a:gd name="T48" fmla="*/ 1424 w 1922"/>
              <a:gd name="T49" fmla="*/ 1304 h 1882"/>
              <a:gd name="T50" fmla="*/ 1296 w 1922"/>
              <a:gd name="T51" fmla="*/ 1146 h 1882"/>
              <a:gd name="T52" fmla="*/ 1280 w 1922"/>
              <a:gd name="T53" fmla="*/ 1030 h 1882"/>
              <a:gd name="T54" fmla="*/ 1426 w 1922"/>
              <a:gd name="T55" fmla="*/ 1084 h 1882"/>
              <a:gd name="T56" fmla="*/ 1630 w 1922"/>
              <a:gd name="T57" fmla="*/ 1564 h 1882"/>
              <a:gd name="T58" fmla="*/ 1554 w 1922"/>
              <a:gd name="T59" fmla="*/ 1460 h 1882"/>
              <a:gd name="T60" fmla="*/ 1716 w 1922"/>
              <a:gd name="T61" fmla="*/ 1472 h 1882"/>
              <a:gd name="T62" fmla="*/ 1630 w 1922"/>
              <a:gd name="T63" fmla="*/ 1564 h 1882"/>
              <a:gd name="T64" fmla="*/ 1540 w 1922"/>
              <a:gd name="T65" fmla="*/ 1278 h 1882"/>
              <a:gd name="T66" fmla="*/ 1696 w 1922"/>
              <a:gd name="T67" fmla="*/ 1244 h 1882"/>
              <a:gd name="T68" fmla="*/ 1650 w 1922"/>
              <a:gd name="T69" fmla="*/ 1356 h 1882"/>
              <a:gd name="T70" fmla="*/ 1538 w 1922"/>
              <a:gd name="T71" fmla="*/ 1084 h 1882"/>
              <a:gd name="T72" fmla="*/ 1668 w 1922"/>
              <a:gd name="T73" fmla="*/ 1024 h 1882"/>
              <a:gd name="T74" fmla="*/ 1682 w 1922"/>
              <a:gd name="T75" fmla="*/ 1140 h 1882"/>
              <a:gd name="T76" fmla="*/ 1708 w 1922"/>
              <a:gd name="T77" fmla="*/ 862 h 1882"/>
              <a:gd name="T78" fmla="*/ 928 w 1922"/>
              <a:gd name="T79" fmla="*/ 824 h 1882"/>
              <a:gd name="T80" fmla="*/ 1692 w 1922"/>
              <a:gd name="T81" fmla="*/ 116 h 1882"/>
              <a:gd name="T82" fmla="*/ 610 w 1922"/>
              <a:gd name="T83" fmla="*/ 1382 h 1882"/>
              <a:gd name="T84" fmla="*/ 596 w 1922"/>
              <a:gd name="T85" fmla="*/ 750 h 1882"/>
              <a:gd name="T86" fmla="*/ 682 w 1922"/>
              <a:gd name="T87" fmla="*/ 454 h 1882"/>
              <a:gd name="T88" fmla="*/ 548 w 1922"/>
              <a:gd name="T89" fmla="*/ 252 h 1882"/>
              <a:gd name="T90" fmla="*/ 306 w 1922"/>
              <a:gd name="T91" fmla="*/ 272 h 1882"/>
              <a:gd name="T92" fmla="*/ 210 w 1922"/>
              <a:gd name="T93" fmla="*/ 630 h 1882"/>
              <a:gd name="T94" fmla="*/ 318 w 1922"/>
              <a:gd name="T95" fmla="*/ 792 h 1882"/>
              <a:gd name="T96" fmla="*/ 248 w 1922"/>
              <a:gd name="T97" fmla="*/ 1408 h 1882"/>
              <a:gd name="T98" fmla="*/ 228 w 1922"/>
              <a:gd name="T99" fmla="*/ 1750 h 1882"/>
              <a:gd name="T100" fmla="*/ 428 w 1922"/>
              <a:gd name="T101" fmla="*/ 1882 h 1882"/>
              <a:gd name="T102" fmla="*/ 644 w 1922"/>
              <a:gd name="T103" fmla="*/ 1786 h 1882"/>
              <a:gd name="T104" fmla="*/ 658 w 1922"/>
              <a:gd name="T105" fmla="*/ 1424 h 1882"/>
              <a:gd name="T106" fmla="*/ 1034 w 1922"/>
              <a:gd name="T107" fmla="*/ 338 h 1882"/>
              <a:gd name="T108" fmla="*/ 1074 w 1922"/>
              <a:gd name="T109" fmla="*/ 418 h 1882"/>
              <a:gd name="T110" fmla="*/ 1632 w 1922"/>
              <a:gd name="T111" fmla="*/ 354 h 1882"/>
              <a:gd name="T112" fmla="*/ 1074 w 1922"/>
              <a:gd name="T113" fmla="*/ 558 h 1882"/>
              <a:gd name="T114" fmla="*/ 1034 w 1922"/>
              <a:gd name="T115" fmla="*/ 638 h 1882"/>
              <a:gd name="T116" fmla="*/ 1620 w 1922"/>
              <a:gd name="T117" fmla="*/ 652 h 1882"/>
              <a:gd name="T118" fmla="*/ 1606 w 1922"/>
              <a:gd name="T119" fmla="*/ 562 h 1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22" h="1882">
                <a:moveTo>
                  <a:pt x="214" y="814"/>
                </a:moveTo>
                <a:lnTo>
                  <a:pt x="182" y="792"/>
                </a:lnTo>
                <a:lnTo>
                  <a:pt x="182" y="792"/>
                </a:lnTo>
                <a:lnTo>
                  <a:pt x="166" y="778"/>
                </a:lnTo>
                <a:lnTo>
                  <a:pt x="150" y="760"/>
                </a:lnTo>
                <a:lnTo>
                  <a:pt x="138" y="742"/>
                </a:lnTo>
                <a:lnTo>
                  <a:pt x="126" y="720"/>
                </a:lnTo>
                <a:lnTo>
                  <a:pt x="116" y="698"/>
                </a:lnTo>
                <a:lnTo>
                  <a:pt x="110" y="676"/>
                </a:lnTo>
                <a:lnTo>
                  <a:pt x="106" y="652"/>
                </a:lnTo>
                <a:lnTo>
                  <a:pt x="104" y="630"/>
                </a:lnTo>
                <a:lnTo>
                  <a:pt x="104" y="548"/>
                </a:lnTo>
                <a:lnTo>
                  <a:pt x="104" y="548"/>
                </a:lnTo>
                <a:lnTo>
                  <a:pt x="80" y="576"/>
                </a:lnTo>
                <a:lnTo>
                  <a:pt x="60" y="608"/>
                </a:lnTo>
                <a:lnTo>
                  <a:pt x="42" y="640"/>
                </a:lnTo>
                <a:lnTo>
                  <a:pt x="28" y="674"/>
                </a:lnTo>
                <a:lnTo>
                  <a:pt x="16" y="710"/>
                </a:lnTo>
                <a:lnTo>
                  <a:pt x="6" y="748"/>
                </a:lnTo>
                <a:lnTo>
                  <a:pt x="2" y="786"/>
                </a:lnTo>
                <a:lnTo>
                  <a:pt x="0" y="826"/>
                </a:lnTo>
                <a:lnTo>
                  <a:pt x="0" y="1326"/>
                </a:lnTo>
                <a:lnTo>
                  <a:pt x="0" y="1326"/>
                </a:lnTo>
                <a:lnTo>
                  <a:pt x="2" y="1366"/>
                </a:lnTo>
                <a:lnTo>
                  <a:pt x="6" y="1404"/>
                </a:lnTo>
                <a:lnTo>
                  <a:pt x="16" y="1442"/>
                </a:lnTo>
                <a:lnTo>
                  <a:pt x="28" y="1478"/>
                </a:lnTo>
                <a:lnTo>
                  <a:pt x="42" y="1512"/>
                </a:lnTo>
                <a:lnTo>
                  <a:pt x="60" y="1544"/>
                </a:lnTo>
                <a:lnTo>
                  <a:pt x="80" y="1576"/>
                </a:lnTo>
                <a:lnTo>
                  <a:pt x="104" y="1604"/>
                </a:lnTo>
                <a:lnTo>
                  <a:pt x="104" y="1488"/>
                </a:lnTo>
                <a:lnTo>
                  <a:pt x="104" y="1488"/>
                </a:lnTo>
                <a:lnTo>
                  <a:pt x="106" y="1464"/>
                </a:lnTo>
                <a:lnTo>
                  <a:pt x="110" y="1442"/>
                </a:lnTo>
                <a:lnTo>
                  <a:pt x="116" y="1420"/>
                </a:lnTo>
                <a:lnTo>
                  <a:pt x="126" y="1398"/>
                </a:lnTo>
                <a:lnTo>
                  <a:pt x="138" y="1376"/>
                </a:lnTo>
                <a:lnTo>
                  <a:pt x="150" y="1358"/>
                </a:lnTo>
                <a:lnTo>
                  <a:pt x="166" y="1340"/>
                </a:lnTo>
                <a:lnTo>
                  <a:pt x="184" y="1324"/>
                </a:lnTo>
                <a:lnTo>
                  <a:pt x="216" y="1298"/>
                </a:lnTo>
                <a:lnTo>
                  <a:pt x="214" y="814"/>
                </a:lnTo>
                <a:close/>
                <a:moveTo>
                  <a:pt x="1848" y="404"/>
                </a:moveTo>
                <a:lnTo>
                  <a:pt x="1848" y="44"/>
                </a:lnTo>
                <a:lnTo>
                  <a:pt x="1848" y="44"/>
                </a:lnTo>
                <a:lnTo>
                  <a:pt x="1848" y="36"/>
                </a:lnTo>
                <a:lnTo>
                  <a:pt x="1844" y="26"/>
                </a:lnTo>
                <a:lnTo>
                  <a:pt x="1840" y="20"/>
                </a:lnTo>
                <a:lnTo>
                  <a:pt x="1836" y="14"/>
                </a:lnTo>
                <a:lnTo>
                  <a:pt x="1830" y="8"/>
                </a:lnTo>
                <a:lnTo>
                  <a:pt x="1822" y="4"/>
                </a:lnTo>
                <a:lnTo>
                  <a:pt x="1814" y="2"/>
                </a:lnTo>
                <a:lnTo>
                  <a:pt x="1806" y="0"/>
                </a:lnTo>
                <a:lnTo>
                  <a:pt x="858" y="0"/>
                </a:lnTo>
                <a:lnTo>
                  <a:pt x="858" y="0"/>
                </a:lnTo>
                <a:lnTo>
                  <a:pt x="850" y="2"/>
                </a:lnTo>
                <a:lnTo>
                  <a:pt x="842" y="4"/>
                </a:lnTo>
                <a:lnTo>
                  <a:pt x="834" y="8"/>
                </a:lnTo>
                <a:lnTo>
                  <a:pt x="828" y="14"/>
                </a:lnTo>
                <a:lnTo>
                  <a:pt x="822" y="20"/>
                </a:lnTo>
                <a:lnTo>
                  <a:pt x="818" y="26"/>
                </a:lnTo>
                <a:lnTo>
                  <a:pt x="816" y="36"/>
                </a:lnTo>
                <a:lnTo>
                  <a:pt x="816" y="44"/>
                </a:lnTo>
                <a:lnTo>
                  <a:pt x="816" y="398"/>
                </a:lnTo>
                <a:lnTo>
                  <a:pt x="782" y="398"/>
                </a:lnTo>
                <a:lnTo>
                  <a:pt x="782" y="398"/>
                </a:lnTo>
                <a:lnTo>
                  <a:pt x="786" y="426"/>
                </a:lnTo>
                <a:lnTo>
                  <a:pt x="788" y="454"/>
                </a:lnTo>
                <a:lnTo>
                  <a:pt x="788" y="630"/>
                </a:lnTo>
                <a:lnTo>
                  <a:pt x="788" y="630"/>
                </a:lnTo>
                <a:lnTo>
                  <a:pt x="786" y="652"/>
                </a:lnTo>
                <a:lnTo>
                  <a:pt x="782" y="676"/>
                </a:lnTo>
                <a:lnTo>
                  <a:pt x="776" y="698"/>
                </a:lnTo>
                <a:lnTo>
                  <a:pt x="766" y="720"/>
                </a:lnTo>
                <a:lnTo>
                  <a:pt x="754" y="742"/>
                </a:lnTo>
                <a:lnTo>
                  <a:pt x="740" y="760"/>
                </a:lnTo>
                <a:lnTo>
                  <a:pt x="726" y="778"/>
                </a:lnTo>
                <a:lnTo>
                  <a:pt x="708" y="794"/>
                </a:lnTo>
                <a:lnTo>
                  <a:pt x="676" y="818"/>
                </a:lnTo>
                <a:lnTo>
                  <a:pt x="678" y="1304"/>
                </a:lnTo>
                <a:lnTo>
                  <a:pt x="708" y="1324"/>
                </a:lnTo>
                <a:lnTo>
                  <a:pt x="708" y="1324"/>
                </a:lnTo>
                <a:lnTo>
                  <a:pt x="726" y="1340"/>
                </a:lnTo>
                <a:lnTo>
                  <a:pt x="740" y="1358"/>
                </a:lnTo>
                <a:lnTo>
                  <a:pt x="754" y="1376"/>
                </a:lnTo>
                <a:lnTo>
                  <a:pt x="766" y="1398"/>
                </a:lnTo>
                <a:lnTo>
                  <a:pt x="776" y="1420"/>
                </a:lnTo>
                <a:lnTo>
                  <a:pt x="782" y="1442"/>
                </a:lnTo>
                <a:lnTo>
                  <a:pt x="786" y="1464"/>
                </a:lnTo>
                <a:lnTo>
                  <a:pt x="788" y="1488"/>
                </a:lnTo>
                <a:lnTo>
                  <a:pt x="788" y="1664"/>
                </a:lnTo>
                <a:lnTo>
                  <a:pt x="788" y="1664"/>
                </a:lnTo>
                <a:lnTo>
                  <a:pt x="788" y="1688"/>
                </a:lnTo>
                <a:lnTo>
                  <a:pt x="784" y="1710"/>
                </a:lnTo>
                <a:lnTo>
                  <a:pt x="780" y="1732"/>
                </a:lnTo>
                <a:lnTo>
                  <a:pt x="774" y="1754"/>
                </a:lnTo>
                <a:lnTo>
                  <a:pt x="1814" y="1754"/>
                </a:lnTo>
                <a:lnTo>
                  <a:pt x="1814" y="1754"/>
                </a:lnTo>
                <a:lnTo>
                  <a:pt x="1836" y="1752"/>
                </a:lnTo>
                <a:lnTo>
                  <a:pt x="1856" y="1746"/>
                </a:lnTo>
                <a:lnTo>
                  <a:pt x="1874" y="1736"/>
                </a:lnTo>
                <a:lnTo>
                  <a:pt x="1890" y="1722"/>
                </a:lnTo>
                <a:lnTo>
                  <a:pt x="1902" y="1706"/>
                </a:lnTo>
                <a:lnTo>
                  <a:pt x="1912" y="1688"/>
                </a:lnTo>
                <a:lnTo>
                  <a:pt x="1920" y="1668"/>
                </a:lnTo>
                <a:lnTo>
                  <a:pt x="1922" y="1646"/>
                </a:lnTo>
                <a:lnTo>
                  <a:pt x="1922" y="506"/>
                </a:lnTo>
                <a:lnTo>
                  <a:pt x="1922" y="506"/>
                </a:lnTo>
                <a:lnTo>
                  <a:pt x="1920" y="488"/>
                </a:lnTo>
                <a:lnTo>
                  <a:pt x="1916" y="472"/>
                </a:lnTo>
                <a:lnTo>
                  <a:pt x="1910" y="456"/>
                </a:lnTo>
                <a:lnTo>
                  <a:pt x="1900" y="442"/>
                </a:lnTo>
                <a:lnTo>
                  <a:pt x="1890" y="430"/>
                </a:lnTo>
                <a:lnTo>
                  <a:pt x="1878" y="420"/>
                </a:lnTo>
                <a:lnTo>
                  <a:pt x="1864" y="410"/>
                </a:lnTo>
                <a:lnTo>
                  <a:pt x="1848" y="404"/>
                </a:lnTo>
                <a:lnTo>
                  <a:pt x="1848" y="404"/>
                </a:lnTo>
                <a:close/>
                <a:moveTo>
                  <a:pt x="1032" y="1564"/>
                </a:moveTo>
                <a:lnTo>
                  <a:pt x="1032" y="1564"/>
                </a:lnTo>
                <a:lnTo>
                  <a:pt x="1014" y="1562"/>
                </a:lnTo>
                <a:lnTo>
                  <a:pt x="996" y="1558"/>
                </a:lnTo>
                <a:lnTo>
                  <a:pt x="980" y="1552"/>
                </a:lnTo>
                <a:lnTo>
                  <a:pt x="966" y="1544"/>
                </a:lnTo>
                <a:lnTo>
                  <a:pt x="956" y="1534"/>
                </a:lnTo>
                <a:lnTo>
                  <a:pt x="946" y="1522"/>
                </a:lnTo>
                <a:lnTo>
                  <a:pt x="942" y="1510"/>
                </a:lnTo>
                <a:lnTo>
                  <a:pt x="940" y="1496"/>
                </a:lnTo>
                <a:lnTo>
                  <a:pt x="940" y="1496"/>
                </a:lnTo>
                <a:lnTo>
                  <a:pt x="942" y="1484"/>
                </a:lnTo>
                <a:lnTo>
                  <a:pt x="946" y="1472"/>
                </a:lnTo>
                <a:lnTo>
                  <a:pt x="956" y="1460"/>
                </a:lnTo>
                <a:lnTo>
                  <a:pt x="966" y="1450"/>
                </a:lnTo>
                <a:lnTo>
                  <a:pt x="980" y="1442"/>
                </a:lnTo>
                <a:lnTo>
                  <a:pt x="996" y="1436"/>
                </a:lnTo>
                <a:lnTo>
                  <a:pt x="1014" y="1432"/>
                </a:lnTo>
                <a:lnTo>
                  <a:pt x="1032" y="1430"/>
                </a:lnTo>
                <a:lnTo>
                  <a:pt x="1032" y="1430"/>
                </a:lnTo>
                <a:lnTo>
                  <a:pt x="1052" y="1432"/>
                </a:lnTo>
                <a:lnTo>
                  <a:pt x="1070" y="1436"/>
                </a:lnTo>
                <a:lnTo>
                  <a:pt x="1086" y="1442"/>
                </a:lnTo>
                <a:lnTo>
                  <a:pt x="1098" y="1450"/>
                </a:lnTo>
                <a:lnTo>
                  <a:pt x="1110" y="1460"/>
                </a:lnTo>
                <a:lnTo>
                  <a:pt x="1118" y="1472"/>
                </a:lnTo>
                <a:lnTo>
                  <a:pt x="1124" y="1484"/>
                </a:lnTo>
                <a:lnTo>
                  <a:pt x="1126" y="1496"/>
                </a:lnTo>
                <a:lnTo>
                  <a:pt x="1126" y="1496"/>
                </a:lnTo>
                <a:lnTo>
                  <a:pt x="1124" y="1510"/>
                </a:lnTo>
                <a:lnTo>
                  <a:pt x="1118" y="1522"/>
                </a:lnTo>
                <a:lnTo>
                  <a:pt x="1110" y="1534"/>
                </a:lnTo>
                <a:lnTo>
                  <a:pt x="1098" y="1544"/>
                </a:lnTo>
                <a:lnTo>
                  <a:pt x="1086" y="1552"/>
                </a:lnTo>
                <a:lnTo>
                  <a:pt x="1070" y="1558"/>
                </a:lnTo>
                <a:lnTo>
                  <a:pt x="1052" y="1562"/>
                </a:lnTo>
                <a:lnTo>
                  <a:pt x="1032" y="1564"/>
                </a:lnTo>
                <a:lnTo>
                  <a:pt x="1032" y="1564"/>
                </a:lnTo>
                <a:close/>
                <a:moveTo>
                  <a:pt x="1032" y="1358"/>
                </a:moveTo>
                <a:lnTo>
                  <a:pt x="1032" y="1358"/>
                </a:lnTo>
                <a:lnTo>
                  <a:pt x="1014" y="1356"/>
                </a:lnTo>
                <a:lnTo>
                  <a:pt x="996" y="1352"/>
                </a:lnTo>
                <a:lnTo>
                  <a:pt x="980" y="1346"/>
                </a:lnTo>
                <a:lnTo>
                  <a:pt x="966" y="1338"/>
                </a:lnTo>
                <a:lnTo>
                  <a:pt x="956" y="1328"/>
                </a:lnTo>
                <a:lnTo>
                  <a:pt x="946" y="1316"/>
                </a:lnTo>
                <a:lnTo>
                  <a:pt x="942" y="1304"/>
                </a:lnTo>
                <a:lnTo>
                  <a:pt x="940" y="1290"/>
                </a:lnTo>
                <a:lnTo>
                  <a:pt x="940" y="1290"/>
                </a:lnTo>
                <a:lnTo>
                  <a:pt x="942" y="1278"/>
                </a:lnTo>
                <a:lnTo>
                  <a:pt x="946" y="1264"/>
                </a:lnTo>
                <a:lnTo>
                  <a:pt x="956" y="1254"/>
                </a:lnTo>
                <a:lnTo>
                  <a:pt x="966" y="1244"/>
                </a:lnTo>
                <a:lnTo>
                  <a:pt x="980" y="1236"/>
                </a:lnTo>
                <a:lnTo>
                  <a:pt x="996" y="1230"/>
                </a:lnTo>
                <a:lnTo>
                  <a:pt x="1014" y="1226"/>
                </a:lnTo>
                <a:lnTo>
                  <a:pt x="1032" y="1224"/>
                </a:lnTo>
                <a:lnTo>
                  <a:pt x="1032" y="1224"/>
                </a:lnTo>
                <a:lnTo>
                  <a:pt x="1052" y="1226"/>
                </a:lnTo>
                <a:lnTo>
                  <a:pt x="1070" y="1230"/>
                </a:lnTo>
                <a:lnTo>
                  <a:pt x="1086" y="1236"/>
                </a:lnTo>
                <a:lnTo>
                  <a:pt x="1098" y="1244"/>
                </a:lnTo>
                <a:lnTo>
                  <a:pt x="1110" y="1254"/>
                </a:lnTo>
                <a:lnTo>
                  <a:pt x="1118" y="1264"/>
                </a:lnTo>
                <a:lnTo>
                  <a:pt x="1124" y="1278"/>
                </a:lnTo>
                <a:lnTo>
                  <a:pt x="1126" y="1290"/>
                </a:lnTo>
                <a:lnTo>
                  <a:pt x="1126" y="1290"/>
                </a:lnTo>
                <a:lnTo>
                  <a:pt x="1124" y="1304"/>
                </a:lnTo>
                <a:lnTo>
                  <a:pt x="1118" y="1316"/>
                </a:lnTo>
                <a:lnTo>
                  <a:pt x="1110" y="1328"/>
                </a:lnTo>
                <a:lnTo>
                  <a:pt x="1098" y="1338"/>
                </a:lnTo>
                <a:lnTo>
                  <a:pt x="1086" y="1346"/>
                </a:lnTo>
                <a:lnTo>
                  <a:pt x="1070" y="1352"/>
                </a:lnTo>
                <a:lnTo>
                  <a:pt x="1052" y="1356"/>
                </a:lnTo>
                <a:lnTo>
                  <a:pt x="1032" y="1358"/>
                </a:lnTo>
                <a:lnTo>
                  <a:pt x="1032" y="1358"/>
                </a:lnTo>
                <a:close/>
                <a:moveTo>
                  <a:pt x="1032" y="1152"/>
                </a:moveTo>
                <a:lnTo>
                  <a:pt x="1032" y="1152"/>
                </a:lnTo>
                <a:lnTo>
                  <a:pt x="1014" y="1150"/>
                </a:lnTo>
                <a:lnTo>
                  <a:pt x="996" y="1146"/>
                </a:lnTo>
                <a:lnTo>
                  <a:pt x="980" y="1140"/>
                </a:lnTo>
                <a:lnTo>
                  <a:pt x="966" y="1132"/>
                </a:lnTo>
                <a:lnTo>
                  <a:pt x="956" y="1122"/>
                </a:lnTo>
                <a:lnTo>
                  <a:pt x="946" y="1110"/>
                </a:lnTo>
                <a:lnTo>
                  <a:pt x="942" y="1098"/>
                </a:lnTo>
                <a:lnTo>
                  <a:pt x="940" y="1084"/>
                </a:lnTo>
                <a:lnTo>
                  <a:pt x="940" y="1084"/>
                </a:lnTo>
                <a:lnTo>
                  <a:pt x="942" y="1072"/>
                </a:lnTo>
                <a:lnTo>
                  <a:pt x="946" y="1058"/>
                </a:lnTo>
                <a:lnTo>
                  <a:pt x="956" y="1048"/>
                </a:lnTo>
                <a:lnTo>
                  <a:pt x="966" y="1038"/>
                </a:lnTo>
                <a:lnTo>
                  <a:pt x="980" y="1030"/>
                </a:lnTo>
                <a:lnTo>
                  <a:pt x="996" y="1024"/>
                </a:lnTo>
                <a:lnTo>
                  <a:pt x="1014" y="1020"/>
                </a:lnTo>
                <a:lnTo>
                  <a:pt x="1032" y="1018"/>
                </a:lnTo>
                <a:lnTo>
                  <a:pt x="1032" y="1018"/>
                </a:lnTo>
                <a:lnTo>
                  <a:pt x="1052" y="1020"/>
                </a:lnTo>
                <a:lnTo>
                  <a:pt x="1070" y="1024"/>
                </a:lnTo>
                <a:lnTo>
                  <a:pt x="1086" y="1030"/>
                </a:lnTo>
                <a:lnTo>
                  <a:pt x="1098" y="1038"/>
                </a:lnTo>
                <a:lnTo>
                  <a:pt x="1110" y="1048"/>
                </a:lnTo>
                <a:lnTo>
                  <a:pt x="1118" y="1058"/>
                </a:lnTo>
                <a:lnTo>
                  <a:pt x="1124" y="1072"/>
                </a:lnTo>
                <a:lnTo>
                  <a:pt x="1126" y="1084"/>
                </a:lnTo>
                <a:lnTo>
                  <a:pt x="1126" y="1084"/>
                </a:lnTo>
                <a:lnTo>
                  <a:pt x="1124" y="1098"/>
                </a:lnTo>
                <a:lnTo>
                  <a:pt x="1118" y="1110"/>
                </a:lnTo>
                <a:lnTo>
                  <a:pt x="1110" y="1122"/>
                </a:lnTo>
                <a:lnTo>
                  <a:pt x="1098" y="1132"/>
                </a:lnTo>
                <a:lnTo>
                  <a:pt x="1086" y="1140"/>
                </a:lnTo>
                <a:lnTo>
                  <a:pt x="1070" y="1146"/>
                </a:lnTo>
                <a:lnTo>
                  <a:pt x="1052" y="1150"/>
                </a:lnTo>
                <a:lnTo>
                  <a:pt x="1032" y="1152"/>
                </a:lnTo>
                <a:lnTo>
                  <a:pt x="1032" y="1152"/>
                </a:lnTo>
                <a:close/>
                <a:moveTo>
                  <a:pt x="1332" y="1564"/>
                </a:moveTo>
                <a:lnTo>
                  <a:pt x="1332" y="1564"/>
                </a:lnTo>
                <a:lnTo>
                  <a:pt x="1312" y="1562"/>
                </a:lnTo>
                <a:lnTo>
                  <a:pt x="1296" y="1558"/>
                </a:lnTo>
                <a:lnTo>
                  <a:pt x="1280" y="1552"/>
                </a:lnTo>
                <a:lnTo>
                  <a:pt x="1266" y="1544"/>
                </a:lnTo>
                <a:lnTo>
                  <a:pt x="1254" y="1534"/>
                </a:lnTo>
                <a:lnTo>
                  <a:pt x="1246" y="1522"/>
                </a:lnTo>
                <a:lnTo>
                  <a:pt x="1240" y="1510"/>
                </a:lnTo>
                <a:lnTo>
                  <a:pt x="1238" y="1496"/>
                </a:lnTo>
                <a:lnTo>
                  <a:pt x="1238" y="1496"/>
                </a:lnTo>
                <a:lnTo>
                  <a:pt x="1240" y="1484"/>
                </a:lnTo>
                <a:lnTo>
                  <a:pt x="1246" y="1472"/>
                </a:lnTo>
                <a:lnTo>
                  <a:pt x="1254" y="1460"/>
                </a:lnTo>
                <a:lnTo>
                  <a:pt x="1266" y="1450"/>
                </a:lnTo>
                <a:lnTo>
                  <a:pt x="1280" y="1442"/>
                </a:lnTo>
                <a:lnTo>
                  <a:pt x="1296" y="1436"/>
                </a:lnTo>
                <a:lnTo>
                  <a:pt x="1312" y="1432"/>
                </a:lnTo>
                <a:lnTo>
                  <a:pt x="1332" y="1430"/>
                </a:lnTo>
                <a:lnTo>
                  <a:pt x="1332" y="1430"/>
                </a:lnTo>
                <a:lnTo>
                  <a:pt x="1350" y="1432"/>
                </a:lnTo>
                <a:lnTo>
                  <a:pt x="1368" y="1436"/>
                </a:lnTo>
                <a:lnTo>
                  <a:pt x="1384" y="1442"/>
                </a:lnTo>
                <a:lnTo>
                  <a:pt x="1398" y="1450"/>
                </a:lnTo>
                <a:lnTo>
                  <a:pt x="1410" y="1460"/>
                </a:lnTo>
                <a:lnTo>
                  <a:pt x="1418" y="1472"/>
                </a:lnTo>
                <a:lnTo>
                  <a:pt x="1424" y="1484"/>
                </a:lnTo>
                <a:lnTo>
                  <a:pt x="1426" y="1496"/>
                </a:lnTo>
                <a:lnTo>
                  <a:pt x="1426" y="1496"/>
                </a:lnTo>
                <a:lnTo>
                  <a:pt x="1424" y="1510"/>
                </a:lnTo>
                <a:lnTo>
                  <a:pt x="1418" y="1522"/>
                </a:lnTo>
                <a:lnTo>
                  <a:pt x="1410" y="1534"/>
                </a:lnTo>
                <a:lnTo>
                  <a:pt x="1398" y="1544"/>
                </a:lnTo>
                <a:lnTo>
                  <a:pt x="1384" y="1552"/>
                </a:lnTo>
                <a:lnTo>
                  <a:pt x="1368" y="1558"/>
                </a:lnTo>
                <a:lnTo>
                  <a:pt x="1350" y="1562"/>
                </a:lnTo>
                <a:lnTo>
                  <a:pt x="1332" y="1564"/>
                </a:lnTo>
                <a:lnTo>
                  <a:pt x="1332" y="1564"/>
                </a:lnTo>
                <a:close/>
                <a:moveTo>
                  <a:pt x="1332" y="1358"/>
                </a:moveTo>
                <a:lnTo>
                  <a:pt x="1332" y="1358"/>
                </a:lnTo>
                <a:lnTo>
                  <a:pt x="1312" y="1356"/>
                </a:lnTo>
                <a:lnTo>
                  <a:pt x="1296" y="1352"/>
                </a:lnTo>
                <a:lnTo>
                  <a:pt x="1280" y="1346"/>
                </a:lnTo>
                <a:lnTo>
                  <a:pt x="1266" y="1338"/>
                </a:lnTo>
                <a:lnTo>
                  <a:pt x="1254" y="1328"/>
                </a:lnTo>
                <a:lnTo>
                  <a:pt x="1246" y="1316"/>
                </a:lnTo>
                <a:lnTo>
                  <a:pt x="1240" y="1304"/>
                </a:lnTo>
                <a:lnTo>
                  <a:pt x="1238" y="1290"/>
                </a:lnTo>
                <a:lnTo>
                  <a:pt x="1238" y="1290"/>
                </a:lnTo>
                <a:lnTo>
                  <a:pt x="1240" y="1278"/>
                </a:lnTo>
                <a:lnTo>
                  <a:pt x="1246" y="1264"/>
                </a:lnTo>
                <a:lnTo>
                  <a:pt x="1254" y="1254"/>
                </a:lnTo>
                <a:lnTo>
                  <a:pt x="1266" y="1244"/>
                </a:lnTo>
                <a:lnTo>
                  <a:pt x="1280" y="1236"/>
                </a:lnTo>
                <a:lnTo>
                  <a:pt x="1296" y="1230"/>
                </a:lnTo>
                <a:lnTo>
                  <a:pt x="1312" y="1226"/>
                </a:lnTo>
                <a:lnTo>
                  <a:pt x="1332" y="1224"/>
                </a:lnTo>
                <a:lnTo>
                  <a:pt x="1332" y="1224"/>
                </a:lnTo>
                <a:lnTo>
                  <a:pt x="1350" y="1226"/>
                </a:lnTo>
                <a:lnTo>
                  <a:pt x="1368" y="1230"/>
                </a:lnTo>
                <a:lnTo>
                  <a:pt x="1384" y="1236"/>
                </a:lnTo>
                <a:lnTo>
                  <a:pt x="1398" y="1244"/>
                </a:lnTo>
                <a:lnTo>
                  <a:pt x="1410" y="1254"/>
                </a:lnTo>
                <a:lnTo>
                  <a:pt x="1418" y="1264"/>
                </a:lnTo>
                <a:lnTo>
                  <a:pt x="1424" y="1278"/>
                </a:lnTo>
                <a:lnTo>
                  <a:pt x="1426" y="1290"/>
                </a:lnTo>
                <a:lnTo>
                  <a:pt x="1426" y="1290"/>
                </a:lnTo>
                <a:lnTo>
                  <a:pt x="1424" y="1304"/>
                </a:lnTo>
                <a:lnTo>
                  <a:pt x="1418" y="1316"/>
                </a:lnTo>
                <a:lnTo>
                  <a:pt x="1410" y="1328"/>
                </a:lnTo>
                <a:lnTo>
                  <a:pt x="1398" y="1338"/>
                </a:lnTo>
                <a:lnTo>
                  <a:pt x="1384" y="1346"/>
                </a:lnTo>
                <a:lnTo>
                  <a:pt x="1368" y="1352"/>
                </a:lnTo>
                <a:lnTo>
                  <a:pt x="1350" y="1356"/>
                </a:lnTo>
                <a:lnTo>
                  <a:pt x="1332" y="1358"/>
                </a:lnTo>
                <a:lnTo>
                  <a:pt x="1332" y="1358"/>
                </a:lnTo>
                <a:close/>
                <a:moveTo>
                  <a:pt x="1332" y="1152"/>
                </a:moveTo>
                <a:lnTo>
                  <a:pt x="1332" y="1152"/>
                </a:lnTo>
                <a:lnTo>
                  <a:pt x="1312" y="1150"/>
                </a:lnTo>
                <a:lnTo>
                  <a:pt x="1296" y="1146"/>
                </a:lnTo>
                <a:lnTo>
                  <a:pt x="1280" y="1140"/>
                </a:lnTo>
                <a:lnTo>
                  <a:pt x="1266" y="1132"/>
                </a:lnTo>
                <a:lnTo>
                  <a:pt x="1254" y="1122"/>
                </a:lnTo>
                <a:lnTo>
                  <a:pt x="1246" y="1110"/>
                </a:lnTo>
                <a:lnTo>
                  <a:pt x="1240" y="1098"/>
                </a:lnTo>
                <a:lnTo>
                  <a:pt x="1238" y="1084"/>
                </a:lnTo>
                <a:lnTo>
                  <a:pt x="1238" y="1084"/>
                </a:lnTo>
                <a:lnTo>
                  <a:pt x="1240" y="1072"/>
                </a:lnTo>
                <a:lnTo>
                  <a:pt x="1246" y="1058"/>
                </a:lnTo>
                <a:lnTo>
                  <a:pt x="1254" y="1048"/>
                </a:lnTo>
                <a:lnTo>
                  <a:pt x="1266" y="1038"/>
                </a:lnTo>
                <a:lnTo>
                  <a:pt x="1280" y="1030"/>
                </a:lnTo>
                <a:lnTo>
                  <a:pt x="1296" y="1024"/>
                </a:lnTo>
                <a:lnTo>
                  <a:pt x="1312" y="1020"/>
                </a:lnTo>
                <a:lnTo>
                  <a:pt x="1332" y="1018"/>
                </a:lnTo>
                <a:lnTo>
                  <a:pt x="1332" y="1018"/>
                </a:lnTo>
                <a:lnTo>
                  <a:pt x="1350" y="1020"/>
                </a:lnTo>
                <a:lnTo>
                  <a:pt x="1368" y="1024"/>
                </a:lnTo>
                <a:lnTo>
                  <a:pt x="1384" y="1030"/>
                </a:lnTo>
                <a:lnTo>
                  <a:pt x="1398" y="1038"/>
                </a:lnTo>
                <a:lnTo>
                  <a:pt x="1410" y="1048"/>
                </a:lnTo>
                <a:lnTo>
                  <a:pt x="1418" y="1058"/>
                </a:lnTo>
                <a:lnTo>
                  <a:pt x="1424" y="1072"/>
                </a:lnTo>
                <a:lnTo>
                  <a:pt x="1426" y="1084"/>
                </a:lnTo>
                <a:lnTo>
                  <a:pt x="1426" y="1084"/>
                </a:lnTo>
                <a:lnTo>
                  <a:pt x="1424" y="1098"/>
                </a:lnTo>
                <a:lnTo>
                  <a:pt x="1418" y="1110"/>
                </a:lnTo>
                <a:lnTo>
                  <a:pt x="1410" y="1122"/>
                </a:lnTo>
                <a:lnTo>
                  <a:pt x="1398" y="1132"/>
                </a:lnTo>
                <a:lnTo>
                  <a:pt x="1384" y="1140"/>
                </a:lnTo>
                <a:lnTo>
                  <a:pt x="1368" y="1146"/>
                </a:lnTo>
                <a:lnTo>
                  <a:pt x="1350" y="1150"/>
                </a:lnTo>
                <a:lnTo>
                  <a:pt x="1332" y="1152"/>
                </a:lnTo>
                <a:lnTo>
                  <a:pt x="1332" y="1152"/>
                </a:lnTo>
                <a:close/>
                <a:moveTo>
                  <a:pt x="1630" y="1564"/>
                </a:moveTo>
                <a:lnTo>
                  <a:pt x="1630" y="1564"/>
                </a:lnTo>
                <a:lnTo>
                  <a:pt x="1612" y="1562"/>
                </a:lnTo>
                <a:lnTo>
                  <a:pt x="1594" y="1558"/>
                </a:lnTo>
                <a:lnTo>
                  <a:pt x="1578" y="1552"/>
                </a:lnTo>
                <a:lnTo>
                  <a:pt x="1564" y="1544"/>
                </a:lnTo>
                <a:lnTo>
                  <a:pt x="1554" y="1534"/>
                </a:lnTo>
                <a:lnTo>
                  <a:pt x="1544" y="1522"/>
                </a:lnTo>
                <a:lnTo>
                  <a:pt x="1540" y="1510"/>
                </a:lnTo>
                <a:lnTo>
                  <a:pt x="1538" y="1496"/>
                </a:lnTo>
                <a:lnTo>
                  <a:pt x="1538" y="1496"/>
                </a:lnTo>
                <a:lnTo>
                  <a:pt x="1540" y="1484"/>
                </a:lnTo>
                <a:lnTo>
                  <a:pt x="1544" y="1472"/>
                </a:lnTo>
                <a:lnTo>
                  <a:pt x="1554" y="1460"/>
                </a:lnTo>
                <a:lnTo>
                  <a:pt x="1564" y="1450"/>
                </a:lnTo>
                <a:lnTo>
                  <a:pt x="1578" y="1442"/>
                </a:lnTo>
                <a:lnTo>
                  <a:pt x="1594" y="1436"/>
                </a:lnTo>
                <a:lnTo>
                  <a:pt x="1612" y="1432"/>
                </a:lnTo>
                <a:lnTo>
                  <a:pt x="1630" y="1430"/>
                </a:lnTo>
                <a:lnTo>
                  <a:pt x="1630" y="1430"/>
                </a:lnTo>
                <a:lnTo>
                  <a:pt x="1650" y="1432"/>
                </a:lnTo>
                <a:lnTo>
                  <a:pt x="1668" y="1436"/>
                </a:lnTo>
                <a:lnTo>
                  <a:pt x="1682" y="1442"/>
                </a:lnTo>
                <a:lnTo>
                  <a:pt x="1696" y="1450"/>
                </a:lnTo>
                <a:lnTo>
                  <a:pt x="1708" y="1460"/>
                </a:lnTo>
                <a:lnTo>
                  <a:pt x="1716" y="1472"/>
                </a:lnTo>
                <a:lnTo>
                  <a:pt x="1722" y="1484"/>
                </a:lnTo>
                <a:lnTo>
                  <a:pt x="1724" y="1496"/>
                </a:lnTo>
                <a:lnTo>
                  <a:pt x="1724" y="1496"/>
                </a:lnTo>
                <a:lnTo>
                  <a:pt x="1722" y="1510"/>
                </a:lnTo>
                <a:lnTo>
                  <a:pt x="1716" y="1522"/>
                </a:lnTo>
                <a:lnTo>
                  <a:pt x="1708" y="1534"/>
                </a:lnTo>
                <a:lnTo>
                  <a:pt x="1696" y="1544"/>
                </a:lnTo>
                <a:lnTo>
                  <a:pt x="1682" y="1552"/>
                </a:lnTo>
                <a:lnTo>
                  <a:pt x="1668" y="1558"/>
                </a:lnTo>
                <a:lnTo>
                  <a:pt x="1650" y="1562"/>
                </a:lnTo>
                <a:lnTo>
                  <a:pt x="1630" y="1564"/>
                </a:lnTo>
                <a:lnTo>
                  <a:pt x="1630" y="1564"/>
                </a:lnTo>
                <a:close/>
                <a:moveTo>
                  <a:pt x="1630" y="1358"/>
                </a:moveTo>
                <a:lnTo>
                  <a:pt x="1630" y="1358"/>
                </a:lnTo>
                <a:lnTo>
                  <a:pt x="1612" y="1356"/>
                </a:lnTo>
                <a:lnTo>
                  <a:pt x="1594" y="1352"/>
                </a:lnTo>
                <a:lnTo>
                  <a:pt x="1578" y="1346"/>
                </a:lnTo>
                <a:lnTo>
                  <a:pt x="1564" y="1338"/>
                </a:lnTo>
                <a:lnTo>
                  <a:pt x="1554" y="1328"/>
                </a:lnTo>
                <a:lnTo>
                  <a:pt x="1544" y="1316"/>
                </a:lnTo>
                <a:lnTo>
                  <a:pt x="1540" y="1304"/>
                </a:lnTo>
                <a:lnTo>
                  <a:pt x="1538" y="1290"/>
                </a:lnTo>
                <a:lnTo>
                  <a:pt x="1538" y="1290"/>
                </a:lnTo>
                <a:lnTo>
                  <a:pt x="1540" y="1278"/>
                </a:lnTo>
                <a:lnTo>
                  <a:pt x="1544" y="1264"/>
                </a:lnTo>
                <a:lnTo>
                  <a:pt x="1554" y="1254"/>
                </a:lnTo>
                <a:lnTo>
                  <a:pt x="1564" y="1244"/>
                </a:lnTo>
                <a:lnTo>
                  <a:pt x="1578" y="1236"/>
                </a:lnTo>
                <a:lnTo>
                  <a:pt x="1594" y="1230"/>
                </a:lnTo>
                <a:lnTo>
                  <a:pt x="1612" y="1226"/>
                </a:lnTo>
                <a:lnTo>
                  <a:pt x="1630" y="1224"/>
                </a:lnTo>
                <a:lnTo>
                  <a:pt x="1630" y="1224"/>
                </a:lnTo>
                <a:lnTo>
                  <a:pt x="1650" y="1226"/>
                </a:lnTo>
                <a:lnTo>
                  <a:pt x="1668" y="1230"/>
                </a:lnTo>
                <a:lnTo>
                  <a:pt x="1682" y="1236"/>
                </a:lnTo>
                <a:lnTo>
                  <a:pt x="1696" y="1244"/>
                </a:lnTo>
                <a:lnTo>
                  <a:pt x="1708" y="1254"/>
                </a:lnTo>
                <a:lnTo>
                  <a:pt x="1716" y="1264"/>
                </a:lnTo>
                <a:lnTo>
                  <a:pt x="1722" y="1278"/>
                </a:lnTo>
                <a:lnTo>
                  <a:pt x="1724" y="1290"/>
                </a:lnTo>
                <a:lnTo>
                  <a:pt x="1724" y="1290"/>
                </a:lnTo>
                <a:lnTo>
                  <a:pt x="1722" y="1304"/>
                </a:lnTo>
                <a:lnTo>
                  <a:pt x="1716" y="1316"/>
                </a:lnTo>
                <a:lnTo>
                  <a:pt x="1708" y="1328"/>
                </a:lnTo>
                <a:lnTo>
                  <a:pt x="1696" y="1338"/>
                </a:lnTo>
                <a:lnTo>
                  <a:pt x="1682" y="1346"/>
                </a:lnTo>
                <a:lnTo>
                  <a:pt x="1668" y="1352"/>
                </a:lnTo>
                <a:lnTo>
                  <a:pt x="1650" y="1356"/>
                </a:lnTo>
                <a:lnTo>
                  <a:pt x="1630" y="1358"/>
                </a:lnTo>
                <a:lnTo>
                  <a:pt x="1630" y="1358"/>
                </a:lnTo>
                <a:close/>
                <a:moveTo>
                  <a:pt x="1630" y="1152"/>
                </a:moveTo>
                <a:lnTo>
                  <a:pt x="1630" y="1152"/>
                </a:lnTo>
                <a:lnTo>
                  <a:pt x="1612" y="1150"/>
                </a:lnTo>
                <a:lnTo>
                  <a:pt x="1594" y="1146"/>
                </a:lnTo>
                <a:lnTo>
                  <a:pt x="1578" y="1140"/>
                </a:lnTo>
                <a:lnTo>
                  <a:pt x="1564" y="1132"/>
                </a:lnTo>
                <a:lnTo>
                  <a:pt x="1554" y="1122"/>
                </a:lnTo>
                <a:lnTo>
                  <a:pt x="1544" y="1110"/>
                </a:lnTo>
                <a:lnTo>
                  <a:pt x="1540" y="1098"/>
                </a:lnTo>
                <a:lnTo>
                  <a:pt x="1538" y="1084"/>
                </a:lnTo>
                <a:lnTo>
                  <a:pt x="1538" y="1084"/>
                </a:lnTo>
                <a:lnTo>
                  <a:pt x="1540" y="1072"/>
                </a:lnTo>
                <a:lnTo>
                  <a:pt x="1544" y="1058"/>
                </a:lnTo>
                <a:lnTo>
                  <a:pt x="1554" y="1048"/>
                </a:lnTo>
                <a:lnTo>
                  <a:pt x="1564" y="1038"/>
                </a:lnTo>
                <a:lnTo>
                  <a:pt x="1578" y="1030"/>
                </a:lnTo>
                <a:lnTo>
                  <a:pt x="1594" y="1024"/>
                </a:lnTo>
                <a:lnTo>
                  <a:pt x="1612" y="1020"/>
                </a:lnTo>
                <a:lnTo>
                  <a:pt x="1630" y="1018"/>
                </a:lnTo>
                <a:lnTo>
                  <a:pt x="1630" y="1018"/>
                </a:lnTo>
                <a:lnTo>
                  <a:pt x="1650" y="1020"/>
                </a:lnTo>
                <a:lnTo>
                  <a:pt x="1668" y="1024"/>
                </a:lnTo>
                <a:lnTo>
                  <a:pt x="1682" y="1030"/>
                </a:lnTo>
                <a:lnTo>
                  <a:pt x="1696" y="1038"/>
                </a:lnTo>
                <a:lnTo>
                  <a:pt x="1708" y="1048"/>
                </a:lnTo>
                <a:lnTo>
                  <a:pt x="1716" y="1058"/>
                </a:lnTo>
                <a:lnTo>
                  <a:pt x="1722" y="1072"/>
                </a:lnTo>
                <a:lnTo>
                  <a:pt x="1724" y="1084"/>
                </a:lnTo>
                <a:lnTo>
                  <a:pt x="1724" y="1084"/>
                </a:lnTo>
                <a:lnTo>
                  <a:pt x="1722" y="1098"/>
                </a:lnTo>
                <a:lnTo>
                  <a:pt x="1716" y="1110"/>
                </a:lnTo>
                <a:lnTo>
                  <a:pt x="1708" y="1122"/>
                </a:lnTo>
                <a:lnTo>
                  <a:pt x="1696" y="1132"/>
                </a:lnTo>
                <a:lnTo>
                  <a:pt x="1682" y="1140"/>
                </a:lnTo>
                <a:lnTo>
                  <a:pt x="1668" y="1146"/>
                </a:lnTo>
                <a:lnTo>
                  <a:pt x="1650" y="1150"/>
                </a:lnTo>
                <a:lnTo>
                  <a:pt x="1630" y="1152"/>
                </a:lnTo>
                <a:lnTo>
                  <a:pt x="1630" y="1152"/>
                </a:lnTo>
                <a:close/>
                <a:moveTo>
                  <a:pt x="1736" y="824"/>
                </a:moveTo>
                <a:lnTo>
                  <a:pt x="1736" y="824"/>
                </a:lnTo>
                <a:lnTo>
                  <a:pt x="1734" y="832"/>
                </a:lnTo>
                <a:lnTo>
                  <a:pt x="1732" y="840"/>
                </a:lnTo>
                <a:lnTo>
                  <a:pt x="1728" y="848"/>
                </a:lnTo>
                <a:lnTo>
                  <a:pt x="1722" y="854"/>
                </a:lnTo>
                <a:lnTo>
                  <a:pt x="1716" y="858"/>
                </a:lnTo>
                <a:lnTo>
                  <a:pt x="1708" y="862"/>
                </a:lnTo>
                <a:lnTo>
                  <a:pt x="1700" y="866"/>
                </a:lnTo>
                <a:lnTo>
                  <a:pt x="1692" y="866"/>
                </a:lnTo>
                <a:lnTo>
                  <a:pt x="972" y="866"/>
                </a:lnTo>
                <a:lnTo>
                  <a:pt x="972" y="866"/>
                </a:lnTo>
                <a:lnTo>
                  <a:pt x="962" y="866"/>
                </a:lnTo>
                <a:lnTo>
                  <a:pt x="954" y="862"/>
                </a:lnTo>
                <a:lnTo>
                  <a:pt x="948" y="858"/>
                </a:lnTo>
                <a:lnTo>
                  <a:pt x="940" y="854"/>
                </a:lnTo>
                <a:lnTo>
                  <a:pt x="936" y="848"/>
                </a:lnTo>
                <a:lnTo>
                  <a:pt x="932" y="840"/>
                </a:lnTo>
                <a:lnTo>
                  <a:pt x="930" y="832"/>
                </a:lnTo>
                <a:lnTo>
                  <a:pt x="928" y="824"/>
                </a:lnTo>
                <a:lnTo>
                  <a:pt x="928" y="160"/>
                </a:lnTo>
                <a:lnTo>
                  <a:pt x="928" y="160"/>
                </a:lnTo>
                <a:lnTo>
                  <a:pt x="930" y="150"/>
                </a:lnTo>
                <a:lnTo>
                  <a:pt x="932" y="142"/>
                </a:lnTo>
                <a:lnTo>
                  <a:pt x="936" y="136"/>
                </a:lnTo>
                <a:lnTo>
                  <a:pt x="940" y="130"/>
                </a:lnTo>
                <a:lnTo>
                  <a:pt x="948" y="124"/>
                </a:lnTo>
                <a:lnTo>
                  <a:pt x="954" y="120"/>
                </a:lnTo>
                <a:lnTo>
                  <a:pt x="962" y="118"/>
                </a:lnTo>
                <a:lnTo>
                  <a:pt x="972" y="116"/>
                </a:lnTo>
                <a:lnTo>
                  <a:pt x="1692" y="116"/>
                </a:lnTo>
                <a:lnTo>
                  <a:pt x="1692" y="116"/>
                </a:lnTo>
                <a:lnTo>
                  <a:pt x="1700" y="118"/>
                </a:lnTo>
                <a:lnTo>
                  <a:pt x="1708" y="120"/>
                </a:lnTo>
                <a:lnTo>
                  <a:pt x="1716" y="124"/>
                </a:lnTo>
                <a:lnTo>
                  <a:pt x="1722" y="130"/>
                </a:lnTo>
                <a:lnTo>
                  <a:pt x="1728" y="136"/>
                </a:lnTo>
                <a:lnTo>
                  <a:pt x="1732" y="142"/>
                </a:lnTo>
                <a:lnTo>
                  <a:pt x="1734" y="150"/>
                </a:lnTo>
                <a:lnTo>
                  <a:pt x="1736" y="160"/>
                </a:lnTo>
                <a:lnTo>
                  <a:pt x="1736" y="824"/>
                </a:lnTo>
                <a:close/>
                <a:moveTo>
                  <a:pt x="644" y="1408"/>
                </a:moveTo>
                <a:lnTo>
                  <a:pt x="610" y="1382"/>
                </a:lnTo>
                <a:lnTo>
                  <a:pt x="610" y="1382"/>
                </a:lnTo>
                <a:lnTo>
                  <a:pt x="602" y="1376"/>
                </a:lnTo>
                <a:lnTo>
                  <a:pt x="596" y="1368"/>
                </a:lnTo>
                <a:lnTo>
                  <a:pt x="582" y="1348"/>
                </a:lnTo>
                <a:lnTo>
                  <a:pt x="574" y="1326"/>
                </a:lnTo>
                <a:lnTo>
                  <a:pt x="572" y="1314"/>
                </a:lnTo>
                <a:lnTo>
                  <a:pt x="572" y="1304"/>
                </a:lnTo>
                <a:lnTo>
                  <a:pt x="572" y="814"/>
                </a:lnTo>
                <a:lnTo>
                  <a:pt x="572" y="814"/>
                </a:lnTo>
                <a:lnTo>
                  <a:pt x="572" y="802"/>
                </a:lnTo>
                <a:lnTo>
                  <a:pt x="574" y="792"/>
                </a:lnTo>
                <a:lnTo>
                  <a:pt x="582" y="770"/>
                </a:lnTo>
                <a:lnTo>
                  <a:pt x="596" y="750"/>
                </a:lnTo>
                <a:lnTo>
                  <a:pt x="602" y="742"/>
                </a:lnTo>
                <a:lnTo>
                  <a:pt x="610" y="734"/>
                </a:lnTo>
                <a:lnTo>
                  <a:pt x="644" y="708"/>
                </a:lnTo>
                <a:lnTo>
                  <a:pt x="644" y="708"/>
                </a:lnTo>
                <a:lnTo>
                  <a:pt x="650" y="702"/>
                </a:lnTo>
                <a:lnTo>
                  <a:pt x="658" y="694"/>
                </a:lnTo>
                <a:lnTo>
                  <a:pt x="670" y="674"/>
                </a:lnTo>
                <a:lnTo>
                  <a:pt x="678" y="652"/>
                </a:lnTo>
                <a:lnTo>
                  <a:pt x="680" y="640"/>
                </a:lnTo>
                <a:lnTo>
                  <a:pt x="682" y="630"/>
                </a:lnTo>
                <a:lnTo>
                  <a:pt x="682" y="454"/>
                </a:lnTo>
                <a:lnTo>
                  <a:pt x="682" y="454"/>
                </a:lnTo>
                <a:lnTo>
                  <a:pt x="680" y="430"/>
                </a:lnTo>
                <a:lnTo>
                  <a:pt x="676" y="410"/>
                </a:lnTo>
                <a:lnTo>
                  <a:pt x="672" y="388"/>
                </a:lnTo>
                <a:lnTo>
                  <a:pt x="664" y="368"/>
                </a:lnTo>
                <a:lnTo>
                  <a:pt x="654" y="350"/>
                </a:lnTo>
                <a:lnTo>
                  <a:pt x="644" y="332"/>
                </a:lnTo>
                <a:lnTo>
                  <a:pt x="632" y="314"/>
                </a:lnTo>
                <a:lnTo>
                  <a:pt x="618" y="300"/>
                </a:lnTo>
                <a:lnTo>
                  <a:pt x="602" y="284"/>
                </a:lnTo>
                <a:lnTo>
                  <a:pt x="584" y="272"/>
                </a:lnTo>
                <a:lnTo>
                  <a:pt x="566" y="262"/>
                </a:lnTo>
                <a:lnTo>
                  <a:pt x="548" y="252"/>
                </a:lnTo>
                <a:lnTo>
                  <a:pt x="528" y="244"/>
                </a:lnTo>
                <a:lnTo>
                  <a:pt x="506" y="240"/>
                </a:lnTo>
                <a:lnTo>
                  <a:pt x="486" y="236"/>
                </a:lnTo>
                <a:lnTo>
                  <a:pt x="462" y="234"/>
                </a:lnTo>
                <a:lnTo>
                  <a:pt x="428" y="234"/>
                </a:lnTo>
                <a:lnTo>
                  <a:pt x="428" y="234"/>
                </a:lnTo>
                <a:lnTo>
                  <a:pt x="406" y="236"/>
                </a:lnTo>
                <a:lnTo>
                  <a:pt x="384" y="240"/>
                </a:lnTo>
                <a:lnTo>
                  <a:pt x="364" y="244"/>
                </a:lnTo>
                <a:lnTo>
                  <a:pt x="344" y="252"/>
                </a:lnTo>
                <a:lnTo>
                  <a:pt x="324" y="262"/>
                </a:lnTo>
                <a:lnTo>
                  <a:pt x="306" y="272"/>
                </a:lnTo>
                <a:lnTo>
                  <a:pt x="290" y="284"/>
                </a:lnTo>
                <a:lnTo>
                  <a:pt x="274" y="300"/>
                </a:lnTo>
                <a:lnTo>
                  <a:pt x="260" y="314"/>
                </a:lnTo>
                <a:lnTo>
                  <a:pt x="248" y="332"/>
                </a:lnTo>
                <a:lnTo>
                  <a:pt x="236" y="350"/>
                </a:lnTo>
                <a:lnTo>
                  <a:pt x="228" y="368"/>
                </a:lnTo>
                <a:lnTo>
                  <a:pt x="220" y="388"/>
                </a:lnTo>
                <a:lnTo>
                  <a:pt x="214" y="410"/>
                </a:lnTo>
                <a:lnTo>
                  <a:pt x="212" y="430"/>
                </a:lnTo>
                <a:lnTo>
                  <a:pt x="210" y="454"/>
                </a:lnTo>
                <a:lnTo>
                  <a:pt x="210" y="630"/>
                </a:lnTo>
                <a:lnTo>
                  <a:pt x="210" y="630"/>
                </a:lnTo>
                <a:lnTo>
                  <a:pt x="212" y="640"/>
                </a:lnTo>
                <a:lnTo>
                  <a:pt x="214" y="652"/>
                </a:lnTo>
                <a:lnTo>
                  <a:pt x="222" y="674"/>
                </a:lnTo>
                <a:lnTo>
                  <a:pt x="234" y="694"/>
                </a:lnTo>
                <a:lnTo>
                  <a:pt x="242" y="702"/>
                </a:lnTo>
                <a:lnTo>
                  <a:pt x="248" y="708"/>
                </a:lnTo>
                <a:lnTo>
                  <a:pt x="282" y="734"/>
                </a:lnTo>
                <a:lnTo>
                  <a:pt x="282" y="734"/>
                </a:lnTo>
                <a:lnTo>
                  <a:pt x="290" y="742"/>
                </a:lnTo>
                <a:lnTo>
                  <a:pt x="296" y="750"/>
                </a:lnTo>
                <a:lnTo>
                  <a:pt x="308" y="770"/>
                </a:lnTo>
                <a:lnTo>
                  <a:pt x="318" y="792"/>
                </a:lnTo>
                <a:lnTo>
                  <a:pt x="320" y="802"/>
                </a:lnTo>
                <a:lnTo>
                  <a:pt x="320" y="814"/>
                </a:lnTo>
                <a:lnTo>
                  <a:pt x="320" y="1304"/>
                </a:lnTo>
                <a:lnTo>
                  <a:pt x="320" y="1304"/>
                </a:lnTo>
                <a:lnTo>
                  <a:pt x="320" y="1314"/>
                </a:lnTo>
                <a:lnTo>
                  <a:pt x="318" y="1326"/>
                </a:lnTo>
                <a:lnTo>
                  <a:pt x="308" y="1348"/>
                </a:lnTo>
                <a:lnTo>
                  <a:pt x="296" y="1368"/>
                </a:lnTo>
                <a:lnTo>
                  <a:pt x="290" y="1376"/>
                </a:lnTo>
                <a:lnTo>
                  <a:pt x="282" y="1382"/>
                </a:lnTo>
                <a:lnTo>
                  <a:pt x="248" y="1408"/>
                </a:lnTo>
                <a:lnTo>
                  <a:pt x="248" y="1408"/>
                </a:lnTo>
                <a:lnTo>
                  <a:pt x="242" y="1416"/>
                </a:lnTo>
                <a:lnTo>
                  <a:pt x="234" y="1424"/>
                </a:lnTo>
                <a:lnTo>
                  <a:pt x="222" y="1444"/>
                </a:lnTo>
                <a:lnTo>
                  <a:pt x="214" y="1466"/>
                </a:lnTo>
                <a:lnTo>
                  <a:pt x="212" y="1476"/>
                </a:lnTo>
                <a:lnTo>
                  <a:pt x="210" y="1488"/>
                </a:lnTo>
                <a:lnTo>
                  <a:pt x="210" y="1664"/>
                </a:lnTo>
                <a:lnTo>
                  <a:pt x="210" y="1664"/>
                </a:lnTo>
                <a:lnTo>
                  <a:pt x="212" y="1686"/>
                </a:lnTo>
                <a:lnTo>
                  <a:pt x="214" y="1708"/>
                </a:lnTo>
                <a:lnTo>
                  <a:pt x="220" y="1730"/>
                </a:lnTo>
                <a:lnTo>
                  <a:pt x="228" y="1750"/>
                </a:lnTo>
                <a:lnTo>
                  <a:pt x="236" y="1768"/>
                </a:lnTo>
                <a:lnTo>
                  <a:pt x="248" y="1786"/>
                </a:lnTo>
                <a:lnTo>
                  <a:pt x="260" y="1804"/>
                </a:lnTo>
                <a:lnTo>
                  <a:pt x="274" y="1818"/>
                </a:lnTo>
                <a:lnTo>
                  <a:pt x="290" y="1832"/>
                </a:lnTo>
                <a:lnTo>
                  <a:pt x="306" y="1846"/>
                </a:lnTo>
                <a:lnTo>
                  <a:pt x="324" y="1856"/>
                </a:lnTo>
                <a:lnTo>
                  <a:pt x="344" y="1866"/>
                </a:lnTo>
                <a:lnTo>
                  <a:pt x="364" y="1872"/>
                </a:lnTo>
                <a:lnTo>
                  <a:pt x="384" y="1878"/>
                </a:lnTo>
                <a:lnTo>
                  <a:pt x="406" y="1882"/>
                </a:lnTo>
                <a:lnTo>
                  <a:pt x="428" y="1882"/>
                </a:lnTo>
                <a:lnTo>
                  <a:pt x="462" y="1882"/>
                </a:lnTo>
                <a:lnTo>
                  <a:pt x="462" y="1882"/>
                </a:lnTo>
                <a:lnTo>
                  <a:pt x="486" y="1882"/>
                </a:lnTo>
                <a:lnTo>
                  <a:pt x="506" y="1878"/>
                </a:lnTo>
                <a:lnTo>
                  <a:pt x="528" y="1872"/>
                </a:lnTo>
                <a:lnTo>
                  <a:pt x="548" y="1866"/>
                </a:lnTo>
                <a:lnTo>
                  <a:pt x="566" y="1856"/>
                </a:lnTo>
                <a:lnTo>
                  <a:pt x="584" y="1846"/>
                </a:lnTo>
                <a:lnTo>
                  <a:pt x="602" y="1832"/>
                </a:lnTo>
                <a:lnTo>
                  <a:pt x="618" y="1818"/>
                </a:lnTo>
                <a:lnTo>
                  <a:pt x="632" y="1804"/>
                </a:lnTo>
                <a:lnTo>
                  <a:pt x="644" y="1786"/>
                </a:lnTo>
                <a:lnTo>
                  <a:pt x="654" y="1768"/>
                </a:lnTo>
                <a:lnTo>
                  <a:pt x="664" y="1750"/>
                </a:lnTo>
                <a:lnTo>
                  <a:pt x="672" y="1730"/>
                </a:lnTo>
                <a:lnTo>
                  <a:pt x="676" y="1708"/>
                </a:lnTo>
                <a:lnTo>
                  <a:pt x="680" y="1686"/>
                </a:lnTo>
                <a:lnTo>
                  <a:pt x="682" y="1664"/>
                </a:lnTo>
                <a:lnTo>
                  <a:pt x="682" y="1488"/>
                </a:lnTo>
                <a:lnTo>
                  <a:pt x="682" y="1488"/>
                </a:lnTo>
                <a:lnTo>
                  <a:pt x="680" y="1476"/>
                </a:lnTo>
                <a:lnTo>
                  <a:pt x="678" y="1466"/>
                </a:lnTo>
                <a:lnTo>
                  <a:pt x="670" y="1444"/>
                </a:lnTo>
                <a:lnTo>
                  <a:pt x="658" y="1424"/>
                </a:lnTo>
                <a:lnTo>
                  <a:pt x="650" y="1416"/>
                </a:lnTo>
                <a:lnTo>
                  <a:pt x="644" y="1408"/>
                </a:lnTo>
                <a:lnTo>
                  <a:pt x="644" y="1408"/>
                </a:lnTo>
                <a:close/>
                <a:moveTo>
                  <a:pt x="1590" y="312"/>
                </a:moveTo>
                <a:lnTo>
                  <a:pt x="1074" y="312"/>
                </a:lnTo>
                <a:lnTo>
                  <a:pt x="1074" y="312"/>
                </a:lnTo>
                <a:lnTo>
                  <a:pt x="1064" y="312"/>
                </a:lnTo>
                <a:lnTo>
                  <a:pt x="1056" y="314"/>
                </a:lnTo>
                <a:lnTo>
                  <a:pt x="1050" y="318"/>
                </a:lnTo>
                <a:lnTo>
                  <a:pt x="1044" y="324"/>
                </a:lnTo>
                <a:lnTo>
                  <a:pt x="1038" y="330"/>
                </a:lnTo>
                <a:lnTo>
                  <a:pt x="1034" y="338"/>
                </a:lnTo>
                <a:lnTo>
                  <a:pt x="1032" y="346"/>
                </a:lnTo>
                <a:lnTo>
                  <a:pt x="1030" y="354"/>
                </a:lnTo>
                <a:lnTo>
                  <a:pt x="1030" y="376"/>
                </a:lnTo>
                <a:lnTo>
                  <a:pt x="1030" y="376"/>
                </a:lnTo>
                <a:lnTo>
                  <a:pt x="1032" y="384"/>
                </a:lnTo>
                <a:lnTo>
                  <a:pt x="1034" y="392"/>
                </a:lnTo>
                <a:lnTo>
                  <a:pt x="1038" y="398"/>
                </a:lnTo>
                <a:lnTo>
                  <a:pt x="1044" y="406"/>
                </a:lnTo>
                <a:lnTo>
                  <a:pt x="1050" y="410"/>
                </a:lnTo>
                <a:lnTo>
                  <a:pt x="1056" y="414"/>
                </a:lnTo>
                <a:lnTo>
                  <a:pt x="1064" y="416"/>
                </a:lnTo>
                <a:lnTo>
                  <a:pt x="1074" y="418"/>
                </a:lnTo>
                <a:lnTo>
                  <a:pt x="1590" y="418"/>
                </a:lnTo>
                <a:lnTo>
                  <a:pt x="1590" y="418"/>
                </a:lnTo>
                <a:lnTo>
                  <a:pt x="1598" y="416"/>
                </a:lnTo>
                <a:lnTo>
                  <a:pt x="1606" y="414"/>
                </a:lnTo>
                <a:lnTo>
                  <a:pt x="1614" y="410"/>
                </a:lnTo>
                <a:lnTo>
                  <a:pt x="1620" y="406"/>
                </a:lnTo>
                <a:lnTo>
                  <a:pt x="1626" y="398"/>
                </a:lnTo>
                <a:lnTo>
                  <a:pt x="1630" y="392"/>
                </a:lnTo>
                <a:lnTo>
                  <a:pt x="1632" y="384"/>
                </a:lnTo>
                <a:lnTo>
                  <a:pt x="1632" y="376"/>
                </a:lnTo>
                <a:lnTo>
                  <a:pt x="1632" y="354"/>
                </a:lnTo>
                <a:lnTo>
                  <a:pt x="1632" y="354"/>
                </a:lnTo>
                <a:lnTo>
                  <a:pt x="1632" y="346"/>
                </a:lnTo>
                <a:lnTo>
                  <a:pt x="1630" y="338"/>
                </a:lnTo>
                <a:lnTo>
                  <a:pt x="1626" y="330"/>
                </a:lnTo>
                <a:lnTo>
                  <a:pt x="1620" y="324"/>
                </a:lnTo>
                <a:lnTo>
                  <a:pt x="1614" y="318"/>
                </a:lnTo>
                <a:lnTo>
                  <a:pt x="1606" y="314"/>
                </a:lnTo>
                <a:lnTo>
                  <a:pt x="1598" y="312"/>
                </a:lnTo>
                <a:lnTo>
                  <a:pt x="1590" y="312"/>
                </a:lnTo>
                <a:lnTo>
                  <a:pt x="1590" y="312"/>
                </a:lnTo>
                <a:close/>
                <a:moveTo>
                  <a:pt x="1590" y="558"/>
                </a:moveTo>
                <a:lnTo>
                  <a:pt x="1074" y="558"/>
                </a:lnTo>
                <a:lnTo>
                  <a:pt x="1074" y="558"/>
                </a:lnTo>
                <a:lnTo>
                  <a:pt x="1064" y="558"/>
                </a:lnTo>
                <a:lnTo>
                  <a:pt x="1056" y="562"/>
                </a:lnTo>
                <a:lnTo>
                  <a:pt x="1050" y="566"/>
                </a:lnTo>
                <a:lnTo>
                  <a:pt x="1044" y="570"/>
                </a:lnTo>
                <a:lnTo>
                  <a:pt x="1038" y="576"/>
                </a:lnTo>
                <a:lnTo>
                  <a:pt x="1034" y="584"/>
                </a:lnTo>
                <a:lnTo>
                  <a:pt x="1032" y="592"/>
                </a:lnTo>
                <a:lnTo>
                  <a:pt x="1030" y="600"/>
                </a:lnTo>
                <a:lnTo>
                  <a:pt x="1030" y="622"/>
                </a:lnTo>
                <a:lnTo>
                  <a:pt x="1030" y="622"/>
                </a:lnTo>
                <a:lnTo>
                  <a:pt x="1032" y="630"/>
                </a:lnTo>
                <a:lnTo>
                  <a:pt x="1034" y="638"/>
                </a:lnTo>
                <a:lnTo>
                  <a:pt x="1038" y="646"/>
                </a:lnTo>
                <a:lnTo>
                  <a:pt x="1044" y="652"/>
                </a:lnTo>
                <a:lnTo>
                  <a:pt x="1050" y="658"/>
                </a:lnTo>
                <a:lnTo>
                  <a:pt x="1056" y="662"/>
                </a:lnTo>
                <a:lnTo>
                  <a:pt x="1064" y="664"/>
                </a:lnTo>
                <a:lnTo>
                  <a:pt x="1074" y="664"/>
                </a:lnTo>
                <a:lnTo>
                  <a:pt x="1590" y="664"/>
                </a:lnTo>
                <a:lnTo>
                  <a:pt x="1590" y="664"/>
                </a:lnTo>
                <a:lnTo>
                  <a:pt x="1598" y="664"/>
                </a:lnTo>
                <a:lnTo>
                  <a:pt x="1606" y="662"/>
                </a:lnTo>
                <a:lnTo>
                  <a:pt x="1614" y="658"/>
                </a:lnTo>
                <a:lnTo>
                  <a:pt x="1620" y="652"/>
                </a:lnTo>
                <a:lnTo>
                  <a:pt x="1626" y="646"/>
                </a:lnTo>
                <a:lnTo>
                  <a:pt x="1630" y="638"/>
                </a:lnTo>
                <a:lnTo>
                  <a:pt x="1632" y="630"/>
                </a:lnTo>
                <a:lnTo>
                  <a:pt x="1632" y="622"/>
                </a:lnTo>
                <a:lnTo>
                  <a:pt x="1632" y="600"/>
                </a:lnTo>
                <a:lnTo>
                  <a:pt x="1632" y="600"/>
                </a:lnTo>
                <a:lnTo>
                  <a:pt x="1632" y="592"/>
                </a:lnTo>
                <a:lnTo>
                  <a:pt x="1630" y="584"/>
                </a:lnTo>
                <a:lnTo>
                  <a:pt x="1626" y="576"/>
                </a:lnTo>
                <a:lnTo>
                  <a:pt x="1620" y="570"/>
                </a:lnTo>
                <a:lnTo>
                  <a:pt x="1614" y="566"/>
                </a:lnTo>
                <a:lnTo>
                  <a:pt x="1606" y="562"/>
                </a:lnTo>
                <a:lnTo>
                  <a:pt x="1598" y="558"/>
                </a:lnTo>
                <a:lnTo>
                  <a:pt x="1590" y="558"/>
                </a:lnTo>
                <a:lnTo>
                  <a:pt x="1590" y="558"/>
                </a:lnTo>
                <a:close/>
              </a:path>
            </a:pathLst>
          </a:custGeom>
          <a:solidFill>
            <a:srgbClr val="FFFFFF"/>
          </a:solidFill>
          <a:ln>
            <a:noFill/>
          </a:ln>
          <a:effectLst/>
        </p:spPr>
        <p:txBody>
          <a:bodyPr vert="horz" wrap="square" lIns="68570" tIns="34285" rIns="68570" bIns="34285" numCol="1" anchor="t" anchorCtr="0" compatLnSpc="1">
            <a:prstTxWarp prst="textNoShape">
              <a:avLst/>
            </a:prstTxWarp>
          </a:bodyPr>
          <a:lstStyle/>
          <a:p>
            <a:pPr defTabSz="685738">
              <a:defRPr/>
            </a:pPr>
            <a:endParaRPr lang="en-US" sz="1350" kern="0" dirty="0">
              <a:solidFill>
                <a:sysClr val="windowText" lastClr="000000"/>
              </a:solidFill>
            </a:endParaRPr>
          </a:p>
        </p:txBody>
      </p:sp>
      <p:pic>
        <p:nvPicPr>
          <p:cNvPr id="25" name="Picture 24"/>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872334" y="5065259"/>
            <a:ext cx="579712" cy="704817"/>
          </a:xfrm>
          <a:prstGeom prst="rect">
            <a:avLst/>
          </a:prstGeom>
        </p:spPr>
      </p:pic>
      <p:pic>
        <p:nvPicPr>
          <p:cNvPr id="26" name="Picture 25"/>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472175" y="4484982"/>
            <a:ext cx="698909" cy="651615"/>
          </a:xfrm>
          <a:prstGeom prst="rect">
            <a:avLst/>
          </a:prstGeom>
        </p:spPr>
      </p:pic>
      <p:pic>
        <p:nvPicPr>
          <p:cNvPr id="27" name="Picture 2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218430" y="5202655"/>
            <a:ext cx="490669" cy="644161"/>
          </a:xfrm>
          <a:prstGeom prst="rect">
            <a:avLst/>
          </a:prstGeom>
        </p:spPr>
      </p:pic>
      <p:pic>
        <p:nvPicPr>
          <p:cNvPr id="28" name="Picture 27"/>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9516977" y="5136599"/>
            <a:ext cx="503490" cy="652387"/>
          </a:xfrm>
          <a:prstGeom prst="rect">
            <a:avLst/>
          </a:prstGeom>
        </p:spPr>
      </p:pic>
      <p:sp>
        <p:nvSpPr>
          <p:cNvPr id="29" name="Freeform 90"/>
          <p:cNvSpPr>
            <a:spLocks noChangeAspect="1" noEditPoints="1"/>
          </p:cNvSpPr>
          <p:nvPr/>
        </p:nvSpPr>
        <p:spPr bwMode="black">
          <a:xfrm>
            <a:off x="9119469" y="4337502"/>
            <a:ext cx="494241" cy="542247"/>
          </a:xfrm>
          <a:custGeom>
            <a:avLst/>
            <a:gdLst>
              <a:gd name="T0" fmla="*/ 278 w 278"/>
              <a:gd name="T1" fmla="*/ 57 h 305"/>
              <a:gd name="T2" fmla="*/ 277 w 278"/>
              <a:gd name="T3" fmla="*/ 54 h 305"/>
              <a:gd name="T4" fmla="*/ 276 w 278"/>
              <a:gd name="T5" fmla="*/ 52 h 305"/>
              <a:gd name="T6" fmla="*/ 274 w 278"/>
              <a:gd name="T7" fmla="*/ 49 h 305"/>
              <a:gd name="T8" fmla="*/ 272 w 278"/>
              <a:gd name="T9" fmla="*/ 47 h 305"/>
              <a:gd name="T10" fmla="*/ 270 w 278"/>
              <a:gd name="T11" fmla="*/ 46 h 305"/>
              <a:gd name="T12" fmla="*/ 267 w 278"/>
              <a:gd name="T13" fmla="*/ 45 h 305"/>
              <a:gd name="T14" fmla="*/ 265 w 278"/>
              <a:gd name="T15" fmla="*/ 44 h 305"/>
              <a:gd name="T16" fmla="*/ 263 w 278"/>
              <a:gd name="T17" fmla="*/ 44 h 305"/>
              <a:gd name="T18" fmla="*/ 32 w 278"/>
              <a:gd name="T19" fmla="*/ 13 h 305"/>
              <a:gd name="T20" fmla="*/ 2 w 278"/>
              <a:gd name="T21" fmla="*/ 21 h 305"/>
              <a:gd name="T22" fmla="*/ 63 w 278"/>
              <a:gd name="T23" fmla="*/ 256 h 305"/>
              <a:gd name="T24" fmla="*/ 65 w 278"/>
              <a:gd name="T25" fmla="*/ 259 h 305"/>
              <a:gd name="T26" fmla="*/ 66 w 278"/>
              <a:gd name="T27" fmla="*/ 261 h 305"/>
              <a:gd name="T28" fmla="*/ 68 w 278"/>
              <a:gd name="T29" fmla="*/ 263 h 305"/>
              <a:gd name="T30" fmla="*/ 71 w 278"/>
              <a:gd name="T31" fmla="*/ 265 h 305"/>
              <a:gd name="T32" fmla="*/ 72 w 278"/>
              <a:gd name="T33" fmla="*/ 265 h 305"/>
              <a:gd name="T34" fmla="*/ 119 w 278"/>
              <a:gd name="T35" fmla="*/ 266 h 305"/>
              <a:gd name="T36" fmla="*/ 211 w 278"/>
              <a:gd name="T37" fmla="*/ 254 h 305"/>
              <a:gd name="T38" fmla="*/ 248 w 278"/>
              <a:gd name="T39" fmla="*/ 251 h 305"/>
              <a:gd name="T40" fmla="*/ 89 w 278"/>
              <a:gd name="T41" fmla="*/ 236 h 305"/>
              <a:gd name="T42" fmla="*/ 248 w 278"/>
              <a:gd name="T43" fmla="*/ 179 h 305"/>
              <a:gd name="T44" fmla="*/ 251 w 278"/>
              <a:gd name="T45" fmla="*/ 179 h 305"/>
              <a:gd name="T46" fmla="*/ 254 w 278"/>
              <a:gd name="T47" fmla="*/ 178 h 305"/>
              <a:gd name="T48" fmla="*/ 256 w 278"/>
              <a:gd name="T49" fmla="*/ 177 h 305"/>
              <a:gd name="T50" fmla="*/ 258 w 278"/>
              <a:gd name="T51" fmla="*/ 175 h 305"/>
              <a:gd name="T52" fmla="*/ 260 w 278"/>
              <a:gd name="T53" fmla="*/ 173 h 305"/>
              <a:gd name="T54" fmla="*/ 261 w 278"/>
              <a:gd name="T55" fmla="*/ 170 h 305"/>
              <a:gd name="T56" fmla="*/ 262 w 278"/>
              <a:gd name="T57" fmla="*/ 168 h 305"/>
              <a:gd name="T58" fmla="*/ 263 w 278"/>
              <a:gd name="T59" fmla="*/ 166 h 305"/>
              <a:gd name="T60" fmla="*/ 278 w 278"/>
              <a:gd name="T61" fmla="*/ 60 h 305"/>
              <a:gd name="T62" fmla="*/ 278 w 278"/>
              <a:gd name="T63" fmla="*/ 59 h 305"/>
              <a:gd name="T64" fmla="*/ 66 w 278"/>
              <a:gd name="T65" fmla="*/ 149 h 305"/>
              <a:gd name="T66" fmla="*/ 238 w 278"/>
              <a:gd name="T67" fmla="*/ 126 h 305"/>
              <a:gd name="T68" fmla="*/ 242 w 278"/>
              <a:gd name="T69" fmla="*/ 96 h 305"/>
              <a:gd name="T70" fmla="*/ 47 w 278"/>
              <a:gd name="T71" fmla="*/ 74 h 305"/>
              <a:gd name="T72" fmla="*/ 242 w 278"/>
              <a:gd name="T73" fmla="*/ 96 h 305"/>
              <a:gd name="T74" fmla="*/ 95 w 278"/>
              <a:gd name="T75" fmla="*/ 305 h 305"/>
              <a:gd name="T76" fmla="*/ 95 w 278"/>
              <a:gd name="T77" fmla="*/ 263 h 305"/>
              <a:gd name="T78" fmla="*/ 232 w 278"/>
              <a:gd name="T79" fmla="*/ 284 h 305"/>
              <a:gd name="T80" fmla="*/ 190 w 278"/>
              <a:gd name="T81" fmla="*/ 284 h 305"/>
              <a:gd name="T82" fmla="*/ 232 w 278"/>
              <a:gd name="T83" fmla="*/ 28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305">
                <a:moveTo>
                  <a:pt x="278" y="59"/>
                </a:moveTo>
                <a:cubicBezTo>
                  <a:pt x="278" y="58"/>
                  <a:pt x="278" y="57"/>
                  <a:pt x="278" y="57"/>
                </a:cubicBezTo>
                <a:cubicBezTo>
                  <a:pt x="278" y="56"/>
                  <a:pt x="278" y="56"/>
                  <a:pt x="278" y="56"/>
                </a:cubicBezTo>
                <a:cubicBezTo>
                  <a:pt x="277" y="55"/>
                  <a:pt x="277" y="55"/>
                  <a:pt x="277" y="54"/>
                </a:cubicBezTo>
                <a:cubicBezTo>
                  <a:pt x="277" y="54"/>
                  <a:pt x="277" y="53"/>
                  <a:pt x="277" y="53"/>
                </a:cubicBezTo>
                <a:cubicBezTo>
                  <a:pt x="276" y="52"/>
                  <a:pt x="276" y="52"/>
                  <a:pt x="276" y="52"/>
                </a:cubicBezTo>
                <a:cubicBezTo>
                  <a:pt x="276" y="51"/>
                  <a:pt x="275" y="51"/>
                  <a:pt x="275" y="50"/>
                </a:cubicBezTo>
                <a:cubicBezTo>
                  <a:pt x="275" y="50"/>
                  <a:pt x="275" y="50"/>
                  <a:pt x="274" y="49"/>
                </a:cubicBezTo>
                <a:cubicBezTo>
                  <a:pt x="274" y="49"/>
                  <a:pt x="274" y="48"/>
                  <a:pt x="273" y="48"/>
                </a:cubicBezTo>
                <a:cubicBezTo>
                  <a:pt x="273" y="48"/>
                  <a:pt x="273" y="48"/>
                  <a:pt x="272" y="47"/>
                </a:cubicBezTo>
                <a:cubicBezTo>
                  <a:pt x="272" y="47"/>
                  <a:pt x="271" y="47"/>
                  <a:pt x="271" y="46"/>
                </a:cubicBezTo>
                <a:cubicBezTo>
                  <a:pt x="271" y="46"/>
                  <a:pt x="270" y="46"/>
                  <a:pt x="270" y="46"/>
                </a:cubicBezTo>
                <a:cubicBezTo>
                  <a:pt x="269" y="45"/>
                  <a:pt x="269" y="45"/>
                  <a:pt x="268" y="45"/>
                </a:cubicBezTo>
                <a:cubicBezTo>
                  <a:pt x="268" y="45"/>
                  <a:pt x="268" y="45"/>
                  <a:pt x="267" y="45"/>
                </a:cubicBezTo>
                <a:cubicBezTo>
                  <a:pt x="267" y="44"/>
                  <a:pt x="266" y="44"/>
                  <a:pt x="266" y="44"/>
                </a:cubicBezTo>
                <a:cubicBezTo>
                  <a:pt x="265" y="44"/>
                  <a:pt x="265" y="44"/>
                  <a:pt x="265" y="44"/>
                </a:cubicBezTo>
                <a:cubicBezTo>
                  <a:pt x="265" y="44"/>
                  <a:pt x="264" y="44"/>
                  <a:pt x="264" y="44"/>
                </a:cubicBezTo>
                <a:cubicBezTo>
                  <a:pt x="264" y="44"/>
                  <a:pt x="263" y="44"/>
                  <a:pt x="263" y="44"/>
                </a:cubicBezTo>
                <a:cubicBezTo>
                  <a:pt x="39" y="44"/>
                  <a:pt x="39" y="44"/>
                  <a:pt x="39" y="44"/>
                </a:cubicBezTo>
                <a:cubicBezTo>
                  <a:pt x="32" y="13"/>
                  <a:pt x="32" y="13"/>
                  <a:pt x="32" y="13"/>
                </a:cubicBezTo>
                <a:cubicBezTo>
                  <a:pt x="29" y="5"/>
                  <a:pt x="21" y="0"/>
                  <a:pt x="13" y="2"/>
                </a:cubicBezTo>
                <a:cubicBezTo>
                  <a:pt x="5" y="5"/>
                  <a:pt x="0" y="13"/>
                  <a:pt x="2" y="21"/>
                </a:cubicBezTo>
                <a:cubicBezTo>
                  <a:pt x="62" y="255"/>
                  <a:pt x="62" y="255"/>
                  <a:pt x="62" y="255"/>
                </a:cubicBezTo>
                <a:cubicBezTo>
                  <a:pt x="63" y="255"/>
                  <a:pt x="63" y="256"/>
                  <a:pt x="63" y="256"/>
                </a:cubicBezTo>
                <a:cubicBezTo>
                  <a:pt x="63" y="256"/>
                  <a:pt x="63" y="257"/>
                  <a:pt x="63" y="257"/>
                </a:cubicBezTo>
                <a:cubicBezTo>
                  <a:pt x="64" y="258"/>
                  <a:pt x="64" y="259"/>
                  <a:pt x="65" y="259"/>
                </a:cubicBezTo>
                <a:cubicBezTo>
                  <a:pt x="65" y="259"/>
                  <a:pt x="65" y="259"/>
                  <a:pt x="65" y="259"/>
                </a:cubicBezTo>
                <a:cubicBezTo>
                  <a:pt x="65" y="260"/>
                  <a:pt x="66" y="261"/>
                  <a:pt x="66" y="261"/>
                </a:cubicBezTo>
                <a:cubicBezTo>
                  <a:pt x="66" y="262"/>
                  <a:pt x="67" y="262"/>
                  <a:pt x="67" y="262"/>
                </a:cubicBezTo>
                <a:cubicBezTo>
                  <a:pt x="67" y="262"/>
                  <a:pt x="68" y="263"/>
                  <a:pt x="68" y="263"/>
                </a:cubicBezTo>
                <a:cubicBezTo>
                  <a:pt x="69" y="263"/>
                  <a:pt x="69" y="264"/>
                  <a:pt x="69" y="264"/>
                </a:cubicBezTo>
                <a:cubicBezTo>
                  <a:pt x="70" y="264"/>
                  <a:pt x="70" y="264"/>
                  <a:pt x="71" y="265"/>
                </a:cubicBezTo>
                <a:cubicBezTo>
                  <a:pt x="71" y="265"/>
                  <a:pt x="71" y="265"/>
                  <a:pt x="72" y="265"/>
                </a:cubicBezTo>
                <a:cubicBezTo>
                  <a:pt x="72" y="265"/>
                  <a:pt x="72" y="265"/>
                  <a:pt x="72" y="265"/>
                </a:cubicBezTo>
                <a:cubicBezTo>
                  <a:pt x="77" y="258"/>
                  <a:pt x="86" y="254"/>
                  <a:pt x="95" y="254"/>
                </a:cubicBezTo>
                <a:cubicBezTo>
                  <a:pt x="105" y="254"/>
                  <a:pt x="113" y="259"/>
                  <a:pt x="119" y="266"/>
                </a:cubicBezTo>
                <a:cubicBezTo>
                  <a:pt x="187" y="266"/>
                  <a:pt x="187" y="266"/>
                  <a:pt x="187" y="266"/>
                </a:cubicBezTo>
                <a:cubicBezTo>
                  <a:pt x="193" y="259"/>
                  <a:pt x="201" y="254"/>
                  <a:pt x="211" y="254"/>
                </a:cubicBezTo>
                <a:cubicBezTo>
                  <a:pt x="221" y="254"/>
                  <a:pt x="229" y="259"/>
                  <a:pt x="235" y="266"/>
                </a:cubicBezTo>
                <a:cubicBezTo>
                  <a:pt x="242" y="265"/>
                  <a:pt x="248" y="259"/>
                  <a:pt x="248" y="251"/>
                </a:cubicBezTo>
                <a:cubicBezTo>
                  <a:pt x="248" y="243"/>
                  <a:pt x="241" y="236"/>
                  <a:pt x="233" y="236"/>
                </a:cubicBezTo>
                <a:cubicBezTo>
                  <a:pt x="89" y="236"/>
                  <a:pt x="89" y="236"/>
                  <a:pt x="89" y="236"/>
                </a:cubicBezTo>
                <a:cubicBezTo>
                  <a:pt x="74" y="179"/>
                  <a:pt x="74" y="179"/>
                  <a:pt x="74" y="179"/>
                </a:cubicBezTo>
                <a:cubicBezTo>
                  <a:pt x="248" y="179"/>
                  <a:pt x="248" y="179"/>
                  <a:pt x="248" y="179"/>
                </a:cubicBezTo>
                <a:cubicBezTo>
                  <a:pt x="248" y="179"/>
                  <a:pt x="248" y="179"/>
                  <a:pt x="248" y="179"/>
                </a:cubicBezTo>
                <a:cubicBezTo>
                  <a:pt x="249" y="179"/>
                  <a:pt x="250" y="179"/>
                  <a:pt x="251" y="179"/>
                </a:cubicBezTo>
                <a:cubicBezTo>
                  <a:pt x="251" y="179"/>
                  <a:pt x="251" y="179"/>
                  <a:pt x="252" y="178"/>
                </a:cubicBezTo>
                <a:cubicBezTo>
                  <a:pt x="252" y="178"/>
                  <a:pt x="253" y="178"/>
                  <a:pt x="254" y="178"/>
                </a:cubicBezTo>
                <a:cubicBezTo>
                  <a:pt x="254" y="178"/>
                  <a:pt x="254" y="178"/>
                  <a:pt x="255" y="177"/>
                </a:cubicBezTo>
                <a:cubicBezTo>
                  <a:pt x="255" y="177"/>
                  <a:pt x="256" y="177"/>
                  <a:pt x="256" y="177"/>
                </a:cubicBezTo>
                <a:cubicBezTo>
                  <a:pt x="256" y="176"/>
                  <a:pt x="257" y="176"/>
                  <a:pt x="257" y="176"/>
                </a:cubicBezTo>
                <a:cubicBezTo>
                  <a:pt x="257" y="176"/>
                  <a:pt x="258" y="175"/>
                  <a:pt x="258" y="175"/>
                </a:cubicBezTo>
                <a:cubicBezTo>
                  <a:pt x="259" y="175"/>
                  <a:pt x="259" y="174"/>
                  <a:pt x="259" y="174"/>
                </a:cubicBezTo>
                <a:cubicBezTo>
                  <a:pt x="259" y="174"/>
                  <a:pt x="260" y="173"/>
                  <a:pt x="260" y="173"/>
                </a:cubicBezTo>
                <a:cubicBezTo>
                  <a:pt x="260" y="173"/>
                  <a:pt x="261" y="172"/>
                  <a:pt x="261" y="172"/>
                </a:cubicBezTo>
                <a:cubicBezTo>
                  <a:pt x="261" y="171"/>
                  <a:pt x="261" y="171"/>
                  <a:pt x="261" y="170"/>
                </a:cubicBezTo>
                <a:cubicBezTo>
                  <a:pt x="262" y="170"/>
                  <a:pt x="262" y="170"/>
                  <a:pt x="262" y="169"/>
                </a:cubicBezTo>
                <a:cubicBezTo>
                  <a:pt x="262" y="169"/>
                  <a:pt x="262" y="168"/>
                  <a:pt x="262" y="168"/>
                </a:cubicBezTo>
                <a:cubicBezTo>
                  <a:pt x="263" y="167"/>
                  <a:pt x="263" y="167"/>
                  <a:pt x="263" y="167"/>
                </a:cubicBezTo>
                <a:cubicBezTo>
                  <a:pt x="263" y="166"/>
                  <a:pt x="263" y="166"/>
                  <a:pt x="263" y="166"/>
                </a:cubicBezTo>
                <a:cubicBezTo>
                  <a:pt x="278" y="61"/>
                  <a:pt x="278" y="61"/>
                  <a:pt x="278" y="61"/>
                </a:cubicBezTo>
                <a:cubicBezTo>
                  <a:pt x="278" y="61"/>
                  <a:pt x="278" y="60"/>
                  <a:pt x="278" y="60"/>
                </a:cubicBezTo>
                <a:cubicBezTo>
                  <a:pt x="278" y="60"/>
                  <a:pt x="278" y="59"/>
                  <a:pt x="278" y="59"/>
                </a:cubicBezTo>
                <a:cubicBezTo>
                  <a:pt x="278" y="59"/>
                  <a:pt x="278" y="59"/>
                  <a:pt x="278" y="59"/>
                </a:cubicBezTo>
                <a:close/>
                <a:moveTo>
                  <a:pt x="235" y="149"/>
                </a:moveTo>
                <a:cubicBezTo>
                  <a:pt x="66" y="149"/>
                  <a:pt x="66" y="149"/>
                  <a:pt x="66" y="149"/>
                </a:cubicBezTo>
                <a:cubicBezTo>
                  <a:pt x="61" y="126"/>
                  <a:pt x="61" y="126"/>
                  <a:pt x="61" y="126"/>
                </a:cubicBezTo>
                <a:cubicBezTo>
                  <a:pt x="238" y="126"/>
                  <a:pt x="238" y="126"/>
                  <a:pt x="238" y="126"/>
                </a:cubicBezTo>
                <a:lnTo>
                  <a:pt x="235" y="149"/>
                </a:lnTo>
                <a:close/>
                <a:moveTo>
                  <a:pt x="242" y="96"/>
                </a:moveTo>
                <a:cubicBezTo>
                  <a:pt x="53" y="96"/>
                  <a:pt x="53" y="96"/>
                  <a:pt x="53" y="96"/>
                </a:cubicBezTo>
                <a:cubicBezTo>
                  <a:pt x="47" y="74"/>
                  <a:pt x="47" y="74"/>
                  <a:pt x="47" y="74"/>
                </a:cubicBezTo>
                <a:cubicBezTo>
                  <a:pt x="246" y="74"/>
                  <a:pt x="246" y="74"/>
                  <a:pt x="246" y="74"/>
                </a:cubicBezTo>
                <a:lnTo>
                  <a:pt x="242" y="96"/>
                </a:lnTo>
                <a:close/>
                <a:moveTo>
                  <a:pt x="116" y="284"/>
                </a:moveTo>
                <a:cubicBezTo>
                  <a:pt x="116" y="296"/>
                  <a:pt x="107" y="305"/>
                  <a:pt x="95" y="305"/>
                </a:cubicBezTo>
                <a:cubicBezTo>
                  <a:pt x="83" y="305"/>
                  <a:pt x="74" y="296"/>
                  <a:pt x="74" y="284"/>
                </a:cubicBezTo>
                <a:cubicBezTo>
                  <a:pt x="74" y="272"/>
                  <a:pt x="83" y="263"/>
                  <a:pt x="95" y="263"/>
                </a:cubicBezTo>
                <a:cubicBezTo>
                  <a:pt x="107" y="263"/>
                  <a:pt x="116" y="272"/>
                  <a:pt x="116" y="284"/>
                </a:cubicBezTo>
                <a:close/>
                <a:moveTo>
                  <a:pt x="232" y="284"/>
                </a:moveTo>
                <a:cubicBezTo>
                  <a:pt x="232" y="296"/>
                  <a:pt x="223" y="305"/>
                  <a:pt x="211" y="305"/>
                </a:cubicBezTo>
                <a:cubicBezTo>
                  <a:pt x="200" y="305"/>
                  <a:pt x="190" y="296"/>
                  <a:pt x="190" y="284"/>
                </a:cubicBezTo>
                <a:cubicBezTo>
                  <a:pt x="190" y="272"/>
                  <a:pt x="200" y="263"/>
                  <a:pt x="211" y="263"/>
                </a:cubicBezTo>
                <a:cubicBezTo>
                  <a:pt x="223" y="263"/>
                  <a:pt x="232" y="272"/>
                  <a:pt x="232" y="2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1720" tIns="30860" rIns="61720" bIns="30860" numCol="1" anchor="t" anchorCtr="0" compatLnSpc="1">
            <a:prstTxWarp prst="textNoShape">
              <a:avLst/>
            </a:prstTxWarp>
          </a:bodyPr>
          <a:lstStyle/>
          <a:p>
            <a:pPr defTabSz="932559"/>
            <a:endParaRPr lang="en-US" sz="1199" dirty="0">
              <a:solidFill>
                <a:srgbClr val="FFFFFF"/>
              </a:solidFill>
            </a:endParaRPr>
          </a:p>
        </p:txBody>
      </p:sp>
      <p:pic>
        <p:nvPicPr>
          <p:cNvPr id="30" name="Picture 29"/>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9921022" y="4365161"/>
            <a:ext cx="607056" cy="708746"/>
          </a:xfrm>
          <a:prstGeom prst="rect">
            <a:avLst/>
          </a:prstGeom>
        </p:spPr>
      </p:pic>
      <p:pic>
        <p:nvPicPr>
          <p:cNvPr id="31" name="Picture 30"/>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7848197" y="5306224"/>
            <a:ext cx="518371" cy="536400"/>
          </a:xfrm>
          <a:prstGeom prst="rect">
            <a:avLst/>
          </a:prstGeom>
        </p:spPr>
      </p:pic>
      <p:pic>
        <p:nvPicPr>
          <p:cNvPr id="32" name="Picture 31"/>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6813957" y="1762237"/>
            <a:ext cx="255660" cy="630395"/>
          </a:xfrm>
          <a:prstGeom prst="rect">
            <a:avLst/>
          </a:prstGeom>
        </p:spPr>
      </p:pic>
      <p:pic>
        <p:nvPicPr>
          <p:cNvPr id="33" name="Picture 32"/>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6714818" y="3877862"/>
            <a:ext cx="636321" cy="507770"/>
          </a:xfrm>
          <a:prstGeom prst="rect">
            <a:avLst/>
          </a:prstGeom>
        </p:spPr>
      </p:pic>
      <p:pic>
        <p:nvPicPr>
          <p:cNvPr id="34" name="Picture 33"/>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7782389" y="3823634"/>
            <a:ext cx="565859" cy="621554"/>
          </a:xfrm>
          <a:prstGeom prst="rect">
            <a:avLst/>
          </a:prstGeom>
        </p:spPr>
      </p:pic>
      <p:pic>
        <p:nvPicPr>
          <p:cNvPr id="35" name="Picture 34"/>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8309401" y="1678816"/>
            <a:ext cx="406035" cy="410242"/>
          </a:xfrm>
          <a:prstGeom prst="rect">
            <a:avLst/>
          </a:prstGeom>
        </p:spPr>
      </p:pic>
      <p:pic>
        <p:nvPicPr>
          <p:cNvPr id="36" name="Picture 35"/>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9656696" y="1435307"/>
            <a:ext cx="1005430" cy="837858"/>
          </a:xfrm>
          <a:prstGeom prst="rect">
            <a:avLst/>
          </a:prstGeom>
        </p:spPr>
      </p:pic>
      <p:pic>
        <p:nvPicPr>
          <p:cNvPr id="37" name="Picture 7" descr="\\MAGNUM\Projects\Microsoft\Cloud Power FY12\Design\ICONS_PNG\New_Business_Requirements.png"/>
          <p:cNvPicPr>
            <a:picLocks noChangeAspect="1" noChangeArrowheads="1"/>
          </p:cNvPicPr>
          <p:nvPr/>
        </p:nvPicPr>
        <p:blipFill>
          <a:blip r:embed="rId16" cstate="print">
            <a:lum bright="100000"/>
            <a:extLst>
              <a:ext uri="{28A0092B-C50C-407E-A947-70E740481C1C}">
                <a14:useLocalDpi xmlns:a14="http://schemas.microsoft.com/office/drawing/2010/main"/>
              </a:ext>
            </a:extLst>
          </a:blip>
          <a:stretch>
            <a:fillRect/>
          </a:stretch>
        </p:blipFill>
        <p:spPr bwMode="auto">
          <a:xfrm>
            <a:off x="6642809" y="2935063"/>
            <a:ext cx="643014" cy="642847"/>
          </a:xfrm>
          <a:prstGeom prst="rect">
            <a:avLst/>
          </a:prstGeom>
          <a:noFill/>
        </p:spPr>
      </p:pic>
      <p:grpSp>
        <p:nvGrpSpPr>
          <p:cNvPr id="38" name="Group 37"/>
          <p:cNvGrpSpPr>
            <a:grpSpLocks noChangeAspect="1"/>
          </p:cNvGrpSpPr>
          <p:nvPr/>
        </p:nvGrpSpPr>
        <p:grpSpPr>
          <a:xfrm>
            <a:off x="7560029" y="3100527"/>
            <a:ext cx="803531" cy="572923"/>
            <a:chOff x="1919150" y="3044496"/>
            <a:chExt cx="666391" cy="475141"/>
          </a:xfrm>
        </p:grpSpPr>
        <p:sp>
          <p:nvSpPr>
            <p:cNvPr id="39" name="Round Same Side Corner Rectangle 11"/>
            <p:cNvSpPr/>
            <p:nvPr/>
          </p:nvSpPr>
          <p:spPr>
            <a:xfrm>
              <a:off x="1970085" y="3044496"/>
              <a:ext cx="564520" cy="361776"/>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algn="ctr" defTabSz="514372">
                <a:defRPr/>
              </a:pPr>
              <a:endParaRPr lang="en-US" sz="1049" kern="0">
                <a:solidFill>
                  <a:srgbClr val="FFFFFF"/>
                </a:solidFill>
                <a:latin typeface="Segoe"/>
              </a:endParaRPr>
            </a:p>
          </p:txBody>
        </p:sp>
        <p:sp>
          <p:nvSpPr>
            <p:cNvPr id="40" name="Trapezoid 12"/>
            <p:cNvSpPr/>
            <p:nvPr/>
          </p:nvSpPr>
          <p:spPr>
            <a:xfrm>
              <a:off x="1919150" y="3408078"/>
              <a:ext cx="666391" cy="84127"/>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algn="ctr" defTabSz="514372">
                <a:defRPr/>
              </a:pPr>
              <a:endParaRPr lang="en-US" sz="1049" kern="0">
                <a:solidFill>
                  <a:srgbClr val="FFFFFF"/>
                </a:solidFill>
                <a:latin typeface="Segoe"/>
              </a:endParaRPr>
            </a:p>
          </p:txBody>
        </p:sp>
        <p:sp>
          <p:nvSpPr>
            <p:cNvPr id="41" name="Rectangle 40"/>
            <p:cNvSpPr/>
            <p:nvPr/>
          </p:nvSpPr>
          <p:spPr>
            <a:xfrm>
              <a:off x="1919446" y="3492205"/>
              <a:ext cx="665798" cy="27432"/>
            </a:xfrm>
            <a:prstGeom prst="rect">
              <a:avLst/>
            </a:prstGeom>
            <a:solidFill>
              <a:srgbClr val="FFFFFF"/>
            </a:solidFill>
            <a:ln w="25400" cap="flat" cmpd="sng" algn="ctr">
              <a:noFill/>
              <a:prstDash val="solid"/>
            </a:ln>
            <a:effectLst/>
          </p:spPr>
          <p:txBody>
            <a:bodyPr rtlCol="0" anchor="ctr"/>
            <a:lstStyle/>
            <a:p>
              <a:pPr algn="ctr" defTabSz="514372">
                <a:defRPr/>
              </a:pPr>
              <a:endParaRPr lang="en-US" sz="1049" kern="0">
                <a:solidFill>
                  <a:srgbClr val="FFFFFF"/>
                </a:solidFill>
                <a:latin typeface="Segoe"/>
              </a:endParaRPr>
            </a:p>
          </p:txBody>
        </p:sp>
      </p:grpSp>
      <p:pic>
        <p:nvPicPr>
          <p:cNvPr id="42" name="Picture 7" descr="\\MAGNUM\Projects\Microsoft\Cloud Power FY12\Design\ICONS_PNG\Take_Off.png"/>
          <p:cNvPicPr>
            <a:picLocks noChangeAspect="1" noChangeArrowheads="1"/>
          </p:cNvPicPr>
          <p:nvPr/>
        </p:nvPicPr>
        <p:blipFill>
          <a:blip r:embed="rId17" cstate="print">
            <a:lum bright="100000"/>
            <a:extLst>
              <a:ext uri="{28A0092B-C50C-407E-A947-70E740481C1C}">
                <a14:useLocalDpi xmlns:a14="http://schemas.microsoft.com/office/drawing/2010/main"/>
              </a:ext>
            </a:extLst>
          </a:blip>
          <a:srcRect/>
          <a:stretch>
            <a:fillRect/>
          </a:stretch>
        </p:blipFill>
        <p:spPr bwMode="auto">
          <a:xfrm flipH="1">
            <a:off x="8352515" y="3401572"/>
            <a:ext cx="1028821" cy="1028554"/>
          </a:xfrm>
          <a:prstGeom prst="rect">
            <a:avLst/>
          </a:prstGeom>
          <a:noFill/>
        </p:spPr>
      </p:pic>
      <p:pic>
        <p:nvPicPr>
          <p:cNvPr id="43" name="Picture 5" descr="\\MAGNUM\Projects\Microsoft\Cloud Power FY12\Design\Icons\PNGs\Truck.png"/>
          <p:cNvPicPr>
            <a:picLocks noChangeAspect="1" noChangeArrowheads="1"/>
          </p:cNvPicPr>
          <p:nvPr/>
        </p:nvPicPr>
        <p:blipFill>
          <a:blip r:embed="rId18" cstate="print">
            <a:lum bright="100000"/>
            <a:extLst>
              <a:ext uri="{28A0092B-C50C-407E-A947-70E740481C1C}">
                <a14:useLocalDpi xmlns:a14="http://schemas.microsoft.com/office/drawing/2010/main"/>
              </a:ext>
            </a:extLst>
          </a:blip>
          <a:stretch>
            <a:fillRect/>
          </a:stretch>
        </p:blipFill>
        <p:spPr bwMode="auto">
          <a:xfrm>
            <a:off x="8675322" y="1543394"/>
            <a:ext cx="1028821" cy="1028554"/>
          </a:xfrm>
          <a:prstGeom prst="rect">
            <a:avLst/>
          </a:prstGeom>
          <a:noFill/>
        </p:spPr>
      </p:pic>
      <p:pic>
        <p:nvPicPr>
          <p:cNvPr id="44" name="Picture 7" descr="\\MAGNUM\Projects\Microsoft\Cloud Power FY12\Design\Icons\PNGs\Pooled.png"/>
          <p:cNvPicPr>
            <a:picLocks noChangeAspect="1" noChangeArrowheads="1"/>
          </p:cNvPicPr>
          <p:nvPr/>
        </p:nvPicPr>
        <p:blipFill>
          <a:blip r:embed="rId19" cstate="print">
            <a:lum bright="100000"/>
            <a:extLst>
              <a:ext uri="{28A0092B-C50C-407E-A947-70E740481C1C}">
                <a14:useLocalDpi xmlns:a14="http://schemas.microsoft.com/office/drawing/2010/main"/>
              </a:ext>
            </a:extLst>
          </a:blip>
          <a:stretch>
            <a:fillRect/>
          </a:stretch>
        </p:blipFill>
        <p:spPr bwMode="auto">
          <a:xfrm>
            <a:off x="9340328" y="3455086"/>
            <a:ext cx="1107703" cy="1107415"/>
          </a:xfrm>
          <a:prstGeom prst="rect">
            <a:avLst/>
          </a:prstGeom>
          <a:noFill/>
        </p:spPr>
      </p:pic>
      <p:sp>
        <p:nvSpPr>
          <p:cNvPr id="45" name="Text Placeholder 1"/>
          <p:cNvSpPr txBox="1">
            <a:spLocks/>
          </p:cNvSpPr>
          <p:nvPr/>
        </p:nvSpPr>
        <p:spPr>
          <a:xfrm>
            <a:off x="1803917" y="952817"/>
            <a:ext cx="4396616" cy="5514306"/>
          </a:xfrm>
          <a:prstGeom prst="rect">
            <a:avLst/>
          </a:prstGeom>
        </p:spPr>
        <p:txBody>
          <a:bodyPr vert="horz" wrap="square" lIns="0" tIns="0" rIns="0" bIns="0" rtlCol="0">
            <a:spAutoFit/>
          </a:bodyPr>
          <a:lstStyle>
            <a:lvl1pPr marL="0" marR="0" indent="0" algn="l" defTabSz="685955" rtl="0" eaLnBrk="1" fontAlgn="auto" latinLnBrk="0" hangingPunct="1">
              <a:lnSpc>
                <a:spcPct val="90000"/>
              </a:lnSpc>
              <a:spcBef>
                <a:spcPts val="1800"/>
              </a:spcBef>
              <a:spcAft>
                <a:spcPts val="0"/>
              </a:spcAft>
              <a:buClrTx/>
              <a:buSzPct val="90000"/>
              <a:buFont typeface="Arial" pitchFamily="34" charset="0"/>
              <a:buNone/>
              <a:tabLst/>
              <a:defRPr sz="3001" kern="1200" spc="-53" baseline="0">
                <a:gradFill>
                  <a:gsLst>
                    <a:gs pos="100000">
                      <a:schemeClr val="tx2"/>
                    </a:gs>
                    <a:gs pos="0">
                      <a:schemeClr val="tx2"/>
                    </a:gs>
                  </a:gsLst>
                  <a:lin ang="5400000" scaled="0"/>
                </a:gradFill>
                <a:latin typeface="+mj-lt"/>
                <a:ea typeface="+mn-ea"/>
                <a:cs typeface="+mn-cs"/>
              </a:defRPr>
            </a:lvl1pPr>
            <a:lvl2pPr marL="0" marR="0" indent="0" algn="l" defTabSz="685955" rtl="0" eaLnBrk="1" fontAlgn="auto" latinLnBrk="0" hangingPunct="1">
              <a:lnSpc>
                <a:spcPct val="90000"/>
              </a:lnSpc>
              <a:spcBef>
                <a:spcPct val="20000"/>
              </a:spcBef>
              <a:spcAft>
                <a:spcPts val="0"/>
              </a:spcAft>
              <a:buClrTx/>
              <a:buSzPct val="90000"/>
              <a:buFont typeface="Wingdings" pitchFamily="2" charset="2"/>
              <a:buNone/>
              <a:tabLst/>
              <a:defRPr sz="1500" kern="1200" spc="0" baseline="0">
                <a:gradFill>
                  <a:gsLst>
                    <a:gs pos="100000">
                      <a:schemeClr val="tx1"/>
                    </a:gs>
                    <a:gs pos="6000">
                      <a:schemeClr val="tx1"/>
                    </a:gs>
                  </a:gsLst>
                  <a:lin ang="5400000" scaled="0"/>
                </a:gradFill>
                <a:latin typeface="+mn-lt"/>
                <a:ea typeface="+mn-ea"/>
                <a:cs typeface="+mn-cs"/>
              </a:defRPr>
            </a:lvl2pPr>
            <a:lvl3pPr marL="173878" marR="0" indent="0" algn="l" defTabSz="685955" rtl="0" eaLnBrk="1" fontAlgn="auto" latinLnBrk="0" hangingPunct="1">
              <a:lnSpc>
                <a:spcPct val="90000"/>
              </a:lnSpc>
              <a:spcBef>
                <a:spcPct val="20000"/>
              </a:spcBef>
              <a:spcAft>
                <a:spcPts val="0"/>
              </a:spcAft>
              <a:buClrTx/>
              <a:buSzPct val="90000"/>
              <a:buFont typeface="Wingdings" pitchFamily="2" charset="2"/>
              <a:buNone/>
              <a:tabLst>
                <a:tab pos="599044" algn="l"/>
              </a:tabLst>
              <a:defRPr sz="1500" kern="1200" spc="0" baseline="0">
                <a:gradFill>
                  <a:gsLst>
                    <a:gs pos="100000">
                      <a:schemeClr val="tx1"/>
                    </a:gs>
                    <a:gs pos="6000">
                      <a:schemeClr val="tx1"/>
                    </a:gs>
                  </a:gsLst>
                  <a:lin ang="5400000" scaled="0"/>
                </a:gradFill>
                <a:latin typeface="+mn-lt"/>
                <a:ea typeface="+mn-ea"/>
                <a:cs typeface="+mn-cs"/>
              </a:defRPr>
            </a:lvl3pPr>
            <a:lvl4pPr marL="342991" marR="0" indent="0" algn="l" defTabSz="685955" rtl="0" eaLnBrk="1" fontAlgn="auto" latinLnBrk="0" hangingPunct="1">
              <a:lnSpc>
                <a:spcPct val="90000"/>
              </a:lnSpc>
              <a:spcBef>
                <a:spcPct val="20000"/>
              </a:spcBef>
              <a:spcAft>
                <a:spcPts val="0"/>
              </a:spcAft>
              <a:buClrTx/>
              <a:buSzPct val="90000"/>
              <a:buFont typeface="Wingdings" pitchFamily="2" charset="2"/>
              <a:buNone/>
              <a:tabLst/>
              <a:defRPr sz="1500" kern="1200" spc="0" baseline="0">
                <a:gradFill>
                  <a:gsLst>
                    <a:gs pos="100000">
                      <a:schemeClr val="tx1"/>
                    </a:gs>
                    <a:gs pos="6000">
                      <a:schemeClr val="tx1"/>
                    </a:gs>
                  </a:gsLst>
                  <a:lin ang="5400000" scaled="0"/>
                </a:gradFill>
                <a:latin typeface="+mn-lt"/>
                <a:ea typeface="+mn-ea"/>
                <a:cs typeface="+mn-cs"/>
              </a:defRPr>
            </a:lvl4pPr>
            <a:lvl5pPr marL="520442" marR="0" indent="0" algn="l" defTabSz="685955" rtl="0" eaLnBrk="1" fontAlgn="auto" latinLnBrk="0" hangingPunct="1">
              <a:lnSpc>
                <a:spcPct val="90000"/>
              </a:lnSpc>
              <a:spcBef>
                <a:spcPct val="20000"/>
              </a:spcBef>
              <a:spcAft>
                <a:spcPts val="0"/>
              </a:spcAft>
              <a:buClrTx/>
              <a:buSzPct val="90000"/>
              <a:buFont typeface="Wingdings" pitchFamily="2" charset="2"/>
              <a:buNone/>
              <a:tabLst>
                <a:tab pos="942036" algn="l"/>
              </a:tabLst>
              <a:defRPr sz="1500" kern="1200" spc="0" baseline="0">
                <a:gradFill>
                  <a:gsLst>
                    <a:gs pos="100000">
                      <a:schemeClr val="tx1"/>
                    </a:gs>
                    <a:gs pos="6000">
                      <a:schemeClr val="tx1"/>
                    </a:gs>
                  </a:gsLst>
                  <a:lin ang="5400000" scaled="0"/>
                </a:gradFill>
                <a:latin typeface="+mn-lt"/>
                <a:ea typeface="+mn-ea"/>
                <a:cs typeface="+mn-cs"/>
              </a:defRPr>
            </a:lvl5pPr>
            <a:lvl6pPr marL="1886377"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355"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333"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311"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2856" dirty="0">
                <a:gradFill>
                  <a:gsLst>
                    <a:gs pos="100000">
                      <a:srgbClr val="61DDFF"/>
                    </a:gs>
                    <a:gs pos="0">
                      <a:srgbClr val="61DDFF"/>
                    </a:gs>
                  </a:gsLst>
                  <a:lin ang="5400000" scaled="0"/>
                </a:gradFill>
              </a:rPr>
              <a:t>Firmware/Software Delivery</a:t>
            </a:r>
          </a:p>
          <a:p>
            <a:r>
              <a:rPr lang="en-US" sz="2856" dirty="0">
                <a:gradFill>
                  <a:gsLst>
                    <a:gs pos="100000">
                      <a:srgbClr val="61DDFF"/>
                    </a:gs>
                    <a:gs pos="0">
                      <a:srgbClr val="61DDFF"/>
                    </a:gs>
                  </a:gsLst>
                  <a:lin ang="5400000" scaled="0"/>
                </a:gradFill>
              </a:rPr>
              <a:t>Insight Delivery</a:t>
            </a:r>
          </a:p>
          <a:p>
            <a:r>
              <a:rPr lang="en-US" sz="2856" dirty="0">
                <a:gradFill>
                  <a:gsLst>
                    <a:gs pos="100000">
                      <a:srgbClr val="61DDFF"/>
                    </a:gs>
                    <a:gs pos="0">
                      <a:srgbClr val="61DDFF"/>
                    </a:gs>
                  </a:gsLst>
                  <a:lin ang="5400000" scaled="0"/>
                </a:gradFill>
              </a:rPr>
              <a:t>Dashboards &amp; Remote </a:t>
            </a:r>
            <a:r>
              <a:rPr lang="en-US" sz="2856" dirty="0" err="1">
                <a:gradFill>
                  <a:gsLst>
                    <a:gs pos="100000">
                      <a:srgbClr val="61DDFF"/>
                    </a:gs>
                    <a:gs pos="0">
                      <a:srgbClr val="61DDFF"/>
                    </a:gs>
                  </a:gsLst>
                  <a:lin ang="5400000" scaled="0"/>
                </a:gradFill>
              </a:rPr>
              <a:t>Mgmt</a:t>
            </a:r>
            <a:endParaRPr lang="en-US" sz="2856" dirty="0">
              <a:gradFill>
                <a:gsLst>
                  <a:gs pos="100000">
                    <a:srgbClr val="61DDFF"/>
                  </a:gs>
                  <a:gs pos="0">
                    <a:srgbClr val="61DDFF"/>
                  </a:gs>
                </a:gsLst>
                <a:lin ang="5400000" scaled="0"/>
              </a:gradFill>
            </a:endParaRPr>
          </a:p>
          <a:p>
            <a:r>
              <a:rPr lang="en-US" sz="2856" dirty="0">
                <a:gradFill>
                  <a:gsLst>
                    <a:gs pos="100000">
                      <a:srgbClr val="61DDFF"/>
                    </a:gs>
                    <a:gs pos="0">
                      <a:srgbClr val="61DDFF"/>
                    </a:gs>
                  </a:gsLst>
                  <a:lin ang="5400000" scaled="0"/>
                </a:gradFill>
              </a:rPr>
              <a:t>Device to Infrastructure</a:t>
            </a:r>
          </a:p>
          <a:p>
            <a:r>
              <a:rPr lang="en-US" sz="2856" dirty="0">
                <a:gradFill>
                  <a:gsLst>
                    <a:gs pos="100000">
                      <a:srgbClr val="61DDFF"/>
                    </a:gs>
                    <a:gs pos="0">
                      <a:srgbClr val="61DDFF"/>
                    </a:gs>
                  </a:gsLst>
                  <a:lin ang="5400000" scaled="0"/>
                </a:gradFill>
              </a:rPr>
              <a:t>Geo-Tracking</a:t>
            </a:r>
          </a:p>
          <a:p>
            <a:r>
              <a:rPr lang="en-US" sz="2856" dirty="0">
                <a:gradFill>
                  <a:gsLst>
                    <a:gs pos="100000">
                      <a:srgbClr val="61DDFF"/>
                    </a:gs>
                    <a:gs pos="0">
                      <a:srgbClr val="61DDFF"/>
                    </a:gs>
                  </a:gsLst>
                  <a:lin ang="5400000" scaled="0"/>
                </a:gradFill>
              </a:rPr>
              <a:t>Media Delivery &amp; Playback</a:t>
            </a:r>
          </a:p>
          <a:p>
            <a:r>
              <a:rPr lang="en-US" sz="2856" dirty="0">
                <a:gradFill>
                  <a:gsLst>
                    <a:gs pos="100000">
                      <a:srgbClr val="61DDFF"/>
                    </a:gs>
                    <a:gs pos="0">
                      <a:srgbClr val="61DDFF"/>
                    </a:gs>
                  </a:gsLst>
                  <a:lin ang="5400000" scaled="0"/>
                </a:gradFill>
              </a:rPr>
              <a:t>Fitness/Health</a:t>
            </a:r>
          </a:p>
          <a:p>
            <a:r>
              <a:rPr lang="en-US" sz="2856" dirty="0">
                <a:gradFill>
                  <a:gsLst>
                    <a:gs pos="100000">
                      <a:srgbClr val="61DDFF"/>
                    </a:gs>
                    <a:gs pos="0">
                      <a:srgbClr val="61DDFF"/>
                    </a:gs>
                  </a:gsLst>
                  <a:lin ang="5400000" scaled="0"/>
                </a:gradFill>
              </a:rPr>
              <a:t>Connected Operations</a:t>
            </a:r>
          </a:p>
          <a:p>
            <a:r>
              <a:rPr lang="en-US" sz="2856" dirty="0">
                <a:gradFill>
                  <a:gsLst>
                    <a:gs pos="100000">
                      <a:srgbClr val="61DDFF"/>
                    </a:gs>
                    <a:gs pos="0">
                      <a:srgbClr val="61DDFF"/>
                    </a:gs>
                  </a:gsLst>
                  <a:lin ang="5400000" scaled="0"/>
                </a:gradFill>
              </a:rPr>
              <a:t>Connected Vehicles</a:t>
            </a:r>
          </a:p>
        </p:txBody>
      </p:sp>
    </p:spTree>
    <p:extLst>
      <p:ext uri="{BB962C8B-B14F-4D97-AF65-F5344CB8AC3E}">
        <p14:creationId xmlns:p14="http://schemas.microsoft.com/office/powerpoint/2010/main" val="3485478597"/>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6215650" y="909016"/>
            <a:ext cx="4585940" cy="6061836"/>
          </a:xfrm>
          <a:prstGeom prst="rect">
            <a:avLst/>
          </a:prstGeom>
          <a:solidFill>
            <a:schemeClr val="tx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3" rIns="0" bIns="34973" numCol="1" rtlCol="0" anchor="ctr" anchorCtr="0" compatLnSpc="1">
            <a:prstTxWarp prst="textNoShape">
              <a:avLst/>
            </a:prstTxWarp>
          </a:bodyPr>
          <a:lstStyle/>
          <a:p>
            <a:pPr algn="ctr" defTabSz="699291"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4" name="Rectangle 3"/>
          <p:cNvSpPr/>
          <p:nvPr/>
        </p:nvSpPr>
        <p:spPr bwMode="auto">
          <a:xfrm>
            <a:off x="6219125" y="1210036"/>
            <a:ext cx="4585940" cy="4757426"/>
          </a:xfrm>
          <a:prstGeom prst="rect">
            <a:avLst/>
          </a:prstGeom>
          <a:solidFill>
            <a:schemeClr val="tx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3" rIns="0" bIns="34973" numCol="1" rtlCol="0" anchor="ctr" anchorCtr="0" compatLnSpc="1">
            <a:prstTxWarp prst="textNoShape">
              <a:avLst/>
            </a:prstTxWarp>
          </a:bodyPr>
          <a:lstStyle/>
          <a:p>
            <a:pPr algn="ctr" defTabSz="699291" fontAlgn="base">
              <a:spcBef>
                <a:spcPct val="0"/>
              </a:spcBef>
              <a:spcAft>
                <a:spcPct val="0"/>
              </a:spcAft>
            </a:pPr>
            <a:endParaRPr lang="en-US" sz="1500" dirty="0">
              <a:gradFill>
                <a:gsLst>
                  <a:gs pos="0">
                    <a:srgbClr val="FFFFFF"/>
                  </a:gs>
                  <a:gs pos="100000">
                    <a:srgbClr val="FFFFFF"/>
                  </a:gs>
                </a:gsLst>
                <a:lin ang="5400000" scaled="0"/>
              </a:gradFill>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69254" y="1339310"/>
            <a:ext cx="1894016" cy="1221314"/>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39635" y="1352617"/>
            <a:ext cx="2193708" cy="1232133"/>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79689" y="2896158"/>
            <a:ext cx="1894016" cy="1192790"/>
          </a:xfrm>
          <a:prstGeom prst="rect">
            <a:avLst/>
          </a:prstGeom>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394092" y="2864329"/>
            <a:ext cx="2213185" cy="1192790"/>
          </a:xfrm>
          <a:prstGeom prst="rect">
            <a:avLst/>
          </a:prstGeom>
        </p:spPr>
      </p:pic>
      <p:pic>
        <p:nvPicPr>
          <p:cNvPr id="9" name="Picture 8"/>
          <p:cNvPicPr>
            <a:picLocks noChangeAspect="1"/>
          </p:cNvPicPr>
          <p:nvPr/>
        </p:nvPicPr>
        <p:blipFill>
          <a:blip r:embed="rId6"/>
          <a:stretch>
            <a:fillRect/>
          </a:stretch>
        </p:blipFill>
        <p:spPr>
          <a:xfrm>
            <a:off x="8439636" y="4299991"/>
            <a:ext cx="1382636" cy="2003006"/>
          </a:xfrm>
          <a:prstGeom prst="rect">
            <a:avLst/>
          </a:prstGeom>
        </p:spPr>
      </p:pic>
      <p:pic>
        <p:nvPicPr>
          <p:cNvPr id="10" name="Picture 9"/>
          <p:cNvPicPr>
            <a:picLocks noChangeAspect="1"/>
          </p:cNvPicPr>
          <p:nvPr/>
        </p:nvPicPr>
        <p:blipFill>
          <a:blip r:embed="rId7"/>
          <a:stretch>
            <a:fillRect/>
          </a:stretch>
        </p:blipFill>
        <p:spPr>
          <a:xfrm>
            <a:off x="6709694" y="4299991"/>
            <a:ext cx="1568449" cy="2003006"/>
          </a:xfrm>
          <a:prstGeom prst="rect">
            <a:avLst/>
          </a:prstGeom>
        </p:spPr>
      </p:pic>
      <p:sp>
        <p:nvSpPr>
          <p:cNvPr id="12" name="Rectangle 11"/>
          <p:cNvSpPr/>
          <p:nvPr/>
        </p:nvSpPr>
        <p:spPr bwMode="auto">
          <a:xfrm>
            <a:off x="1711408" y="1545571"/>
            <a:ext cx="4679683" cy="492849"/>
          </a:xfrm>
          <a:prstGeom prst="rect">
            <a:avLst/>
          </a:prstGeom>
          <a:solidFill>
            <a:schemeClr val="tx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3" rIns="0" bIns="34973" numCol="1" rtlCol="0" anchor="ctr" anchorCtr="0" compatLnSpc="1">
            <a:prstTxWarp prst="textNoShape">
              <a:avLst/>
            </a:prstTxWarp>
          </a:bodyPr>
          <a:lstStyle/>
          <a:p>
            <a:pPr algn="ctr" defTabSz="699291"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14" name="Text Placeholder 1"/>
          <p:cNvSpPr txBox="1">
            <a:spLocks/>
          </p:cNvSpPr>
          <p:nvPr/>
        </p:nvSpPr>
        <p:spPr>
          <a:xfrm>
            <a:off x="1803917" y="952816"/>
            <a:ext cx="4396616" cy="6153165"/>
          </a:xfrm>
          <a:prstGeom prst="rect">
            <a:avLst/>
          </a:prstGeom>
        </p:spPr>
        <p:txBody>
          <a:bodyPr vert="horz" wrap="square" lIns="0" tIns="0" rIns="0" bIns="0" rtlCol="0">
            <a:spAutoFit/>
          </a:bodyPr>
          <a:lstStyle>
            <a:lvl1pPr marL="0" marR="0" indent="0" algn="l" defTabSz="685955" rtl="0" eaLnBrk="1" fontAlgn="auto" latinLnBrk="0" hangingPunct="1">
              <a:lnSpc>
                <a:spcPct val="90000"/>
              </a:lnSpc>
              <a:spcBef>
                <a:spcPts val="1800"/>
              </a:spcBef>
              <a:spcAft>
                <a:spcPts val="0"/>
              </a:spcAft>
              <a:buClrTx/>
              <a:buSzPct val="90000"/>
              <a:buFont typeface="Arial" pitchFamily="34" charset="0"/>
              <a:buNone/>
              <a:tabLst/>
              <a:defRPr sz="3001" kern="1200" spc="-53" baseline="0">
                <a:gradFill>
                  <a:gsLst>
                    <a:gs pos="100000">
                      <a:schemeClr val="tx2"/>
                    </a:gs>
                    <a:gs pos="0">
                      <a:schemeClr val="tx2"/>
                    </a:gs>
                  </a:gsLst>
                  <a:lin ang="5400000" scaled="0"/>
                </a:gradFill>
                <a:latin typeface="+mj-lt"/>
                <a:ea typeface="+mn-ea"/>
                <a:cs typeface="+mn-cs"/>
              </a:defRPr>
            </a:lvl1pPr>
            <a:lvl2pPr marL="0" marR="0" indent="0" algn="l" defTabSz="685955" rtl="0" eaLnBrk="1" fontAlgn="auto" latinLnBrk="0" hangingPunct="1">
              <a:lnSpc>
                <a:spcPct val="90000"/>
              </a:lnSpc>
              <a:spcBef>
                <a:spcPct val="20000"/>
              </a:spcBef>
              <a:spcAft>
                <a:spcPts val="0"/>
              </a:spcAft>
              <a:buClrTx/>
              <a:buSzPct val="90000"/>
              <a:buFont typeface="Wingdings" pitchFamily="2" charset="2"/>
              <a:buNone/>
              <a:tabLst/>
              <a:defRPr sz="1500" kern="1200" spc="0" baseline="0">
                <a:gradFill>
                  <a:gsLst>
                    <a:gs pos="100000">
                      <a:schemeClr val="tx1"/>
                    </a:gs>
                    <a:gs pos="6000">
                      <a:schemeClr val="tx1"/>
                    </a:gs>
                  </a:gsLst>
                  <a:lin ang="5400000" scaled="0"/>
                </a:gradFill>
                <a:latin typeface="+mn-lt"/>
                <a:ea typeface="+mn-ea"/>
                <a:cs typeface="+mn-cs"/>
              </a:defRPr>
            </a:lvl2pPr>
            <a:lvl3pPr marL="173878" marR="0" indent="0" algn="l" defTabSz="685955" rtl="0" eaLnBrk="1" fontAlgn="auto" latinLnBrk="0" hangingPunct="1">
              <a:lnSpc>
                <a:spcPct val="90000"/>
              </a:lnSpc>
              <a:spcBef>
                <a:spcPct val="20000"/>
              </a:spcBef>
              <a:spcAft>
                <a:spcPts val="0"/>
              </a:spcAft>
              <a:buClrTx/>
              <a:buSzPct val="90000"/>
              <a:buFont typeface="Wingdings" pitchFamily="2" charset="2"/>
              <a:buNone/>
              <a:tabLst>
                <a:tab pos="599044" algn="l"/>
              </a:tabLst>
              <a:defRPr sz="1500" kern="1200" spc="0" baseline="0">
                <a:gradFill>
                  <a:gsLst>
                    <a:gs pos="100000">
                      <a:schemeClr val="tx1"/>
                    </a:gs>
                    <a:gs pos="6000">
                      <a:schemeClr val="tx1"/>
                    </a:gs>
                  </a:gsLst>
                  <a:lin ang="5400000" scaled="0"/>
                </a:gradFill>
                <a:latin typeface="+mn-lt"/>
                <a:ea typeface="+mn-ea"/>
                <a:cs typeface="+mn-cs"/>
              </a:defRPr>
            </a:lvl3pPr>
            <a:lvl4pPr marL="342991" marR="0" indent="0" algn="l" defTabSz="685955" rtl="0" eaLnBrk="1" fontAlgn="auto" latinLnBrk="0" hangingPunct="1">
              <a:lnSpc>
                <a:spcPct val="90000"/>
              </a:lnSpc>
              <a:spcBef>
                <a:spcPct val="20000"/>
              </a:spcBef>
              <a:spcAft>
                <a:spcPts val="0"/>
              </a:spcAft>
              <a:buClrTx/>
              <a:buSzPct val="90000"/>
              <a:buFont typeface="Wingdings" pitchFamily="2" charset="2"/>
              <a:buNone/>
              <a:tabLst/>
              <a:defRPr sz="1500" kern="1200" spc="0" baseline="0">
                <a:gradFill>
                  <a:gsLst>
                    <a:gs pos="100000">
                      <a:schemeClr val="tx1"/>
                    </a:gs>
                    <a:gs pos="6000">
                      <a:schemeClr val="tx1"/>
                    </a:gs>
                  </a:gsLst>
                  <a:lin ang="5400000" scaled="0"/>
                </a:gradFill>
                <a:latin typeface="+mn-lt"/>
                <a:ea typeface="+mn-ea"/>
                <a:cs typeface="+mn-cs"/>
              </a:defRPr>
            </a:lvl4pPr>
            <a:lvl5pPr marL="520442" marR="0" indent="0" algn="l" defTabSz="685955" rtl="0" eaLnBrk="1" fontAlgn="auto" latinLnBrk="0" hangingPunct="1">
              <a:lnSpc>
                <a:spcPct val="90000"/>
              </a:lnSpc>
              <a:spcBef>
                <a:spcPct val="20000"/>
              </a:spcBef>
              <a:spcAft>
                <a:spcPts val="0"/>
              </a:spcAft>
              <a:buClrTx/>
              <a:buSzPct val="90000"/>
              <a:buFont typeface="Wingdings" pitchFamily="2" charset="2"/>
              <a:buNone/>
              <a:tabLst>
                <a:tab pos="942036" algn="l"/>
              </a:tabLst>
              <a:defRPr sz="1500" kern="1200" spc="0" baseline="0">
                <a:gradFill>
                  <a:gsLst>
                    <a:gs pos="100000">
                      <a:schemeClr val="tx1"/>
                    </a:gs>
                    <a:gs pos="6000">
                      <a:schemeClr val="tx1"/>
                    </a:gs>
                  </a:gsLst>
                  <a:lin ang="5400000" scaled="0"/>
                </a:gradFill>
                <a:latin typeface="+mn-lt"/>
                <a:ea typeface="+mn-ea"/>
                <a:cs typeface="+mn-cs"/>
              </a:defRPr>
            </a:lvl5pPr>
            <a:lvl6pPr marL="1886377"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355"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333"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311"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2856" dirty="0">
                <a:gradFill>
                  <a:gsLst>
                    <a:gs pos="100000">
                      <a:srgbClr val="61DDFF"/>
                    </a:gs>
                    <a:gs pos="0">
                      <a:srgbClr val="61DDFF"/>
                    </a:gs>
                  </a:gsLst>
                  <a:lin ang="5400000" scaled="0"/>
                </a:gradFill>
              </a:rPr>
              <a:t>Firmware/Software Delivery</a:t>
            </a:r>
          </a:p>
          <a:p>
            <a:r>
              <a:rPr lang="en-US" sz="2856" dirty="0">
                <a:gradFill>
                  <a:gsLst>
                    <a:gs pos="100000">
                      <a:srgbClr val="61DDFF"/>
                    </a:gs>
                    <a:gs pos="0">
                      <a:srgbClr val="61DDFF"/>
                    </a:gs>
                  </a:gsLst>
                  <a:lin ang="5400000" scaled="0"/>
                </a:gradFill>
              </a:rPr>
              <a:t>Insight Delivery</a:t>
            </a:r>
          </a:p>
          <a:p>
            <a:r>
              <a:rPr lang="en-US" sz="2856" dirty="0">
                <a:gradFill>
                  <a:gsLst>
                    <a:gs pos="100000">
                      <a:srgbClr val="61DDFF"/>
                    </a:gs>
                    <a:gs pos="0">
                      <a:srgbClr val="61DDFF"/>
                    </a:gs>
                  </a:gsLst>
                  <a:lin ang="5400000" scaled="0"/>
                </a:gradFill>
              </a:rPr>
              <a:t>Dashboards &amp; Remote </a:t>
            </a:r>
            <a:r>
              <a:rPr lang="en-US" sz="2856" dirty="0" err="1">
                <a:gradFill>
                  <a:gsLst>
                    <a:gs pos="100000">
                      <a:srgbClr val="61DDFF"/>
                    </a:gs>
                    <a:gs pos="0">
                      <a:srgbClr val="61DDFF"/>
                    </a:gs>
                  </a:gsLst>
                  <a:lin ang="5400000" scaled="0"/>
                </a:gradFill>
              </a:rPr>
              <a:t>Mgmt</a:t>
            </a:r>
            <a:endParaRPr lang="en-US" sz="2856" dirty="0">
              <a:gradFill>
                <a:gsLst>
                  <a:gs pos="100000">
                    <a:srgbClr val="61DDFF"/>
                  </a:gs>
                  <a:gs pos="0">
                    <a:srgbClr val="61DDFF"/>
                  </a:gs>
                </a:gsLst>
                <a:lin ang="5400000" scaled="0"/>
              </a:gradFill>
            </a:endParaRPr>
          </a:p>
          <a:p>
            <a:r>
              <a:rPr lang="en-US" sz="2856" dirty="0">
                <a:gradFill>
                  <a:gsLst>
                    <a:gs pos="100000">
                      <a:srgbClr val="61DDFF"/>
                    </a:gs>
                    <a:gs pos="0">
                      <a:srgbClr val="61DDFF"/>
                    </a:gs>
                  </a:gsLst>
                  <a:lin ang="5400000" scaled="0"/>
                </a:gradFill>
              </a:rPr>
              <a:t>Device to Infrastructure</a:t>
            </a:r>
          </a:p>
          <a:p>
            <a:r>
              <a:rPr lang="en-US" sz="2856" dirty="0">
                <a:gradFill>
                  <a:gsLst>
                    <a:gs pos="100000">
                      <a:srgbClr val="61DDFF"/>
                    </a:gs>
                    <a:gs pos="0">
                      <a:srgbClr val="61DDFF"/>
                    </a:gs>
                  </a:gsLst>
                  <a:lin ang="5400000" scaled="0"/>
                </a:gradFill>
              </a:rPr>
              <a:t>Geo-Tracking</a:t>
            </a:r>
          </a:p>
          <a:p>
            <a:r>
              <a:rPr lang="en-US" sz="2856" dirty="0">
                <a:gradFill>
                  <a:gsLst>
                    <a:gs pos="100000">
                      <a:srgbClr val="61DDFF"/>
                    </a:gs>
                    <a:gs pos="0">
                      <a:srgbClr val="61DDFF"/>
                    </a:gs>
                  </a:gsLst>
                  <a:lin ang="5400000" scaled="0"/>
                </a:gradFill>
              </a:rPr>
              <a:t>Media Delivery &amp; Playback</a:t>
            </a:r>
          </a:p>
          <a:p>
            <a:r>
              <a:rPr lang="en-US" sz="2856" dirty="0">
                <a:gradFill>
                  <a:gsLst>
                    <a:gs pos="100000">
                      <a:srgbClr val="61DDFF"/>
                    </a:gs>
                    <a:gs pos="0">
                      <a:srgbClr val="61DDFF"/>
                    </a:gs>
                  </a:gsLst>
                  <a:lin ang="5400000" scaled="0"/>
                </a:gradFill>
              </a:rPr>
              <a:t>Fitness/Health</a:t>
            </a:r>
          </a:p>
          <a:p>
            <a:r>
              <a:rPr lang="en-US" sz="2856" dirty="0">
                <a:gradFill>
                  <a:gsLst>
                    <a:gs pos="100000">
                      <a:srgbClr val="61DDFF"/>
                    </a:gs>
                    <a:gs pos="0">
                      <a:srgbClr val="61DDFF"/>
                    </a:gs>
                  </a:gsLst>
                  <a:lin ang="5400000" scaled="0"/>
                </a:gradFill>
              </a:rPr>
              <a:t>Connected Operations</a:t>
            </a:r>
          </a:p>
          <a:p>
            <a:r>
              <a:rPr lang="en-US" sz="2856" dirty="0">
                <a:gradFill>
                  <a:gsLst>
                    <a:gs pos="100000">
                      <a:srgbClr val="61DDFF"/>
                    </a:gs>
                    <a:gs pos="0">
                      <a:srgbClr val="61DDFF"/>
                    </a:gs>
                  </a:gsLst>
                  <a:lin ang="5400000" scaled="0"/>
                </a:gradFill>
              </a:rPr>
              <a:t>Connected Vehicles</a:t>
            </a:r>
          </a:p>
          <a:p>
            <a:r>
              <a:rPr lang="en-US" sz="2856" dirty="0">
                <a:gradFill>
                  <a:gsLst>
                    <a:gs pos="100000">
                      <a:srgbClr val="61DDFF"/>
                    </a:gs>
                    <a:gs pos="0">
                      <a:srgbClr val="61DDFF"/>
                    </a:gs>
                  </a:gsLst>
                  <a:lin ang="5400000" scaled="0"/>
                </a:gradFill>
              </a:rPr>
              <a:t>Connected Retail</a:t>
            </a:r>
          </a:p>
        </p:txBody>
      </p:sp>
      <p:sp>
        <p:nvSpPr>
          <p:cNvPr id="16" name="Title 2"/>
          <p:cNvSpPr>
            <a:spLocks noGrp="1"/>
          </p:cNvSpPr>
          <p:nvPr>
            <p:ph type="title"/>
          </p:nvPr>
        </p:nvSpPr>
        <p:spPr>
          <a:xfrm>
            <a:off x="274639" y="68262"/>
            <a:ext cx="11889564" cy="917575"/>
          </a:xfrm>
        </p:spPr>
        <p:txBody>
          <a:bodyPr/>
          <a:lstStyle/>
          <a:p>
            <a:r>
              <a:rPr lang="en-US" dirty="0" smtClean="0"/>
              <a:t>Scenarios</a:t>
            </a:r>
            <a:endParaRPr lang="en-US" dirty="0"/>
          </a:p>
        </p:txBody>
      </p:sp>
    </p:spTree>
    <p:extLst>
      <p:ext uri="{BB962C8B-B14F-4D97-AF65-F5344CB8AC3E}">
        <p14:creationId xmlns:p14="http://schemas.microsoft.com/office/powerpoint/2010/main" val="16519288"/>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6233234" y="909016"/>
            <a:ext cx="4585940" cy="6061836"/>
          </a:xfrm>
          <a:prstGeom prst="rect">
            <a:avLst/>
          </a:prstGeom>
          <a:solidFill>
            <a:schemeClr val="tx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3" rIns="0" bIns="34973" numCol="1" rtlCol="0" anchor="ctr" anchorCtr="0" compatLnSpc="1">
            <a:prstTxWarp prst="textNoShape">
              <a:avLst/>
            </a:prstTxWarp>
          </a:bodyPr>
          <a:lstStyle/>
          <a:p>
            <a:pPr algn="ctr" defTabSz="699291"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20" name="Rectangle 19"/>
          <p:cNvSpPr/>
          <p:nvPr/>
        </p:nvSpPr>
        <p:spPr bwMode="auto">
          <a:xfrm>
            <a:off x="6233234" y="909016"/>
            <a:ext cx="4585940" cy="5805727"/>
          </a:xfrm>
          <a:prstGeom prst="rect">
            <a:avLst/>
          </a:prstGeom>
          <a:solidFill>
            <a:schemeClr val="tx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3" rIns="0" bIns="34973" numCol="1" rtlCol="0" anchor="ctr" anchorCtr="0" compatLnSpc="1">
            <a:prstTxWarp prst="textNoShape">
              <a:avLst/>
            </a:prstTxWarp>
          </a:bodyPr>
          <a:lstStyle/>
          <a:p>
            <a:pPr algn="ctr" defTabSz="699291" fontAlgn="base">
              <a:spcBef>
                <a:spcPct val="0"/>
              </a:spcBef>
              <a:spcAft>
                <a:spcPct val="0"/>
              </a:spcAft>
            </a:pPr>
            <a:endParaRPr lang="en-US" sz="1500" dirty="0">
              <a:gradFill>
                <a:gsLst>
                  <a:gs pos="0">
                    <a:srgbClr val="FFFFFF"/>
                  </a:gs>
                  <a:gs pos="100000">
                    <a:srgbClr val="FFFFFF"/>
                  </a:gs>
                </a:gsLst>
                <a:lin ang="5400000" scaled="0"/>
              </a:gradFill>
            </a:endParaRPr>
          </a:p>
        </p:txBody>
      </p:sp>
      <p:pic>
        <p:nvPicPr>
          <p:cNvPr id="7" name="Picture 6"/>
          <p:cNvPicPr>
            <a:picLocks noChangeAspect="1"/>
          </p:cNvPicPr>
          <p:nvPr/>
        </p:nvPicPr>
        <p:blipFill>
          <a:blip r:embed="rId5"/>
          <a:stretch>
            <a:fillRect/>
          </a:stretch>
        </p:blipFill>
        <p:spPr>
          <a:xfrm>
            <a:off x="6399839" y="3138582"/>
            <a:ext cx="1918416" cy="1632739"/>
          </a:xfrm>
          <a:prstGeom prst="rect">
            <a:avLst/>
          </a:prstGeom>
        </p:spPr>
      </p:pic>
      <p:grpSp>
        <p:nvGrpSpPr>
          <p:cNvPr id="8" name="Group 22"/>
          <p:cNvGrpSpPr>
            <a:grpSpLocks/>
          </p:cNvGrpSpPr>
          <p:nvPr>
            <p:custDataLst>
              <p:tags r:id="rId1"/>
            </p:custDataLst>
          </p:nvPr>
        </p:nvGrpSpPr>
        <p:grpSpPr bwMode="auto">
          <a:xfrm>
            <a:off x="6399837" y="1292773"/>
            <a:ext cx="4244122" cy="1435693"/>
            <a:chOff x="340" y="1893"/>
            <a:chExt cx="5511" cy="2008"/>
          </a:xfrm>
        </p:grpSpPr>
        <p:grpSp>
          <p:nvGrpSpPr>
            <p:cNvPr id="9" name="Group 23"/>
            <p:cNvGrpSpPr>
              <a:grpSpLocks/>
            </p:cNvGrpSpPr>
            <p:nvPr/>
          </p:nvGrpSpPr>
          <p:grpSpPr bwMode="auto">
            <a:xfrm>
              <a:off x="4218" y="2528"/>
              <a:ext cx="1633" cy="1122"/>
              <a:chOff x="313" y="2483"/>
              <a:chExt cx="1178" cy="810"/>
            </a:xfrm>
          </p:grpSpPr>
          <p:pic>
            <p:nvPicPr>
              <p:cNvPr id="14" name="Picture 24" descr="iphone_preview"/>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13" y="2483"/>
                <a:ext cx="1178" cy="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5" descr="IMG_0026"/>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rot="15579332">
                <a:off x="712" y="2501"/>
                <a:ext cx="406" cy="66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pSp>
        <p:sp>
          <p:nvSpPr>
            <p:cNvPr id="10" name="AutoShape 26"/>
            <p:cNvSpPr>
              <a:spLocks noChangeArrowheads="1"/>
            </p:cNvSpPr>
            <p:nvPr/>
          </p:nvSpPr>
          <p:spPr bwMode="auto">
            <a:xfrm rot="1857826">
              <a:off x="3069" y="2431"/>
              <a:ext cx="1588" cy="1470"/>
            </a:xfrm>
            <a:custGeom>
              <a:avLst/>
              <a:gdLst>
                <a:gd name="T0" fmla="*/ 99 w 21600"/>
                <a:gd name="T1" fmla="*/ 380 h 21600"/>
                <a:gd name="T2" fmla="*/ 83 w 21600"/>
                <a:gd name="T3" fmla="*/ 735 h 21600"/>
                <a:gd name="T4" fmla="*/ 245 w 21600"/>
                <a:gd name="T5" fmla="*/ 455 h 21600"/>
                <a:gd name="T6" fmla="*/ 264 w 21600"/>
                <a:gd name="T7" fmla="*/ -42 h 21600"/>
                <a:gd name="T8" fmla="*/ 653 w 21600"/>
                <a:gd name="T9" fmla="*/ 39 h 21600"/>
                <a:gd name="T10" fmla="*/ 565 w 21600"/>
                <a:gd name="T11" fmla="*/ 399 h 21600"/>
                <a:gd name="T12" fmla="*/ 0 60000 65536"/>
                <a:gd name="T13" fmla="*/ 0 60000 65536"/>
                <a:gd name="T14" fmla="*/ 0 60000 65536"/>
                <a:gd name="T15" fmla="*/ 0 60000 65536"/>
                <a:gd name="T16" fmla="*/ 0 60000 65536"/>
                <a:gd name="T17" fmla="*/ 0 60000 65536"/>
                <a:gd name="T18" fmla="*/ 3169 w 21600"/>
                <a:gd name="T19" fmla="*/ 3159 h 21600"/>
                <a:gd name="T20" fmla="*/ 18431 w 21600"/>
                <a:gd name="T21" fmla="*/ 18441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6243" y="3585"/>
                  </a:moveTo>
                  <a:cubicBezTo>
                    <a:pt x="3767" y="5148"/>
                    <a:pt x="2267" y="7872"/>
                    <a:pt x="2267" y="10799"/>
                  </a:cubicBezTo>
                  <a:lnTo>
                    <a:pt x="0" y="10800"/>
                  </a:lnTo>
                  <a:cubicBezTo>
                    <a:pt x="0" y="7094"/>
                    <a:pt x="1899" y="3647"/>
                    <a:pt x="5032" y="1668"/>
                  </a:cubicBezTo>
                  <a:lnTo>
                    <a:pt x="3590" y="-614"/>
                  </a:lnTo>
                  <a:lnTo>
                    <a:pt x="8879" y="578"/>
                  </a:lnTo>
                  <a:lnTo>
                    <a:pt x="7685" y="5868"/>
                  </a:lnTo>
                  <a:lnTo>
                    <a:pt x="6243" y="3585"/>
                  </a:lnTo>
                  <a:close/>
                </a:path>
              </a:pathLst>
            </a:custGeom>
            <a:solidFill>
              <a:srgbClr val="3F9AC9"/>
            </a:solidFill>
            <a:ln w="28575">
              <a:solidFill>
                <a:srgbClr val="76787A"/>
              </a:solidFill>
              <a:miter lim="800000"/>
              <a:headEnd/>
              <a:tailEnd/>
            </a:ln>
          </p:spPr>
          <p:txBody>
            <a:bodyPr wrap="none" lIns="93619" tIns="48682" rIns="93619" bIns="48682" anchor="ctr"/>
            <a:lstStyle/>
            <a:p>
              <a:pPr defTabSz="932559"/>
              <a:endParaRPr lang="en-US" sz="1873" dirty="0">
                <a:solidFill>
                  <a:srgbClr val="FFFFFF"/>
                </a:solidFill>
              </a:endParaRPr>
            </a:p>
          </p:txBody>
        </p:sp>
        <p:sp>
          <p:nvSpPr>
            <p:cNvPr id="11" name="AutoShape 27"/>
            <p:cNvSpPr>
              <a:spLocks noChangeArrowheads="1"/>
            </p:cNvSpPr>
            <p:nvPr/>
          </p:nvSpPr>
          <p:spPr bwMode="auto">
            <a:xfrm rot="12624741">
              <a:off x="2553" y="1893"/>
              <a:ext cx="1588" cy="1470"/>
            </a:xfrm>
            <a:custGeom>
              <a:avLst/>
              <a:gdLst>
                <a:gd name="T0" fmla="*/ 99 w 21600"/>
                <a:gd name="T1" fmla="*/ 380 h 21600"/>
                <a:gd name="T2" fmla="*/ 83 w 21600"/>
                <a:gd name="T3" fmla="*/ 735 h 21600"/>
                <a:gd name="T4" fmla="*/ 245 w 21600"/>
                <a:gd name="T5" fmla="*/ 455 h 21600"/>
                <a:gd name="T6" fmla="*/ 264 w 21600"/>
                <a:gd name="T7" fmla="*/ -42 h 21600"/>
                <a:gd name="T8" fmla="*/ 653 w 21600"/>
                <a:gd name="T9" fmla="*/ 39 h 21600"/>
                <a:gd name="T10" fmla="*/ 565 w 21600"/>
                <a:gd name="T11" fmla="*/ 399 h 21600"/>
                <a:gd name="T12" fmla="*/ 0 60000 65536"/>
                <a:gd name="T13" fmla="*/ 0 60000 65536"/>
                <a:gd name="T14" fmla="*/ 0 60000 65536"/>
                <a:gd name="T15" fmla="*/ 0 60000 65536"/>
                <a:gd name="T16" fmla="*/ 0 60000 65536"/>
                <a:gd name="T17" fmla="*/ 0 60000 65536"/>
                <a:gd name="T18" fmla="*/ 3169 w 21600"/>
                <a:gd name="T19" fmla="*/ 3159 h 21600"/>
                <a:gd name="T20" fmla="*/ 18431 w 21600"/>
                <a:gd name="T21" fmla="*/ 18441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6243" y="3585"/>
                  </a:moveTo>
                  <a:cubicBezTo>
                    <a:pt x="3767" y="5148"/>
                    <a:pt x="2267" y="7872"/>
                    <a:pt x="2267" y="10799"/>
                  </a:cubicBezTo>
                  <a:lnTo>
                    <a:pt x="0" y="10800"/>
                  </a:lnTo>
                  <a:cubicBezTo>
                    <a:pt x="0" y="7094"/>
                    <a:pt x="1899" y="3647"/>
                    <a:pt x="5032" y="1668"/>
                  </a:cubicBezTo>
                  <a:lnTo>
                    <a:pt x="3590" y="-614"/>
                  </a:lnTo>
                  <a:lnTo>
                    <a:pt x="8879" y="578"/>
                  </a:lnTo>
                  <a:lnTo>
                    <a:pt x="7685" y="5868"/>
                  </a:lnTo>
                  <a:lnTo>
                    <a:pt x="6243" y="3585"/>
                  </a:lnTo>
                  <a:close/>
                </a:path>
              </a:pathLst>
            </a:custGeom>
            <a:solidFill>
              <a:srgbClr val="3F9AC9"/>
            </a:solidFill>
            <a:ln w="28575">
              <a:solidFill>
                <a:srgbClr val="76787A"/>
              </a:solidFill>
              <a:miter lim="800000"/>
              <a:headEnd/>
              <a:tailEnd/>
            </a:ln>
          </p:spPr>
          <p:txBody>
            <a:bodyPr wrap="none" lIns="93619" tIns="48682" rIns="93619" bIns="48682" anchor="ctr"/>
            <a:lstStyle/>
            <a:p>
              <a:pPr defTabSz="932559"/>
              <a:endParaRPr lang="en-US" sz="1873" dirty="0">
                <a:solidFill>
                  <a:srgbClr val="FFFFFF"/>
                </a:solidFill>
              </a:endParaRPr>
            </a:p>
          </p:txBody>
        </p:sp>
        <p:pic>
          <p:nvPicPr>
            <p:cNvPr id="12" name="Picture 28" descr="MCEN00906_0000[1]"/>
            <p:cNvPicPr>
              <a:picLocks noChangeAspect="1" noChangeArrowheads="1"/>
            </p:cNvPicPr>
            <p:nvPr>
              <p:custDataLst>
                <p:tags r:id="rId3"/>
              </p:custDataLst>
            </p:nvPr>
          </p:nvPicPr>
          <p:blipFill>
            <a:blip r:embed="rId8" cstate="print">
              <a:extLst>
                <a:ext uri="{28A0092B-C50C-407E-A947-70E740481C1C}">
                  <a14:useLocalDpi xmlns:a14="http://schemas.microsoft.com/office/drawing/2010/main" val="0"/>
                </a:ext>
              </a:extLst>
            </a:blip>
            <a:srcRect/>
            <a:stretch>
              <a:fillRect/>
            </a:stretch>
          </p:blipFill>
          <p:spPr bwMode="auto">
            <a:xfrm>
              <a:off x="3485" y="2693"/>
              <a:ext cx="306" cy="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29" descr="electric drive smart freigestellt cropped"/>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40" y="2341"/>
              <a:ext cx="2491" cy="1554"/>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pSp>
      <p:pic>
        <p:nvPicPr>
          <p:cNvPr id="16" name="Picture 15"/>
          <p:cNvPicPr>
            <a:picLocks noChangeAspect="1"/>
          </p:cNvPicPr>
          <p:nvPr/>
        </p:nvPicPr>
        <p:blipFill>
          <a:blip r:embed="rId10"/>
          <a:stretch>
            <a:fillRect/>
          </a:stretch>
        </p:blipFill>
        <p:spPr>
          <a:xfrm>
            <a:off x="6399837" y="5231606"/>
            <a:ext cx="1899057" cy="1223843"/>
          </a:xfrm>
          <a:prstGeom prst="rect">
            <a:avLst/>
          </a:prstGeom>
        </p:spPr>
      </p:pic>
      <p:pic>
        <p:nvPicPr>
          <p:cNvPr id="17" name="Picture 16"/>
          <p:cNvPicPr>
            <a:picLocks noChangeAspect="1"/>
          </p:cNvPicPr>
          <p:nvPr/>
        </p:nvPicPr>
        <p:blipFill>
          <a:blip r:embed="rId11"/>
          <a:stretch>
            <a:fillRect/>
          </a:stretch>
        </p:blipFill>
        <p:spPr>
          <a:xfrm>
            <a:off x="8458983" y="5229670"/>
            <a:ext cx="1376689" cy="1190804"/>
          </a:xfrm>
          <a:prstGeom prst="rect">
            <a:avLst/>
          </a:prstGeom>
        </p:spPr>
      </p:pic>
      <p:pic>
        <p:nvPicPr>
          <p:cNvPr id="18" name="Picture 17"/>
          <p:cNvPicPr>
            <a:picLocks noChangeAspect="1"/>
          </p:cNvPicPr>
          <p:nvPr/>
        </p:nvPicPr>
        <p:blipFill>
          <a:blip r:embed="rId12"/>
          <a:stretch>
            <a:fillRect/>
          </a:stretch>
        </p:blipFill>
        <p:spPr>
          <a:xfrm>
            <a:off x="10120484" y="5183777"/>
            <a:ext cx="589808" cy="1236697"/>
          </a:xfrm>
          <a:prstGeom prst="rect">
            <a:avLst/>
          </a:prstGeom>
        </p:spPr>
      </p:pic>
      <p:pic>
        <p:nvPicPr>
          <p:cNvPr id="19" name="Picture 18"/>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549323" y="3181357"/>
            <a:ext cx="2055254" cy="1589965"/>
          </a:xfrm>
          <a:prstGeom prst="rect">
            <a:avLst/>
          </a:prstGeom>
        </p:spPr>
      </p:pic>
      <p:sp>
        <p:nvSpPr>
          <p:cNvPr id="25" name="Rectangle 24"/>
          <p:cNvSpPr/>
          <p:nvPr/>
        </p:nvSpPr>
        <p:spPr bwMode="auto">
          <a:xfrm>
            <a:off x="1670309" y="2168634"/>
            <a:ext cx="4679683" cy="492849"/>
          </a:xfrm>
          <a:prstGeom prst="rect">
            <a:avLst/>
          </a:prstGeom>
          <a:solidFill>
            <a:schemeClr val="tx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3" rIns="0" bIns="34973" numCol="1" rtlCol="0" anchor="ctr" anchorCtr="0" compatLnSpc="1">
            <a:prstTxWarp prst="textNoShape">
              <a:avLst/>
            </a:prstTxWarp>
          </a:bodyPr>
          <a:lstStyle/>
          <a:p>
            <a:pPr algn="ctr" defTabSz="699291"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27" name="Text Placeholder 1"/>
          <p:cNvSpPr txBox="1">
            <a:spLocks/>
          </p:cNvSpPr>
          <p:nvPr/>
        </p:nvSpPr>
        <p:spPr>
          <a:xfrm>
            <a:off x="1803917" y="952816"/>
            <a:ext cx="4396616" cy="6153165"/>
          </a:xfrm>
          <a:prstGeom prst="rect">
            <a:avLst/>
          </a:prstGeom>
        </p:spPr>
        <p:txBody>
          <a:bodyPr vert="horz" wrap="square" lIns="0" tIns="0" rIns="0" bIns="0" rtlCol="0">
            <a:spAutoFit/>
          </a:bodyPr>
          <a:lstStyle>
            <a:lvl1pPr marL="0" marR="0" indent="0" algn="l" defTabSz="685955" rtl="0" eaLnBrk="1" fontAlgn="auto" latinLnBrk="0" hangingPunct="1">
              <a:lnSpc>
                <a:spcPct val="90000"/>
              </a:lnSpc>
              <a:spcBef>
                <a:spcPts val="1800"/>
              </a:spcBef>
              <a:spcAft>
                <a:spcPts val="0"/>
              </a:spcAft>
              <a:buClrTx/>
              <a:buSzPct val="90000"/>
              <a:buFont typeface="Arial" pitchFamily="34" charset="0"/>
              <a:buNone/>
              <a:tabLst/>
              <a:defRPr sz="3001" kern="1200" spc="-53" baseline="0">
                <a:gradFill>
                  <a:gsLst>
                    <a:gs pos="100000">
                      <a:schemeClr val="tx2"/>
                    </a:gs>
                    <a:gs pos="0">
                      <a:schemeClr val="tx2"/>
                    </a:gs>
                  </a:gsLst>
                  <a:lin ang="5400000" scaled="0"/>
                </a:gradFill>
                <a:latin typeface="+mj-lt"/>
                <a:ea typeface="+mn-ea"/>
                <a:cs typeface="+mn-cs"/>
              </a:defRPr>
            </a:lvl1pPr>
            <a:lvl2pPr marL="0" marR="0" indent="0" algn="l" defTabSz="685955" rtl="0" eaLnBrk="1" fontAlgn="auto" latinLnBrk="0" hangingPunct="1">
              <a:lnSpc>
                <a:spcPct val="90000"/>
              </a:lnSpc>
              <a:spcBef>
                <a:spcPct val="20000"/>
              </a:spcBef>
              <a:spcAft>
                <a:spcPts val="0"/>
              </a:spcAft>
              <a:buClrTx/>
              <a:buSzPct val="90000"/>
              <a:buFont typeface="Wingdings" pitchFamily="2" charset="2"/>
              <a:buNone/>
              <a:tabLst/>
              <a:defRPr sz="1500" kern="1200" spc="0" baseline="0">
                <a:gradFill>
                  <a:gsLst>
                    <a:gs pos="100000">
                      <a:schemeClr val="tx1"/>
                    </a:gs>
                    <a:gs pos="6000">
                      <a:schemeClr val="tx1"/>
                    </a:gs>
                  </a:gsLst>
                  <a:lin ang="5400000" scaled="0"/>
                </a:gradFill>
                <a:latin typeface="+mn-lt"/>
                <a:ea typeface="+mn-ea"/>
                <a:cs typeface="+mn-cs"/>
              </a:defRPr>
            </a:lvl2pPr>
            <a:lvl3pPr marL="173878" marR="0" indent="0" algn="l" defTabSz="685955" rtl="0" eaLnBrk="1" fontAlgn="auto" latinLnBrk="0" hangingPunct="1">
              <a:lnSpc>
                <a:spcPct val="90000"/>
              </a:lnSpc>
              <a:spcBef>
                <a:spcPct val="20000"/>
              </a:spcBef>
              <a:spcAft>
                <a:spcPts val="0"/>
              </a:spcAft>
              <a:buClrTx/>
              <a:buSzPct val="90000"/>
              <a:buFont typeface="Wingdings" pitchFamily="2" charset="2"/>
              <a:buNone/>
              <a:tabLst>
                <a:tab pos="599044" algn="l"/>
              </a:tabLst>
              <a:defRPr sz="1500" kern="1200" spc="0" baseline="0">
                <a:gradFill>
                  <a:gsLst>
                    <a:gs pos="100000">
                      <a:schemeClr val="tx1"/>
                    </a:gs>
                    <a:gs pos="6000">
                      <a:schemeClr val="tx1"/>
                    </a:gs>
                  </a:gsLst>
                  <a:lin ang="5400000" scaled="0"/>
                </a:gradFill>
                <a:latin typeface="+mn-lt"/>
                <a:ea typeface="+mn-ea"/>
                <a:cs typeface="+mn-cs"/>
              </a:defRPr>
            </a:lvl3pPr>
            <a:lvl4pPr marL="342991" marR="0" indent="0" algn="l" defTabSz="685955" rtl="0" eaLnBrk="1" fontAlgn="auto" latinLnBrk="0" hangingPunct="1">
              <a:lnSpc>
                <a:spcPct val="90000"/>
              </a:lnSpc>
              <a:spcBef>
                <a:spcPct val="20000"/>
              </a:spcBef>
              <a:spcAft>
                <a:spcPts val="0"/>
              </a:spcAft>
              <a:buClrTx/>
              <a:buSzPct val="90000"/>
              <a:buFont typeface="Wingdings" pitchFamily="2" charset="2"/>
              <a:buNone/>
              <a:tabLst/>
              <a:defRPr sz="1500" kern="1200" spc="0" baseline="0">
                <a:gradFill>
                  <a:gsLst>
                    <a:gs pos="100000">
                      <a:schemeClr val="tx1"/>
                    </a:gs>
                    <a:gs pos="6000">
                      <a:schemeClr val="tx1"/>
                    </a:gs>
                  </a:gsLst>
                  <a:lin ang="5400000" scaled="0"/>
                </a:gradFill>
                <a:latin typeface="+mn-lt"/>
                <a:ea typeface="+mn-ea"/>
                <a:cs typeface="+mn-cs"/>
              </a:defRPr>
            </a:lvl4pPr>
            <a:lvl5pPr marL="520442" marR="0" indent="0" algn="l" defTabSz="685955" rtl="0" eaLnBrk="1" fontAlgn="auto" latinLnBrk="0" hangingPunct="1">
              <a:lnSpc>
                <a:spcPct val="90000"/>
              </a:lnSpc>
              <a:spcBef>
                <a:spcPct val="20000"/>
              </a:spcBef>
              <a:spcAft>
                <a:spcPts val="0"/>
              </a:spcAft>
              <a:buClrTx/>
              <a:buSzPct val="90000"/>
              <a:buFont typeface="Wingdings" pitchFamily="2" charset="2"/>
              <a:buNone/>
              <a:tabLst>
                <a:tab pos="942036" algn="l"/>
              </a:tabLst>
              <a:defRPr sz="1500" kern="1200" spc="0" baseline="0">
                <a:gradFill>
                  <a:gsLst>
                    <a:gs pos="100000">
                      <a:schemeClr val="tx1"/>
                    </a:gs>
                    <a:gs pos="6000">
                      <a:schemeClr val="tx1"/>
                    </a:gs>
                  </a:gsLst>
                  <a:lin ang="5400000" scaled="0"/>
                </a:gradFill>
                <a:latin typeface="+mn-lt"/>
                <a:ea typeface="+mn-ea"/>
                <a:cs typeface="+mn-cs"/>
              </a:defRPr>
            </a:lvl5pPr>
            <a:lvl6pPr marL="1886377"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355"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333"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311"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2856" dirty="0">
                <a:gradFill>
                  <a:gsLst>
                    <a:gs pos="100000">
                      <a:srgbClr val="61DDFF"/>
                    </a:gs>
                    <a:gs pos="0">
                      <a:srgbClr val="61DDFF"/>
                    </a:gs>
                  </a:gsLst>
                  <a:lin ang="5400000" scaled="0"/>
                </a:gradFill>
              </a:rPr>
              <a:t>Firmware/Software Delivery</a:t>
            </a:r>
          </a:p>
          <a:p>
            <a:r>
              <a:rPr lang="en-US" sz="2856" dirty="0">
                <a:gradFill>
                  <a:gsLst>
                    <a:gs pos="100000">
                      <a:srgbClr val="61DDFF"/>
                    </a:gs>
                    <a:gs pos="0">
                      <a:srgbClr val="61DDFF"/>
                    </a:gs>
                  </a:gsLst>
                  <a:lin ang="5400000" scaled="0"/>
                </a:gradFill>
              </a:rPr>
              <a:t>Insight Delivery</a:t>
            </a:r>
          </a:p>
          <a:p>
            <a:r>
              <a:rPr lang="en-US" sz="2856" dirty="0">
                <a:gradFill>
                  <a:gsLst>
                    <a:gs pos="100000">
                      <a:srgbClr val="61DDFF"/>
                    </a:gs>
                    <a:gs pos="0">
                      <a:srgbClr val="61DDFF"/>
                    </a:gs>
                  </a:gsLst>
                  <a:lin ang="5400000" scaled="0"/>
                </a:gradFill>
              </a:rPr>
              <a:t>Dashboards &amp; Remote </a:t>
            </a:r>
            <a:r>
              <a:rPr lang="en-US" sz="2856" dirty="0" err="1">
                <a:gradFill>
                  <a:gsLst>
                    <a:gs pos="100000">
                      <a:srgbClr val="61DDFF"/>
                    </a:gs>
                    <a:gs pos="0">
                      <a:srgbClr val="61DDFF"/>
                    </a:gs>
                  </a:gsLst>
                  <a:lin ang="5400000" scaled="0"/>
                </a:gradFill>
              </a:rPr>
              <a:t>Mgmt</a:t>
            </a:r>
            <a:endParaRPr lang="en-US" sz="2856" dirty="0">
              <a:gradFill>
                <a:gsLst>
                  <a:gs pos="100000">
                    <a:srgbClr val="61DDFF"/>
                  </a:gs>
                  <a:gs pos="0">
                    <a:srgbClr val="61DDFF"/>
                  </a:gs>
                </a:gsLst>
                <a:lin ang="5400000" scaled="0"/>
              </a:gradFill>
            </a:endParaRPr>
          </a:p>
          <a:p>
            <a:r>
              <a:rPr lang="en-US" sz="2856" dirty="0">
                <a:gradFill>
                  <a:gsLst>
                    <a:gs pos="100000">
                      <a:srgbClr val="61DDFF"/>
                    </a:gs>
                    <a:gs pos="0">
                      <a:srgbClr val="61DDFF"/>
                    </a:gs>
                  </a:gsLst>
                  <a:lin ang="5400000" scaled="0"/>
                </a:gradFill>
              </a:rPr>
              <a:t>Device to Infrastructure</a:t>
            </a:r>
          </a:p>
          <a:p>
            <a:r>
              <a:rPr lang="en-US" sz="2856" dirty="0">
                <a:gradFill>
                  <a:gsLst>
                    <a:gs pos="100000">
                      <a:srgbClr val="61DDFF"/>
                    </a:gs>
                    <a:gs pos="0">
                      <a:srgbClr val="61DDFF"/>
                    </a:gs>
                  </a:gsLst>
                  <a:lin ang="5400000" scaled="0"/>
                </a:gradFill>
              </a:rPr>
              <a:t>Geo-Tracking</a:t>
            </a:r>
          </a:p>
          <a:p>
            <a:r>
              <a:rPr lang="en-US" sz="2856" dirty="0">
                <a:gradFill>
                  <a:gsLst>
                    <a:gs pos="100000">
                      <a:srgbClr val="61DDFF"/>
                    </a:gs>
                    <a:gs pos="0">
                      <a:srgbClr val="61DDFF"/>
                    </a:gs>
                  </a:gsLst>
                  <a:lin ang="5400000" scaled="0"/>
                </a:gradFill>
              </a:rPr>
              <a:t>Media Delivery &amp; Playback</a:t>
            </a:r>
          </a:p>
          <a:p>
            <a:r>
              <a:rPr lang="en-US" sz="2856" dirty="0">
                <a:gradFill>
                  <a:gsLst>
                    <a:gs pos="100000">
                      <a:srgbClr val="61DDFF"/>
                    </a:gs>
                    <a:gs pos="0">
                      <a:srgbClr val="61DDFF"/>
                    </a:gs>
                  </a:gsLst>
                  <a:lin ang="5400000" scaled="0"/>
                </a:gradFill>
              </a:rPr>
              <a:t>Fitness/Health</a:t>
            </a:r>
          </a:p>
          <a:p>
            <a:r>
              <a:rPr lang="en-US" sz="2856" dirty="0">
                <a:gradFill>
                  <a:gsLst>
                    <a:gs pos="100000">
                      <a:srgbClr val="61DDFF"/>
                    </a:gs>
                    <a:gs pos="0">
                      <a:srgbClr val="61DDFF"/>
                    </a:gs>
                  </a:gsLst>
                  <a:lin ang="5400000" scaled="0"/>
                </a:gradFill>
              </a:rPr>
              <a:t>Connected Operations</a:t>
            </a:r>
          </a:p>
          <a:p>
            <a:r>
              <a:rPr lang="en-US" sz="2856" dirty="0">
                <a:gradFill>
                  <a:gsLst>
                    <a:gs pos="100000">
                      <a:srgbClr val="61DDFF"/>
                    </a:gs>
                    <a:gs pos="0">
                      <a:srgbClr val="61DDFF"/>
                    </a:gs>
                  </a:gsLst>
                  <a:lin ang="5400000" scaled="0"/>
                </a:gradFill>
              </a:rPr>
              <a:t>Connected Vehicles</a:t>
            </a:r>
          </a:p>
          <a:p>
            <a:r>
              <a:rPr lang="en-US" sz="2856" dirty="0">
                <a:gradFill>
                  <a:gsLst>
                    <a:gs pos="100000">
                      <a:srgbClr val="61DDFF"/>
                    </a:gs>
                    <a:gs pos="0">
                      <a:srgbClr val="61DDFF"/>
                    </a:gs>
                  </a:gsLst>
                  <a:lin ang="5400000" scaled="0"/>
                </a:gradFill>
              </a:rPr>
              <a:t>Connected Retail</a:t>
            </a:r>
          </a:p>
        </p:txBody>
      </p:sp>
      <p:grpSp>
        <p:nvGrpSpPr>
          <p:cNvPr id="33" name="Group 32"/>
          <p:cNvGrpSpPr/>
          <p:nvPr/>
        </p:nvGrpSpPr>
        <p:grpSpPr>
          <a:xfrm rot="3562551">
            <a:off x="7838701" y="2181763"/>
            <a:ext cx="1620328" cy="1435693"/>
            <a:chOff x="6573462" y="1419940"/>
            <a:chExt cx="1588701" cy="1407670"/>
          </a:xfrm>
        </p:grpSpPr>
        <p:sp>
          <p:nvSpPr>
            <p:cNvPr id="30" name="AutoShape 26"/>
            <p:cNvSpPr>
              <a:spLocks noChangeArrowheads="1"/>
            </p:cNvSpPr>
            <p:nvPr/>
          </p:nvSpPr>
          <p:spPr bwMode="auto">
            <a:xfrm rot="1857826">
              <a:off x="6963086" y="1797095"/>
              <a:ext cx="1199077" cy="1030515"/>
            </a:xfrm>
            <a:custGeom>
              <a:avLst/>
              <a:gdLst>
                <a:gd name="T0" fmla="*/ 99 w 21600"/>
                <a:gd name="T1" fmla="*/ 380 h 21600"/>
                <a:gd name="T2" fmla="*/ 83 w 21600"/>
                <a:gd name="T3" fmla="*/ 735 h 21600"/>
                <a:gd name="T4" fmla="*/ 245 w 21600"/>
                <a:gd name="T5" fmla="*/ 455 h 21600"/>
                <a:gd name="T6" fmla="*/ 264 w 21600"/>
                <a:gd name="T7" fmla="*/ -42 h 21600"/>
                <a:gd name="T8" fmla="*/ 653 w 21600"/>
                <a:gd name="T9" fmla="*/ 39 h 21600"/>
                <a:gd name="T10" fmla="*/ 565 w 21600"/>
                <a:gd name="T11" fmla="*/ 399 h 21600"/>
                <a:gd name="T12" fmla="*/ 0 60000 65536"/>
                <a:gd name="T13" fmla="*/ 0 60000 65536"/>
                <a:gd name="T14" fmla="*/ 0 60000 65536"/>
                <a:gd name="T15" fmla="*/ 0 60000 65536"/>
                <a:gd name="T16" fmla="*/ 0 60000 65536"/>
                <a:gd name="T17" fmla="*/ 0 60000 65536"/>
                <a:gd name="T18" fmla="*/ 3169 w 21600"/>
                <a:gd name="T19" fmla="*/ 3159 h 21600"/>
                <a:gd name="T20" fmla="*/ 18431 w 21600"/>
                <a:gd name="T21" fmla="*/ 18441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6243" y="3585"/>
                  </a:moveTo>
                  <a:cubicBezTo>
                    <a:pt x="3767" y="5148"/>
                    <a:pt x="2267" y="7872"/>
                    <a:pt x="2267" y="10799"/>
                  </a:cubicBezTo>
                  <a:lnTo>
                    <a:pt x="0" y="10800"/>
                  </a:lnTo>
                  <a:cubicBezTo>
                    <a:pt x="0" y="7094"/>
                    <a:pt x="1899" y="3647"/>
                    <a:pt x="5032" y="1668"/>
                  </a:cubicBezTo>
                  <a:lnTo>
                    <a:pt x="3590" y="-614"/>
                  </a:lnTo>
                  <a:lnTo>
                    <a:pt x="8879" y="578"/>
                  </a:lnTo>
                  <a:lnTo>
                    <a:pt x="7685" y="5868"/>
                  </a:lnTo>
                  <a:lnTo>
                    <a:pt x="6243" y="3585"/>
                  </a:lnTo>
                  <a:close/>
                </a:path>
              </a:pathLst>
            </a:custGeom>
            <a:solidFill>
              <a:srgbClr val="3F9AC9"/>
            </a:solidFill>
            <a:ln w="28575">
              <a:solidFill>
                <a:srgbClr val="76787A"/>
              </a:solidFill>
              <a:miter lim="800000"/>
              <a:headEnd/>
              <a:tailEnd/>
            </a:ln>
          </p:spPr>
          <p:txBody>
            <a:bodyPr wrap="none" lIns="93619" tIns="48682" rIns="93619" bIns="48682" anchor="ctr"/>
            <a:lstStyle/>
            <a:p>
              <a:pPr defTabSz="932559"/>
              <a:endParaRPr lang="en-US" sz="1873" dirty="0">
                <a:solidFill>
                  <a:srgbClr val="FFFFFF"/>
                </a:solidFill>
              </a:endParaRPr>
            </a:p>
          </p:txBody>
        </p:sp>
        <p:sp>
          <p:nvSpPr>
            <p:cNvPr id="31" name="AutoShape 27"/>
            <p:cNvSpPr>
              <a:spLocks noChangeArrowheads="1"/>
            </p:cNvSpPr>
            <p:nvPr/>
          </p:nvSpPr>
          <p:spPr bwMode="auto">
            <a:xfrm rot="12624741">
              <a:off x="6573462" y="1419940"/>
              <a:ext cx="1199077" cy="1030515"/>
            </a:xfrm>
            <a:custGeom>
              <a:avLst/>
              <a:gdLst>
                <a:gd name="T0" fmla="*/ 99 w 21600"/>
                <a:gd name="T1" fmla="*/ 380 h 21600"/>
                <a:gd name="T2" fmla="*/ 83 w 21600"/>
                <a:gd name="T3" fmla="*/ 735 h 21600"/>
                <a:gd name="T4" fmla="*/ 245 w 21600"/>
                <a:gd name="T5" fmla="*/ 455 h 21600"/>
                <a:gd name="T6" fmla="*/ 264 w 21600"/>
                <a:gd name="T7" fmla="*/ -42 h 21600"/>
                <a:gd name="T8" fmla="*/ 653 w 21600"/>
                <a:gd name="T9" fmla="*/ 39 h 21600"/>
                <a:gd name="T10" fmla="*/ 565 w 21600"/>
                <a:gd name="T11" fmla="*/ 399 h 21600"/>
                <a:gd name="T12" fmla="*/ 0 60000 65536"/>
                <a:gd name="T13" fmla="*/ 0 60000 65536"/>
                <a:gd name="T14" fmla="*/ 0 60000 65536"/>
                <a:gd name="T15" fmla="*/ 0 60000 65536"/>
                <a:gd name="T16" fmla="*/ 0 60000 65536"/>
                <a:gd name="T17" fmla="*/ 0 60000 65536"/>
                <a:gd name="T18" fmla="*/ 3169 w 21600"/>
                <a:gd name="T19" fmla="*/ 3159 h 21600"/>
                <a:gd name="T20" fmla="*/ 18431 w 21600"/>
                <a:gd name="T21" fmla="*/ 18441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6243" y="3585"/>
                  </a:moveTo>
                  <a:cubicBezTo>
                    <a:pt x="3767" y="5148"/>
                    <a:pt x="2267" y="7872"/>
                    <a:pt x="2267" y="10799"/>
                  </a:cubicBezTo>
                  <a:lnTo>
                    <a:pt x="0" y="10800"/>
                  </a:lnTo>
                  <a:cubicBezTo>
                    <a:pt x="0" y="7094"/>
                    <a:pt x="1899" y="3647"/>
                    <a:pt x="5032" y="1668"/>
                  </a:cubicBezTo>
                  <a:lnTo>
                    <a:pt x="3590" y="-614"/>
                  </a:lnTo>
                  <a:lnTo>
                    <a:pt x="8879" y="578"/>
                  </a:lnTo>
                  <a:lnTo>
                    <a:pt x="7685" y="5868"/>
                  </a:lnTo>
                  <a:lnTo>
                    <a:pt x="6243" y="3585"/>
                  </a:lnTo>
                  <a:close/>
                </a:path>
              </a:pathLst>
            </a:custGeom>
            <a:solidFill>
              <a:srgbClr val="3F9AC9"/>
            </a:solidFill>
            <a:ln w="28575">
              <a:solidFill>
                <a:srgbClr val="76787A"/>
              </a:solidFill>
              <a:miter lim="800000"/>
              <a:headEnd/>
              <a:tailEnd/>
            </a:ln>
          </p:spPr>
          <p:txBody>
            <a:bodyPr wrap="none" lIns="93619" tIns="48682" rIns="93619" bIns="48682" anchor="ctr"/>
            <a:lstStyle/>
            <a:p>
              <a:pPr defTabSz="932559"/>
              <a:endParaRPr lang="en-US" sz="1873" dirty="0">
                <a:solidFill>
                  <a:srgbClr val="FFFFFF"/>
                </a:solidFill>
              </a:endParaRPr>
            </a:p>
          </p:txBody>
        </p:sp>
        <p:pic>
          <p:nvPicPr>
            <p:cNvPr id="32" name="Picture 28" descr="MCEN00906_0000[1]"/>
            <p:cNvPicPr>
              <a:picLocks noChangeAspect="1" noChangeArrowheads="1"/>
            </p:cNvPicPr>
            <p:nvPr>
              <p:custDataLst>
                <p:tags r:id="rId2"/>
              </p:custDataLst>
            </p:nvPr>
          </p:nvPicPr>
          <p:blipFill>
            <a:blip r:embed="rId8" cstate="print">
              <a:extLst>
                <a:ext uri="{28A0092B-C50C-407E-A947-70E740481C1C}">
                  <a14:useLocalDpi xmlns:a14="http://schemas.microsoft.com/office/drawing/2010/main" val="0"/>
                </a:ext>
              </a:extLst>
            </a:blip>
            <a:srcRect/>
            <a:stretch>
              <a:fillRect/>
            </a:stretch>
          </p:blipFill>
          <p:spPr bwMode="auto">
            <a:xfrm>
              <a:off x="7277202" y="1980765"/>
              <a:ext cx="231056" cy="225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9" name="Title 2"/>
          <p:cNvSpPr>
            <a:spLocks noGrp="1"/>
          </p:cNvSpPr>
          <p:nvPr>
            <p:ph type="title"/>
          </p:nvPr>
        </p:nvSpPr>
        <p:spPr>
          <a:xfrm>
            <a:off x="274639" y="68262"/>
            <a:ext cx="11889564" cy="917575"/>
          </a:xfrm>
        </p:spPr>
        <p:txBody>
          <a:bodyPr/>
          <a:lstStyle/>
          <a:p>
            <a:r>
              <a:rPr lang="en-US" dirty="0" smtClean="0"/>
              <a:t>Scenarios</a:t>
            </a:r>
            <a:endParaRPr lang="en-US" dirty="0"/>
          </a:p>
        </p:txBody>
      </p:sp>
    </p:spTree>
    <p:extLst>
      <p:ext uri="{BB962C8B-B14F-4D97-AF65-F5344CB8AC3E}">
        <p14:creationId xmlns:p14="http://schemas.microsoft.com/office/powerpoint/2010/main" val="1749677699"/>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bwMode="auto">
          <a:xfrm>
            <a:off x="6233234" y="909016"/>
            <a:ext cx="4585940" cy="6061836"/>
          </a:xfrm>
          <a:prstGeom prst="rect">
            <a:avLst/>
          </a:prstGeom>
          <a:solidFill>
            <a:schemeClr val="tx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3" rIns="0" bIns="34973" numCol="1" rtlCol="0" anchor="ctr" anchorCtr="0" compatLnSpc="1">
            <a:prstTxWarp prst="textNoShape">
              <a:avLst/>
            </a:prstTxWarp>
          </a:bodyPr>
          <a:lstStyle/>
          <a:p>
            <a:pPr algn="ctr" defTabSz="699291"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12" name="Rectangle 11"/>
          <p:cNvSpPr/>
          <p:nvPr/>
        </p:nvSpPr>
        <p:spPr bwMode="auto">
          <a:xfrm>
            <a:off x="6233234" y="909016"/>
            <a:ext cx="4585940" cy="5805727"/>
          </a:xfrm>
          <a:prstGeom prst="rect">
            <a:avLst/>
          </a:prstGeom>
          <a:solidFill>
            <a:schemeClr val="tx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3" rIns="0" bIns="34973" numCol="1" rtlCol="0" anchor="ctr" anchorCtr="0" compatLnSpc="1">
            <a:prstTxWarp prst="textNoShape">
              <a:avLst/>
            </a:prstTxWarp>
          </a:bodyPr>
          <a:lstStyle/>
          <a:p>
            <a:pPr algn="ctr" defTabSz="699291" fontAlgn="base">
              <a:spcBef>
                <a:spcPct val="0"/>
              </a:spcBef>
              <a:spcAft>
                <a:spcPct val="0"/>
              </a:spcAft>
            </a:pPr>
            <a:endParaRPr lang="en-US" sz="1500" dirty="0">
              <a:gradFill>
                <a:gsLst>
                  <a:gs pos="0">
                    <a:srgbClr val="FFFFFF"/>
                  </a:gs>
                  <a:gs pos="100000">
                    <a:srgbClr val="FFFFFF"/>
                  </a:gs>
                </a:gsLst>
                <a:lin ang="5400000" scaled="0"/>
              </a:gradFill>
            </a:endParaRPr>
          </a:p>
        </p:txBody>
      </p:sp>
      <p:pic>
        <p:nvPicPr>
          <p:cNvPr id="5" name="Picture 2"/>
          <p:cNvPicPr>
            <a:picLocks noChangeAspect="1" noChangeArrowheads="1"/>
          </p:cNvPicPr>
          <p:nvPr/>
        </p:nvPicPr>
        <p:blipFill>
          <a:blip r:embed="rId3" cstate="print">
            <a:extLst>
              <a:ext uri="{28A0092B-C50C-407E-A947-70E740481C1C}">
                <a14:useLocalDpi xmlns:a14="http://schemas.microsoft.com/office/drawing/2010/main"/>
              </a:ext>
            </a:extLst>
          </a:blip>
          <a:stretch>
            <a:fillRect/>
          </a:stretch>
        </p:blipFill>
        <p:spPr bwMode="auto">
          <a:xfrm>
            <a:off x="6514817" y="4933427"/>
            <a:ext cx="1969401" cy="107718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40803" y="1345159"/>
            <a:ext cx="2085143" cy="1292044"/>
          </a:xfrm>
          <a:prstGeom prst="rect">
            <a:avLst/>
          </a:prstGeom>
        </p:spPr>
      </p:pic>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740640" y="4847750"/>
            <a:ext cx="1878159" cy="1292044"/>
          </a:xfrm>
          <a:prstGeom prst="rect">
            <a:avLst/>
          </a:prstGeom>
        </p:spPr>
      </p:pic>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765799" y="3025103"/>
            <a:ext cx="1823866" cy="1228069"/>
          </a:xfrm>
          <a:prstGeom prst="rect">
            <a:avLst/>
          </a:prstGeom>
        </p:spPr>
      </p:pic>
      <p:pic>
        <p:nvPicPr>
          <p:cNvPr id="9" name="Picture 8"/>
          <p:cNvPicPr>
            <a:picLocks noChangeAspect="1"/>
          </p:cNvPicPr>
          <p:nvPr/>
        </p:nvPicPr>
        <p:blipFill>
          <a:blip r:embed="rId7"/>
          <a:stretch>
            <a:fillRect/>
          </a:stretch>
        </p:blipFill>
        <p:spPr>
          <a:xfrm>
            <a:off x="6540803" y="3025104"/>
            <a:ext cx="2085144" cy="1228069"/>
          </a:xfrm>
          <a:prstGeom prst="rect">
            <a:avLst/>
          </a:prstGeom>
        </p:spPr>
      </p:pic>
      <p:pic>
        <p:nvPicPr>
          <p:cNvPr id="11" name="Picture 10"/>
          <p:cNvPicPr>
            <a:picLocks noChangeAspect="1"/>
          </p:cNvPicPr>
          <p:nvPr/>
        </p:nvPicPr>
        <p:blipFill>
          <a:blip r:embed="rId8"/>
          <a:stretch>
            <a:fillRect/>
          </a:stretch>
        </p:blipFill>
        <p:spPr>
          <a:xfrm>
            <a:off x="8740640" y="1333452"/>
            <a:ext cx="1835887" cy="1287643"/>
          </a:xfrm>
          <a:prstGeom prst="rect">
            <a:avLst/>
          </a:prstGeom>
        </p:spPr>
      </p:pic>
      <p:sp>
        <p:nvSpPr>
          <p:cNvPr id="14" name="Rectangle 13"/>
          <p:cNvSpPr/>
          <p:nvPr/>
        </p:nvSpPr>
        <p:spPr bwMode="auto">
          <a:xfrm>
            <a:off x="1662383" y="2778680"/>
            <a:ext cx="4679683" cy="492849"/>
          </a:xfrm>
          <a:prstGeom prst="rect">
            <a:avLst/>
          </a:prstGeom>
          <a:solidFill>
            <a:schemeClr val="tx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3" rIns="0" bIns="34973" numCol="1" rtlCol="0" anchor="ctr" anchorCtr="0" compatLnSpc="1">
            <a:prstTxWarp prst="textNoShape">
              <a:avLst/>
            </a:prstTxWarp>
          </a:bodyPr>
          <a:lstStyle/>
          <a:p>
            <a:pPr algn="ctr" defTabSz="699291"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16" name="Text Placeholder 1"/>
          <p:cNvSpPr txBox="1">
            <a:spLocks/>
          </p:cNvSpPr>
          <p:nvPr/>
        </p:nvSpPr>
        <p:spPr>
          <a:xfrm>
            <a:off x="1803917" y="952816"/>
            <a:ext cx="4396616" cy="6153165"/>
          </a:xfrm>
          <a:prstGeom prst="rect">
            <a:avLst/>
          </a:prstGeom>
        </p:spPr>
        <p:txBody>
          <a:bodyPr vert="horz" wrap="square" lIns="0" tIns="0" rIns="0" bIns="0" rtlCol="0">
            <a:spAutoFit/>
          </a:bodyPr>
          <a:lstStyle>
            <a:lvl1pPr marL="0" marR="0" indent="0" algn="l" defTabSz="685955" rtl="0" eaLnBrk="1" fontAlgn="auto" latinLnBrk="0" hangingPunct="1">
              <a:lnSpc>
                <a:spcPct val="90000"/>
              </a:lnSpc>
              <a:spcBef>
                <a:spcPts val="1800"/>
              </a:spcBef>
              <a:spcAft>
                <a:spcPts val="0"/>
              </a:spcAft>
              <a:buClrTx/>
              <a:buSzPct val="90000"/>
              <a:buFont typeface="Arial" pitchFamily="34" charset="0"/>
              <a:buNone/>
              <a:tabLst/>
              <a:defRPr sz="3001" kern="1200" spc="-53" baseline="0">
                <a:gradFill>
                  <a:gsLst>
                    <a:gs pos="100000">
                      <a:schemeClr val="tx2"/>
                    </a:gs>
                    <a:gs pos="0">
                      <a:schemeClr val="tx2"/>
                    </a:gs>
                  </a:gsLst>
                  <a:lin ang="5400000" scaled="0"/>
                </a:gradFill>
                <a:latin typeface="+mj-lt"/>
                <a:ea typeface="+mn-ea"/>
                <a:cs typeface="+mn-cs"/>
              </a:defRPr>
            </a:lvl1pPr>
            <a:lvl2pPr marL="0" marR="0" indent="0" algn="l" defTabSz="685955" rtl="0" eaLnBrk="1" fontAlgn="auto" latinLnBrk="0" hangingPunct="1">
              <a:lnSpc>
                <a:spcPct val="90000"/>
              </a:lnSpc>
              <a:spcBef>
                <a:spcPct val="20000"/>
              </a:spcBef>
              <a:spcAft>
                <a:spcPts val="0"/>
              </a:spcAft>
              <a:buClrTx/>
              <a:buSzPct val="90000"/>
              <a:buFont typeface="Wingdings" pitchFamily="2" charset="2"/>
              <a:buNone/>
              <a:tabLst/>
              <a:defRPr sz="1500" kern="1200" spc="0" baseline="0">
                <a:gradFill>
                  <a:gsLst>
                    <a:gs pos="100000">
                      <a:schemeClr val="tx1"/>
                    </a:gs>
                    <a:gs pos="6000">
                      <a:schemeClr val="tx1"/>
                    </a:gs>
                  </a:gsLst>
                  <a:lin ang="5400000" scaled="0"/>
                </a:gradFill>
                <a:latin typeface="+mn-lt"/>
                <a:ea typeface="+mn-ea"/>
                <a:cs typeface="+mn-cs"/>
              </a:defRPr>
            </a:lvl2pPr>
            <a:lvl3pPr marL="173878" marR="0" indent="0" algn="l" defTabSz="685955" rtl="0" eaLnBrk="1" fontAlgn="auto" latinLnBrk="0" hangingPunct="1">
              <a:lnSpc>
                <a:spcPct val="90000"/>
              </a:lnSpc>
              <a:spcBef>
                <a:spcPct val="20000"/>
              </a:spcBef>
              <a:spcAft>
                <a:spcPts val="0"/>
              </a:spcAft>
              <a:buClrTx/>
              <a:buSzPct val="90000"/>
              <a:buFont typeface="Wingdings" pitchFamily="2" charset="2"/>
              <a:buNone/>
              <a:tabLst>
                <a:tab pos="599044" algn="l"/>
              </a:tabLst>
              <a:defRPr sz="1500" kern="1200" spc="0" baseline="0">
                <a:gradFill>
                  <a:gsLst>
                    <a:gs pos="100000">
                      <a:schemeClr val="tx1"/>
                    </a:gs>
                    <a:gs pos="6000">
                      <a:schemeClr val="tx1"/>
                    </a:gs>
                  </a:gsLst>
                  <a:lin ang="5400000" scaled="0"/>
                </a:gradFill>
                <a:latin typeface="+mn-lt"/>
                <a:ea typeface="+mn-ea"/>
                <a:cs typeface="+mn-cs"/>
              </a:defRPr>
            </a:lvl3pPr>
            <a:lvl4pPr marL="342991" marR="0" indent="0" algn="l" defTabSz="685955" rtl="0" eaLnBrk="1" fontAlgn="auto" latinLnBrk="0" hangingPunct="1">
              <a:lnSpc>
                <a:spcPct val="90000"/>
              </a:lnSpc>
              <a:spcBef>
                <a:spcPct val="20000"/>
              </a:spcBef>
              <a:spcAft>
                <a:spcPts val="0"/>
              </a:spcAft>
              <a:buClrTx/>
              <a:buSzPct val="90000"/>
              <a:buFont typeface="Wingdings" pitchFamily="2" charset="2"/>
              <a:buNone/>
              <a:tabLst/>
              <a:defRPr sz="1500" kern="1200" spc="0" baseline="0">
                <a:gradFill>
                  <a:gsLst>
                    <a:gs pos="100000">
                      <a:schemeClr val="tx1"/>
                    </a:gs>
                    <a:gs pos="6000">
                      <a:schemeClr val="tx1"/>
                    </a:gs>
                  </a:gsLst>
                  <a:lin ang="5400000" scaled="0"/>
                </a:gradFill>
                <a:latin typeface="+mn-lt"/>
                <a:ea typeface="+mn-ea"/>
                <a:cs typeface="+mn-cs"/>
              </a:defRPr>
            </a:lvl4pPr>
            <a:lvl5pPr marL="520442" marR="0" indent="0" algn="l" defTabSz="685955" rtl="0" eaLnBrk="1" fontAlgn="auto" latinLnBrk="0" hangingPunct="1">
              <a:lnSpc>
                <a:spcPct val="90000"/>
              </a:lnSpc>
              <a:spcBef>
                <a:spcPct val="20000"/>
              </a:spcBef>
              <a:spcAft>
                <a:spcPts val="0"/>
              </a:spcAft>
              <a:buClrTx/>
              <a:buSzPct val="90000"/>
              <a:buFont typeface="Wingdings" pitchFamily="2" charset="2"/>
              <a:buNone/>
              <a:tabLst>
                <a:tab pos="942036" algn="l"/>
              </a:tabLst>
              <a:defRPr sz="1500" kern="1200" spc="0" baseline="0">
                <a:gradFill>
                  <a:gsLst>
                    <a:gs pos="100000">
                      <a:schemeClr val="tx1"/>
                    </a:gs>
                    <a:gs pos="6000">
                      <a:schemeClr val="tx1"/>
                    </a:gs>
                  </a:gsLst>
                  <a:lin ang="5400000" scaled="0"/>
                </a:gradFill>
                <a:latin typeface="+mn-lt"/>
                <a:ea typeface="+mn-ea"/>
                <a:cs typeface="+mn-cs"/>
              </a:defRPr>
            </a:lvl5pPr>
            <a:lvl6pPr marL="1886377"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355"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333"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311"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2856" dirty="0">
                <a:gradFill>
                  <a:gsLst>
                    <a:gs pos="100000">
                      <a:srgbClr val="61DDFF"/>
                    </a:gs>
                    <a:gs pos="0">
                      <a:srgbClr val="61DDFF"/>
                    </a:gs>
                  </a:gsLst>
                  <a:lin ang="5400000" scaled="0"/>
                </a:gradFill>
              </a:rPr>
              <a:t>Firmware/Software Delivery</a:t>
            </a:r>
          </a:p>
          <a:p>
            <a:r>
              <a:rPr lang="en-US" sz="2856" dirty="0">
                <a:gradFill>
                  <a:gsLst>
                    <a:gs pos="100000">
                      <a:srgbClr val="61DDFF"/>
                    </a:gs>
                    <a:gs pos="0">
                      <a:srgbClr val="61DDFF"/>
                    </a:gs>
                  </a:gsLst>
                  <a:lin ang="5400000" scaled="0"/>
                </a:gradFill>
              </a:rPr>
              <a:t>Insight Delivery</a:t>
            </a:r>
          </a:p>
          <a:p>
            <a:r>
              <a:rPr lang="en-US" sz="2856" dirty="0">
                <a:gradFill>
                  <a:gsLst>
                    <a:gs pos="100000">
                      <a:srgbClr val="61DDFF"/>
                    </a:gs>
                    <a:gs pos="0">
                      <a:srgbClr val="61DDFF"/>
                    </a:gs>
                  </a:gsLst>
                  <a:lin ang="5400000" scaled="0"/>
                </a:gradFill>
              </a:rPr>
              <a:t>Dashboards &amp; Remote </a:t>
            </a:r>
            <a:r>
              <a:rPr lang="en-US" sz="2856" dirty="0" err="1">
                <a:gradFill>
                  <a:gsLst>
                    <a:gs pos="100000">
                      <a:srgbClr val="61DDFF"/>
                    </a:gs>
                    <a:gs pos="0">
                      <a:srgbClr val="61DDFF"/>
                    </a:gs>
                  </a:gsLst>
                  <a:lin ang="5400000" scaled="0"/>
                </a:gradFill>
              </a:rPr>
              <a:t>Mgmt</a:t>
            </a:r>
            <a:endParaRPr lang="en-US" sz="2856" dirty="0">
              <a:gradFill>
                <a:gsLst>
                  <a:gs pos="100000">
                    <a:srgbClr val="61DDFF"/>
                  </a:gs>
                  <a:gs pos="0">
                    <a:srgbClr val="61DDFF"/>
                  </a:gs>
                </a:gsLst>
                <a:lin ang="5400000" scaled="0"/>
              </a:gradFill>
            </a:endParaRPr>
          </a:p>
          <a:p>
            <a:r>
              <a:rPr lang="en-US" sz="2856" dirty="0">
                <a:gradFill>
                  <a:gsLst>
                    <a:gs pos="100000">
                      <a:srgbClr val="61DDFF"/>
                    </a:gs>
                    <a:gs pos="0">
                      <a:srgbClr val="61DDFF"/>
                    </a:gs>
                  </a:gsLst>
                  <a:lin ang="5400000" scaled="0"/>
                </a:gradFill>
              </a:rPr>
              <a:t>Device to Infrastructure</a:t>
            </a:r>
          </a:p>
          <a:p>
            <a:r>
              <a:rPr lang="en-US" sz="2856" dirty="0">
                <a:gradFill>
                  <a:gsLst>
                    <a:gs pos="100000">
                      <a:srgbClr val="61DDFF"/>
                    </a:gs>
                    <a:gs pos="0">
                      <a:srgbClr val="61DDFF"/>
                    </a:gs>
                  </a:gsLst>
                  <a:lin ang="5400000" scaled="0"/>
                </a:gradFill>
              </a:rPr>
              <a:t>Geo-Tracking</a:t>
            </a:r>
          </a:p>
          <a:p>
            <a:r>
              <a:rPr lang="en-US" sz="2856" dirty="0">
                <a:gradFill>
                  <a:gsLst>
                    <a:gs pos="100000">
                      <a:srgbClr val="61DDFF"/>
                    </a:gs>
                    <a:gs pos="0">
                      <a:srgbClr val="61DDFF"/>
                    </a:gs>
                  </a:gsLst>
                  <a:lin ang="5400000" scaled="0"/>
                </a:gradFill>
              </a:rPr>
              <a:t>Media Delivery &amp; Playback</a:t>
            </a:r>
          </a:p>
          <a:p>
            <a:r>
              <a:rPr lang="en-US" sz="2856" dirty="0">
                <a:gradFill>
                  <a:gsLst>
                    <a:gs pos="100000">
                      <a:srgbClr val="61DDFF"/>
                    </a:gs>
                    <a:gs pos="0">
                      <a:srgbClr val="61DDFF"/>
                    </a:gs>
                  </a:gsLst>
                  <a:lin ang="5400000" scaled="0"/>
                </a:gradFill>
              </a:rPr>
              <a:t>Fitness/Health</a:t>
            </a:r>
          </a:p>
          <a:p>
            <a:r>
              <a:rPr lang="en-US" sz="2856" dirty="0">
                <a:gradFill>
                  <a:gsLst>
                    <a:gs pos="100000">
                      <a:srgbClr val="61DDFF"/>
                    </a:gs>
                    <a:gs pos="0">
                      <a:srgbClr val="61DDFF"/>
                    </a:gs>
                  </a:gsLst>
                  <a:lin ang="5400000" scaled="0"/>
                </a:gradFill>
              </a:rPr>
              <a:t>Connected Operations</a:t>
            </a:r>
          </a:p>
          <a:p>
            <a:r>
              <a:rPr lang="en-US" sz="2856" dirty="0">
                <a:gradFill>
                  <a:gsLst>
                    <a:gs pos="100000">
                      <a:srgbClr val="61DDFF"/>
                    </a:gs>
                    <a:gs pos="0">
                      <a:srgbClr val="61DDFF"/>
                    </a:gs>
                  </a:gsLst>
                  <a:lin ang="5400000" scaled="0"/>
                </a:gradFill>
              </a:rPr>
              <a:t>Connected Vehicles</a:t>
            </a:r>
          </a:p>
          <a:p>
            <a:r>
              <a:rPr lang="en-US" sz="2856" dirty="0">
                <a:gradFill>
                  <a:gsLst>
                    <a:gs pos="100000">
                      <a:srgbClr val="61DDFF"/>
                    </a:gs>
                    <a:gs pos="0">
                      <a:srgbClr val="61DDFF"/>
                    </a:gs>
                  </a:gsLst>
                  <a:lin ang="5400000" scaled="0"/>
                </a:gradFill>
              </a:rPr>
              <a:t>Connected Retail</a:t>
            </a:r>
          </a:p>
        </p:txBody>
      </p:sp>
      <p:sp>
        <p:nvSpPr>
          <p:cNvPr id="18" name="Title 2"/>
          <p:cNvSpPr>
            <a:spLocks noGrp="1"/>
          </p:cNvSpPr>
          <p:nvPr>
            <p:ph type="title"/>
          </p:nvPr>
        </p:nvSpPr>
        <p:spPr>
          <a:xfrm>
            <a:off x="274639" y="68262"/>
            <a:ext cx="11889564" cy="917575"/>
          </a:xfrm>
        </p:spPr>
        <p:txBody>
          <a:bodyPr/>
          <a:lstStyle/>
          <a:p>
            <a:r>
              <a:rPr lang="en-US" dirty="0" smtClean="0"/>
              <a:t>Scenarios</a:t>
            </a:r>
            <a:endParaRPr lang="en-US" dirty="0"/>
          </a:p>
        </p:txBody>
      </p:sp>
    </p:spTree>
    <p:extLst>
      <p:ext uri="{BB962C8B-B14F-4D97-AF65-F5344CB8AC3E}">
        <p14:creationId xmlns:p14="http://schemas.microsoft.com/office/powerpoint/2010/main" val="1013104907"/>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bwMode="auto">
          <a:xfrm>
            <a:off x="6233234" y="909016"/>
            <a:ext cx="4585940" cy="6061836"/>
          </a:xfrm>
          <a:prstGeom prst="rect">
            <a:avLst/>
          </a:prstGeom>
          <a:solidFill>
            <a:schemeClr val="tx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3" rIns="0" bIns="34973" numCol="1" rtlCol="0" anchor="ctr" anchorCtr="0" compatLnSpc="1">
            <a:prstTxWarp prst="textNoShape">
              <a:avLst/>
            </a:prstTxWarp>
          </a:bodyPr>
          <a:lstStyle/>
          <a:p>
            <a:pPr algn="ctr" defTabSz="699291"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13" name="Rectangle 12"/>
          <p:cNvSpPr/>
          <p:nvPr/>
        </p:nvSpPr>
        <p:spPr bwMode="auto">
          <a:xfrm>
            <a:off x="6215650" y="909016"/>
            <a:ext cx="4585940" cy="5805727"/>
          </a:xfrm>
          <a:prstGeom prst="rect">
            <a:avLst/>
          </a:prstGeom>
          <a:solidFill>
            <a:schemeClr val="tx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3" rIns="0" bIns="34973" numCol="1" rtlCol="0" anchor="ctr" anchorCtr="0" compatLnSpc="1">
            <a:prstTxWarp prst="textNoShape">
              <a:avLst/>
            </a:prstTxWarp>
          </a:bodyPr>
          <a:lstStyle/>
          <a:p>
            <a:pPr algn="ctr" defTabSz="699291"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12" name="Rectangle 11"/>
          <p:cNvSpPr/>
          <p:nvPr/>
        </p:nvSpPr>
        <p:spPr bwMode="auto">
          <a:xfrm>
            <a:off x="6219125" y="1210036"/>
            <a:ext cx="4585940" cy="4757426"/>
          </a:xfrm>
          <a:prstGeom prst="rect">
            <a:avLst/>
          </a:prstGeom>
          <a:solidFill>
            <a:schemeClr val="tx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3" rIns="0" bIns="34973" numCol="1" rtlCol="0" anchor="ctr" anchorCtr="0" compatLnSpc="1">
            <a:prstTxWarp prst="textNoShape">
              <a:avLst/>
            </a:prstTxWarp>
          </a:bodyPr>
          <a:lstStyle/>
          <a:p>
            <a:pPr algn="ctr" defTabSz="699291" fontAlgn="base">
              <a:spcBef>
                <a:spcPct val="0"/>
              </a:spcBef>
              <a:spcAft>
                <a:spcPct val="0"/>
              </a:spcAft>
            </a:pPr>
            <a:endParaRPr lang="en-US" sz="1500" dirty="0">
              <a:gradFill>
                <a:gsLst>
                  <a:gs pos="0">
                    <a:srgbClr val="FFFFFF"/>
                  </a:gs>
                  <a:gs pos="100000">
                    <a:srgbClr val="FFFFFF"/>
                  </a:gs>
                </a:gsLst>
                <a:lin ang="5400000" scaled="0"/>
              </a:gradFill>
            </a:endParaRPr>
          </a:p>
        </p:txBody>
      </p:sp>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l="1608" t="7212" r="1182" b="8329"/>
          <a:stretch/>
        </p:blipFill>
        <p:spPr>
          <a:xfrm>
            <a:off x="6808886" y="1293997"/>
            <a:ext cx="3753398" cy="1571160"/>
          </a:xfrm>
          <a:prstGeom prst="rect">
            <a:avLst/>
          </a:prstGeom>
          <a:noFill/>
          <a:ln>
            <a:noFill/>
          </a:ln>
        </p:spPr>
      </p:pic>
      <p:pic>
        <p:nvPicPr>
          <p:cNvPr id="5" name="Picture 4"/>
          <p:cNvPicPr>
            <a:picLocks noChangeAspect="1"/>
          </p:cNvPicPr>
          <p:nvPr/>
        </p:nvPicPr>
        <p:blipFill>
          <a:blip r:embed="rId3"/>
          <a:stretch>
            <a:fillRect/>
          </a:stretch>
        </p:blipFill>
        <p:spPr>
          <a:xfrm>
            <a:off x="6808886" y="2936404"/>
            <a:ext cx="3753398" cy="1506770"/>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85645" y="4488885"/>
            <a:ext cx="1076639" cy="1376156"/>
          </a:xfrm>
          <a:prstGeom prst="rect">
            <a:avLst/>
          </a:prstGeom>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792899" y="4488885"/>
            <a:ext cx="1088037" cy="1376156"/>
          </a:xfrm>
          <a:prstGeom prst="rect">
            <a:avLst/>
          </a:prstGeom>
        </p:spPr>
      </p:pic>
      <p:pic>
        <p:nvPicPr>
          <p:cNvPr id="11" name="Picture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951103" y="4488885"/>
            <a:ext cx="1443650" cy="1376156"/>
          </a:xfrm>
          <a:prstGeom prst="rect">
            <a:avLst/>
          </a:prstGeom>
        </p:spPr>
      </p:pic>
      <p:sp>
        <p:nvSpPr>
          <p:cNvPr id="17" name="Rectangle 16"/>
          <p:cNvSpPr/>
          <p:nvPr/>
        </p:nvSpPr>
        <p:spPr bwMode="auto">
          <a:xfrm>
            <a:off x="1662383" y="3421140"/>
            <a:ext cx="4679683" cy="492849"/>
          </a:xfrm>
          <a:prstGeom prst="rect">
            <a:avLst/>
          </a:prstGeom>
          <a:solidFill>
            <a:schemeClr val="tx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3" rIns="0" bIns="34973" numCol="1" rtlCol="0" anchor="ctr" anchorCtr="0" compatLnSpc="1">
            <a:prstTxWarp prst="textNoShape">
              <a:avLst/>
            </a:prstTxWarp>
          </a:bodyPr>
          <a:lstStyle/>
          <a:p>
            <a:pPr algn="ctr" defTabSz="699291"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19" name="Text Placeholder 1"/>
          <p:cNvSpPr txBox="1">
            <a:spLocks/>
          </p:cNvSpPr>
          <p:nvPr/>
        </p:nvSpPr>
        <p:spPr>
          <a:xfrm>
            <a:off x="1803917" y="952816"/>
            <a:ext cx="4396616" cy="6153165"/>
          </a:xfrm>
          <a:prstGeom prst="rect">
            <a:avLst/>
          </a:prstGeom>
        </p:spPr>
        <p:txBody>
          <a:bodyPr vert="horz" wrap="square" lIns="0" tIns="0" rIns="0" bIns="0" rtlCol="0">
            <a:spAutoFit/>
          </a:bodyPr>
          <a:lstStyle>
            <a:lvl1pPr marL="0" marR="0" indent="0" algn="l" defTabSz="685955" rtl="0" eaLnBrk="1" fontAlgn="auto" latinLnBrk="0" hangingPunct="1">
              <a:lnSpc>
                <a:spcPct val="90000"/>
              </a:lnSpc>
              <a:spcBef>
                <a:spcPts val="1800"/>
              </a:spcBef>
              <a:spcAft>
                <a:spcPts val="0"/>
              </a:spcAft>
              <a:buClrTx/>
              <a:buSzPct val="90000"/>
              <a:buFont typeface="Arial" pitchFamily="34" charset="0"/>
              <a:buNone/>
              <a:tabLst/>
              <a:defRPr sz="3001" kern="1200" spc="-53" baseline="0">
                <a:gradFill>
                  <a:gsLst>
                    <a:gs pos="100000">
                      <a:schemeClr val="tx2"/>
                    </a:gs>
                    <a:gs pos="0">
                      <a:schemeClr val="tx2"/>
                    </a:gs>
                  </a:gsLst>
                  <a:lin ang="5400000" scaled="0"/>
                </a:gradFill>
                <a:latin typeface="+mj-lt"/>
                <a:ea typeface="+mn-ea"/>
                <a:cs typeface="+mn-cs"/>
              </a:defRPr>
            </a:lvl1pPr>
            <a:lvl2pPr marL="0" marR="0" indent="0" algn="l" defTabSz="685955" rtl="0" eaLnBrk="1" fontAlgn="auto" latinLnBrk="0" hangingPunct="1">
              <a:lnSpc>
                <a:spcPct val="90000"/>
              </a:lnSpc>
              <a:spcBef>
                <a:spcPct val="20000"/>
              </a:spcBef>
              <a:spcAft>
                <a:spcPts val="0"/>
              </a:spcAft>
              <a:buClrTx/>
              <a:buSzPct val="90000"/>
              <a:buFont typeface="Wingdings" pitchFamily="2" charset="2"/>
              <a:buNone/>
              <a:tabLst/>
              <a:defRPr sz="1500" kern="1200" spc="0" baseline="0">
                <a:gradFill>
                  <a:gsLst>
                    <a:gs pos="100000">
                      <a:schemeClr val="tx1"/>
                    </a:gs>
                    <a:gs pos="6000">
                      <a:schemeClr val="tx1"/>
                    </a:gs>
                  </a:gsLst>
                  <a:lin ang="5400000" scaled="0"/>
                </a:gradFill>
                <a:latin typeface="+mn-lt"/>
                <a:ea typeface="+mn-ea"/>
                <a:cs typeface="+mn-cs"/>
              </a:defRPr>
            </a:lvl2pPr>
            <a:lvl3pPr marL="173878" marR="0" indent="0" algn="l" defTabSz="685955" rtl="0" eaLnBrk="1" fontAlgn="auto" latinLnBrk="0" hangingPunct="1">
              <a:lnSpc>
                <a:spcPct val="90000"/>
              </a:lnSpc>
              <a:spcBef>
                <a:spcPct val="20000"/>
              </a:spcBef>
              <a:spcAft>
                <a:spcPts val="0"/>
              </a:spcAft>
              <a:buClrTx/>
              <a:buSzPct val="90000"/>
              <a:buFont typeface="Wingdings" pitchFamily="2" charset="2"/>
              <a:buNone/>
              <a:tabLst>
                <a:tab pos="599044" algn="l"/>
              </a:tabLst>
              <a:defRPr sz="1500" kern="1200" spc="0" baseline="0">
                <a:gradFill>
                  <a:gsLst>
                    <a:gs pos="100000">
                      <a:schemeClr val="tx1"/>
                    </a:gs>
                    <a:gs pos="6000">
                      <a:schemeClr val="tx1"/>
                    </a:gs>
                  </a:gsLst>
                  <a:lin ang="5400000" scaled="0"/>
                </a:gradFill>
                <a:latin typeface="+mn-lt"/>
                <a:ea typeface="+mn-ea"/>
                <a:cs typeface="+mn-cs"/>
              </a:defRPr>
            </a:lvl3pPr>
            <a:lvl4pPr marL="342991" marR="0" indent="0" algn="l" defTabSz="685955" rtl="0" eaLnBrk="1" fontAlgn="auto" latinLnBrk="0" hangingPunct="1">
              <a:lnSpc>
                <a:spcPct val="90000"/>
              </a:lnSpc>
              <a:spcBef>
                <a:spcPct val="20000"/>
              </a:spcBef>
              <a:spcAft>
                <a:spcPts val="0"/>
              </a:spcAft>
              <a:buClrTx/>
              <a:buSzPct val="90000"/>
              <a:buFont typeface="Wingdings" pitchFamily="2" charset="2"/>
              <a:buNone/>
              <a:tabLst/>
              <a:defRPr sz="1500" kern="1200" spc="0" baseline="0">
                <a:gradFill>
                  <a:gsLst>
                    <a:gs pos="100000">
                      <a:schemeClr val="tx1"/>
                    </a:gs>
                    <a:gs pos="6000">
                      <a:schemeClr val="tx1"/>
                    </a:gs>
                  </a:gsLst>
                  <a:lin ang="5400000" scaled="0"/>
                </a:gradFill>
                <a:latin typeface="+mn-lt"/>
                <a:ea typeface="+mn-ea"/>
                <a:cs typeface="+mn-cs"/>
              </a:defRPr>
            </a:lvl4pPr>
            <a:lvl5pPr marL="520442" marR="0" indent="0" algn="l" defTabSz="685955" rtl="0" eaLnBrk="1" fontAlgn="auto" latinLnBrk="0" hangingPunct="1">
              <a:lnSpc>
                <a:spcPct val="90000"/>
              </a:lnSpc>
              <a:spcBef>
                <a:spcPct val="20000"/>
              </a:spcBef>
              <a:spcAft>
                <a:spcPts val="0"/>
              </a:spcAft>
              <a:buClrTx/>
              <a:buSzPct val="90000"/>
              <a:buFont typeface="Wingdings" pitchFamily="2" charset="2"/>
              <a:buNone/>
              <a:tabLst>
                <a:tab pos="942036" algn="l"/>
              </a:tabLst>
              <a:defRPr sz="1500" kern="1200" spc="0" baseline="0">
                <a:gradFill>
                  <a:gsLst>
                    <a:gs pos="100000">
                      <a:schemeClr val="tx1"/>
                    </a:gs>
                    <a:gs pos="6000">
                      <a:schemeClr val="tx1"/>
                    </a:gs>
                  </a:gsLst>
                  <a:lin ang="5400000" scaled="0"/>
                </a:gradFill>
                <a:latin typeface="+mn-lt"/>
                <a:ea typeface="+mn-ea"/>
                <a:cs typeface="+mn-cs"/>
              </a:defRPr>
            </a:lvl5pPr>
            <a:lvl6pPr marL="1886377"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355"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333"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311"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2856" dirty="0">
                <a:gradFill>
                  <a:gsLst>
                    <a:gs pos="100000">
                      <a:srgbClr val="61DDFF"/>
                    </a:gs>
                    <a:gs pos="0">
                      <a:srgbClr val="61DDFF"/>
                    </a:gs>
                  </a:gsLst>
                  <a:lin ang="5400000" scaled="0"/>
                </a:gradFill>
              </a:rPr>
              <a:t>Firmware/Software Delivery</a:t>
            </a:r>
          </a:p>
          <a:p>
            <a:r>
              <a:rPr lang="en-US" sz="2856" dirty="0">
                <a:gradFill>
                  <a:gsLst>
                    <a:gs pos="100000">
                      <a:srgbClr val="61DDFF"/>
                    </a:gs>
                    <a:gs pos="0">
                      <a:srgbClr val="61DDFF"/>
                    </a:gs>
                  </a:gsLst>
                  <a:lin ang="5400000" scaled="0"/>
                </a:gradFill>
              </a:rPr>
              <a:t>Insight Delivery</a:t>
            </a:r>
          </a:p>
          <a:p>
            <a:r>
              <a:rPr lang="en-US" sz="2856" dirty="0">
                <a:gradFill>
                  <a:gsLst>
                    <a:gs pos="100000">
                      <a:srgbClr val="61DDFF"/>
                    </a:gs>
                    <a:gs pos="0">
                      <a:srgbClr val="61DDFF"/>
                    </a:gs>
                  </a:gsLst>
                  <a:lin ang="5400000" scaled="0"/>
                </a:gradFill>
              </a:rPr>
              <a:t>Dashboards &amp; Remote </a:t>
            </a:r>
            <a:r>
              <a:rPr lang="en-US" sz="2856" dirty="0" err="1">
                <a:gradFill>
                  <a:gsLst>
                    <a:gs pos="100000">
                      <a:srgbClr val="61DDFF"/>
                    </a:gs>
                    <a:gs pos="0">
                      <a:srgbClr val="61DDFF"/>
                    </a:gs>
                  </a:gsLst>
                  <a:lin ang="5400000" scaled="0"/>
                </a:gradFill>
              </a:rPr>
              <a:t>Mgmt</a:t>
            </a:r>
            <a:endParaRPr lang="en-US" sz="2856" dirty="0">
              <a:gradFill>
                <a:gsLst>
                  <a:gs pos="100000">
                    <a:srgbClr val="61DDFF"/>
                  </a:gs>
                  <a:gs pos="0">
                    <a:srgbClr val="61DDFF"/>
                  </a:gs>
                </a:gsLst>
                <a:lin ang="5400000" scaled="0"/>
              </a:gradFill>
            </a:endParaRPr>
          </a:p>
          <a:p>
            <a:r>
              <a:rPr lang="en-US" sz="2856" dirty="0">
                <a:gradFill>
                  <a:gsLst>
                    <a:gs pos="100000">
                      <a:srgbClr val="61DDFF"/>
                    </a:gs>
                    <a:gs pos="0">
                      <a:srgbClr val="61DDFF"/>
                    </a:gs>
                  </a:gsLst>
                  <a:lin ang="5400000" scaled="0"/>
                </a:gradFill>
              </a:rPr>
              <a:t>Device to Infrastructure</a:t>
            </a:r>
          </a:p>
          <a:p>
            <a:r>
              <a:rPr lang="en-US" sz="2856" dirty="0">
                <a:gradFill>
                  <a:gsLst>
                    <a:gs pos="100000">
                      <a:srgbClr val="61DDFF"/>
                    </a:gs>
                    <a:gs pos="0">
                      <a:srgbClr val="61DDFF"/>
                    </a:gs>
                  </a:gsLst>
                  <a:lin ang="5400000" scaled="0"/>
                </a:gradFill>
              </a:rPr>
              <a:t>Geo-Tracking</a:t>
            </a:r>
          </a:p>
          <a:p>
            <a:r>
              <a:rPr lang="en-US" sz="2856" dirty="0">
                <a:gradFill>
                  <a:gsLst>
                    <a:gs pos="100000">
                      <a:srgbClr val="61DDFF"/>
                    </a:gs>
                    <a:gs pos="0">
                      <a:srgbClr val="61DDFF"/>
                    </a:gs>
                  </a:gsLst>
                  <a:lin ang="5400000" scaled="0"/>
                </a:gradFill>
              </a:rPr>
              <a:t>Media Delivery &amp; Playback</a:t>
            </a:r>
          </a:p>
          <a:p>
            <a:r>
              <a:rPr lang="en-US" sz="2856" dirty="0">
                <a:gradFill>
                  <a:gsLst>
                    <a:gs pos="100000">
                      <a:srgbClr val="61DDFF"/>
                    </a:gs>
                    <a:gs pos="0">
                      <a:srgbClr val="61DDFF"/>
                    </a:gs>
                  </a:gsLst>
                  <a:lin ang="5400000" scaled="0"/>
                </a:gradFill>
              </a:rPr>
              <a:t>Fitness/Health</a:t>
            </a:r>
          </a:p>
          <a:p>
            <a:r>
              <a:rPr lang="en-US" sz="2856" dirty="0">
                <a:gradFill>
                  <a:gsLst>
                    <a:gs pos="100000">
                      <a:srgbClr val="61DDFF"/>
                    </a:gs>
                    <a:gs pos="0">
                      <a:srgbClr val="61DDFF"/>
                    </a:gs>
                  </a:gsLst>
                  <a:lin ang="5400000" scaled="0"/>
                </a:gradFill>
              </a:rPr>
              <a:t>Connected Operations</a:t>
            </a:r>
          </a:p>
          <a:p>
            <a:r>
              <a:rPr lang="en-US" sz="2856" dirty="0">
                <a:gradFill>
                  <a:gsLst>
                    <a:gs pos="100000">
                      <a:srgbClr val="61DDFF"/>
                    </a:gs>
                    <a:gs pos="0">
                      <a:srgbClr val="61DDFF"/>
                    </a:gs>
                  </a:gsLst>
                  <a:lin ang="5400000" scaled="0"/>
                </a:gradFill>
              </a:rPr>
              <a:t>Connected Vehicles</a:t>
            </a:r>
          </a:p>
          <a:p>
            <a:r>
              <a:rPr lang="en-US" sz="2856" dirty="0">
                <a:gradFill>
                  <a:gsLst>
                    <a:gs pos="100000">
                      <a:srgbClr val="61DDFF"/>
                    </a:gs>
                    <a:gs pos="0">
                      <a:srgbClr val="61DDFF"/>
                    </a:gs>
                  </a:gsLst>
                  <a:lin ang="5400000" scaled="0"/>
                </a:gradFill>
              </a:rPr>
              <a:t>Connected Retail</a:t>
            </a:r>
          </a:p>
        </p:txBody>
      </p:sp>
      <p:sp>
        <p:nvSpPr>
          <p:cNvPr id="14" name="Title 2"/>
          <p:cNvSpPr>
            <a:spLocks noGrp="1"/>
          </p:cNvSpPr>
          <p:nvPr>
            <p:ph type="title"/>
          </p:nvPr>
        </p:nvSpPr>
        <p:spPr>
          <a:xfrm>
            <a:off x="274639" y="68262"/>
            <a:ext cx="11889564" cy="917575"/>
          </a:xfrm>
        </p:spPr>
        <p:txBody>
          <a:bodyPr/>
          <a:lstStyle/>
          <a:p>
            <a:r>
              <a:rPr lang="en-US" dirty="0" smtClean="0"/>
              <a:t>Scenarios</a:t>
            </a:r>
            <a:endParaRPr lang="en-US" dirty="0"/>
          </a:p>
        </p:txBody>
      </p:sp>
    </p:spTree>
    <p:extLst>
      <p:ext uri="{BB962C8B-B14F-4D97-AF65-F5344CB8AC3E}">
        <p14:creationId xmlns:p14="http://schemas.microsoft.com/office/powerpoint/2010/main" val="816780298"/>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6233234" y="909016"/>
            <a:ext cx="4585940" cy="6061836"/>
          </a:xfrm>
          <a:prstGeom prst="rect">
            <a:avLst/>
          </a:prstGeom>
          <a:solidFill>
            <a:schemeClr val="tx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3" rIns="0" bIns="34973" numCol="1" rtlCol="0" anchor="ctr" anchorCtr="0" compatLnSpc="1">
            <a:prstTxWarp prst="textNoShape">
              <a:avLst/>
            </a:prstTxWarp>
          </a:bodyPr>
          <a:lstStyle/>
          <a:p>
            <a:pPr algn="ctr" defTabSz="699291"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11" name="Rectangle 10"/>
          <p:cNvSpPr/>
          <p:nvPr/>
        </p:nvSpPr>
        <p:spPr bwMode="auto">
          <a:xfrm>
            <a:off x="6215650" y="909016"/>
            <a:ext cx="4585940" cy="5805727"/>
          </a:xfrm>
          <a:prstGeom prst="rect">
            <a:avLst/>
          </a:prstGeom>
          <a:solidFill>
            <a:schemeClr val="tx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3" rIns="0" bIns="34973" numCol="1" rtlCol="0" anchor="ctr" anchorCtr="0" compatLnSpc="1">
            <a:prstTxWarp prst="textNoShape">
              <a:avLst/>
            </a:prstTxWarp>
          </a:bodyPr>
          <a:lstStyle/>
          <a:p>
            <a:pPr algn="ctr" defTabSz="699291"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10" name="Rectangle 9"/>
          <p:cNvSpPr/>
          <p:nvPr/>
        </p:nvSpPr>
        <p:spPr bwMode="auto">
          <a:xfrm>
            <a:off x="6219125" y="1210036"/>
            <a:ext cx="4585940" cy="4757426"/>
          </a:xfrm>
          <a:prstGeom prst="rect">
            <a:avLst/>
          </a:prstGeom>
          <a:solidFill>
            <a:schemeClr val="tx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3" rIns="0" bIns="34973" numCol="1" rtlCol="0" anchor="ctr" anchorCtr="0" compatLnSpc="1">
            <a:prstTxWarp prst="textNoShape">
              <a:avLst/>
            </a:prstTxWarp>
          </a:bodyPr>
          <a:lstStyle/>
          <a:p>
            <a:pPr algn="ctr" defTabSz="699291" fontAlgn="base">
              <a:spcBef>
                <a:spcPct val="0"/>
              </a:spcBef>
              <a:spcAft>
                <a:spcPct val="0"/>
              </a:spcAft>
            </a:pPr>
            <a:endParaRPr lang="en-US" sz="1500" dirty="0">
              <a:gradFill>
                <a:gsLst>
                  <a:gs pos="0">
                    <a:srgbClr val="FFFFFF"/>
                  </a:gs>
                  <a:gs pos="100000">
                    <a:srgbClr val="FFFFFF"/>
                  </a:gs>
                </a:gsLst>
                <a:lin ang="5400000" scaled="0"/>
              </a:gradFill>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03945" y="1343289"/>
            <a:ext cx="2206392" cy="1388145"/>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52344" y="1355650"/>
            <a:ext cx="1735685" cy="1391158"/>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03945" y="4446055"/>
            <a:ext cx="2206392" cy="1428548"/>
          </a:xfrm>
          <a:prstGeom prst="rect">
            <a:avLst/>
          </a:prstGeom>
        </p:spPr>
      </p:pic>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862240" y="4396060"/>
            <a:ext cx="1896805" cy="1599973"/>
          </a:xfrm>
          <a:prstGeom prst="rect">
            <a:avLst/>
          </a:prstGeom>
        </p:spPr>
      </p:pic>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933904" y="2824885"/>
            <a:ext cx="1735685" cy="1493095"/>
          </a:xfrm>
          <a:prstGeom prst="rect">
            <a:avLst/>
          </a:prstGeom>
        </p:spPr>
      </p:pic>
      <p:pic>
        <p:nvPicPr>
          <p:cNvPr id="9" name="Picture 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03945" y="2845225"/>
            <a:ext cx="2206392" cy="1487041"/>
          </a:xfrm>
          <a:prstGeom prst="rect">
            <a:avLst/>
          </a:prstGeom>
        </p:spPr>
      </p:pic>
      <p:sp>
        <p:nvSpPr>
          <p:cNvPr id="13" name="Rectangle 12"/>
          <p:cNvSpPr/>
          <p:nvPr/>
        </p:nvSpPr>
        <p:spPr bwMode="auto">
          <a:xfrm>
            <a:off x="1662383" y="4042875"/>
            <a:ext cx="4679683" cy="492849"/>
          </a:xfrm>
          <a:prstGeom prst="rect">
            <a:avLst/>
          </a:prstGeom>
          <a:solidFill>
            <a:schemeClr val="tx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3" rIns="0" bIns="34973" numCol="1" rtlCol="0" anchor="ctr" anchorCtr="0" compatLnSpc="1">
            <a:prstTxWarp prst="textNoShape">
              <a:avLst/>
            </a:prstTxWarp>
          </a:bodyPr>
          <a:lstStyle/>
          <a:p>
            <a:pPr algn="ctr" defTabSz="699291"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15" name="Text Placeholder 1"/>
          <p:cNvSpPr txBox="1">
            <a:spLocks/>
          </p:cNvSpPr>
          <p:nvPr/>
        </p:nvSpPr>
        <p:spPr>
          <a:xfrm>
            <a:off x="1803917" y="952816"/>
            <a:ext cx="4396616" cy="6153165"/>
          </a:xfrm>
          <a:prstGeom prst="rect">
            <a:avLst/>
          </a:prstGeom>
        </p:spPr>
        <p:txBody>
          <a:bodyPr vert="horz" wrap="square" lIns="0" tIns="0" rIns="0" bIns="0" rtlCol="0">
            <a:spAutoFit/>
          </a:bodyPr>
          <a:lstStyle>
            <a:lvl1pPr marL="0" marR="0" indent="0" algn="l" defTabSz="685955" rtl="0" eaLnBrk="1" fontAlgn="auto" latinLnBrk="0" hangingPunct="1">
              <a:lnSpc>
                <a:spcPct val="90000"/>
              </a:lnSpc>
              <a:spcBef>
                <a:spcPts val="1800"/>
              </a:spcBef>
              <a:spcAft>
                <a:spcPts val="0"/>
              </a:spcAft>
              <a:buClrTx/>
              <a:buSzPct val="90000"/>
              <a:buFont typeface="Arial" pitchFamily="34" charset="0"/>
              <a:buNone/>
              <a:tabLst/>
              <a:defRPr sz="3001" kern="1200" spc="-53" baseline="0">
                <a:gradFill>
                  <a:gsLst>
                    <a:gs pos="100000">
                      <a:schemeClr val="tx2"/>
                    </a:gs>
                    <a:gs pos="0">
                      <a:schemeClr val="tx2"/>
                    </a:gs>
                  </a:gsLst>
                  <a:lin ang="5400000" scaled="0"/>
                </a:gradFill>
                <a:latin typeface="+mj-lt"/>
                <a:ea typeface="+mn-ea"/>
                <a:cs typeface="+mn-cs"/>
              </a:defRPr>
            </a:lvl1pPr>
            <a:lvl2pPr marL="0" marR="0" indent="0" algn="l" defTabSz="685955" rtl="0" eaLnBrk="1" fontAlgn="auto" latinLnBrk="0" hangingPunct="1">
              <a:lnSpc>
                <a:spcPct val="90000"/>
              </a:lnSpc>
              <a:spcBef>
                <a:spcPct val="20000"/>
              </a:spcBef>
              <a:spcAft>
                <a:spcPts val="0"/>
              </a:spcAft>
              <a:buClrTx/>
              <a:buSzPct val="90000"/>
              <a:buFont typeface="Wingdings" pitchFamily="2" charset="2"/>
              <a:buNone/>
              <a:tabLst/>
              <a:defRPr sz="1500" kern="1200" spc="0" baseline="0">
                <a:gradFill>
                  <a:gsLst>
                    <a:gs pos="100000">
                      <a:schemeClr val="tx1"/>
                    </a:gs>
                    <a:gs pos="6000">
                      <a:schemeClr val="tx1"/>
                    </a:gs>
                  </a:gsLst>
                  <a:lin ang="5400000" scaled="0"/>
                </a:gradFill>
                <a:latin typeface="+mn-lt"/>
                <a:ea typeface="+mn-ea"/>
                <a:cs typeface="+mn-cs"/>
              </a:defRPr>
            </a:lvl2pPr>
            <a:lvl3pPr marL="173878" marR="0" indent="0" algn="l" defTabSz="685955" rtl="0" eaLnBrk="1" fontAlgn="auto" latinLnBrk="0" hangingPunct="1">
              <a:lnSpc>
                <a:spcPct val="90000"/>
              </a:lnSpc>
              <a:spcBef>
                <a:spcPct val="20000"/>
              </a:spcBef>
              <a:spcAft>
                <a:spcPts val="0"/>
              </a:spcAft>
              <a:buClrTx/>
              <a:buSzPct val="90000"/>
              <a:buFont typeface="Wingdings" pitchFamily="2" charset="2"/>
              <a:buNone/>
              <a:tabLst>
                <a:tab pos="599044" algn="l"/>
              </a:tabLst>
              <a:defRPr sz="1500" kern="1200" spc="0" baseline="0">
                <a:gradFill>
                  <a:gsLst>
                    <a:gs pos="100000">
                      <a:schemeClr val="tx1"/>
                    </a:gs>
                    <a:gs pos="6000">
                      <a:schemeClr val="tx1"/>
                    </a:gs>
                  </a:gsLst>
                  <a:lin ang="5400000" scaled="0"/>
                </a:gradFill>
                <a:latin typeface="+mn-lt"/>
                <a:ea typeface="+mn-ea"/>
                <a:cs typeface="+mn-cs"/>
              </a:defRPr>
            </a:lvl3pPr>
            <a:lvl4pPr marL="342991" marR="0" indent="0" algn="l" defTabSz="685955" rtl="0" eaLnBrk="1" fontAlgn="auto" latinLnBrk="0" hangingPunct="1">
              <a:lnSpc>
                <a:spcPct val="90000"/>
              </a:lnSpc>
              <a:spcBef>
                <a:spcPct val="20000"/>
              </a:spcBef>
              <a:spcAft>
                <a:spcPts val="0"/>
              </a:spcAft>
              <a:buClrTx/>
              <a:buSzPct val="90000"/>
              <a:buFont typeface="Wingdings" pitchFamily="2" charset="2"/>
              <a:buNone/>
              <a:tabLst/>
              <a:defRPr sz="1500" kern="1200" spc="0" baseline="0">
                <a:gradFill>
                  <a:gsLst>
                    <a:gs pos="100000">
                      <a:schemeClr val="tx1"/>
                    </a:gs>
                    <a:gs pos="6000">
                      <a:schemeClr val="tx1"/>
                    </a:gs>
                  </a:gsLst>
                  <a:lin ang="5400000" scaled="0"/>
                </a:gradFill>
                <a:latin typeface="+mn-lt"/>
                <a:ea typeface="+mn-ea"/>
                <a:cs typeface="+mn-cs"/>
              </a:defRPr>
            </a:lvl4pPr>
            <a:lvl5pPr marL="520442" marR="0" indent="0" algn="l" defTabSz="685955" rtl="0" eaLnBrk="1" fontAlgn="auto" latinLnBrk="0" hangingPunct="1">
              <a:lnSpc>
                <a:spcPct val="90000"/>
              </a:lnSpc>
              <a:spcBef>
                <a:spcPct val="20000"/>
              </a:spcBef>
              <a:spcAft>
                <a:spcPts val="0"/>
              </a:spcAft>
              <a:buClrTx/>
              <a:buSzPct val="90000"/>
              <a:buFont typeface="Wingdings" pitchFamily="2" charset="2"/>
              <a:buNone/>
              <a:tabLst>
                <a:tab pos="942036" algn="l"/>
              </a:tabLst>
              <a:defRPr sz="1500" kern="1200" spc="0" baseline="0">
                <a:gradFill>
                  <a:gsLst>
                    <a:gs pos="100000">
                      <a:schemeClr val="tx1"/>
                    </a:gs>
                    <a:gs pos="6000">
                      <a:schemeClr val="tx1"/>
                    </a:gs>
                  </a:gsLst>
                  <a:lin ang="5400000" scaled="0"/>
                </a:gradFill>
                <a:latin typeface="+mn-lt"/>
                <a:ea typeface="+mn-ea"/>
                <a:cs typeface="+mn-cs"/>
              </a:defRPr>
            </a:lvl5pPr>
            <a:lvl6pPr marL="1886377"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355"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333"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311"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2856" dirty="0">
                <a:gradFill>
                  <a:gsLst>
                    <a:gs pos="100000">
                      <a:srgbClr val="61DDFF"/>
                    </a:gs>
                    <a:gs pos="0">
                      <a:srgbClr val="61DDFF"/>
                    </a:gs>
                  </a:gsLst>
                  <a:lin ang="5400000" scaled="0"/>
                </a:gradFill>
              </a:rPr>
              <a:t>Firmware/Software Delivery</a:t>
            </a:r>
          </a:p>
          <a:p>
            <a:r>
              <a:rPr lang="en-US" sz="2856" dirty="0">
                <a:gradFill>
                  <a:gsLst>
                    <a:gs pos="100000">
                      <a:srgbClr val="61DDFF"/>
                    </a:gs>
                    <a:gs pos="0">
                      <a:srgbClr val="61DDFF"/>
                    </a:gs>
                  </a:gsLst>
                  <a:lin ang="5400000" scaled="0"/>
                </a:gradFill>
              </a:rPr>
              <a:t>Insight Delivery</a:t>
            </a:r>
          </a:p>
          <a:p>
            <a:r>
              <a:rPr lang="en-US" sz="2856" dirty="0">
                <a:gradFill>
                  <a:gsLst>
                    <a:gs pos="100000">
                      <a:srgbClr val="61DDFF"/>
                    </a:gs>
                    <a:gs pos="0">
                      <a:srgbClr val="61DDFF"/>
                    </a:gs>
                  </a:gsLst>
                  <a:lin ang="5400000" scaled="0"/>
                </a:gradFill>
              </a:rPr>
              <a:t>Dashboards &amp; Remote </a:t>
            </a:r>
            <a:r>
              <a:rPr lang="en-US" sz="2856" dirty="0" err="1">
                <a:gradFill>
                  <a:gsLst>
                    <a:gs pos="100000">
                      <a:srgbClr val="61DDFF"/>
                    </a:gs>
                    <a:gs pos="0">
                      <a:srgbClr val="61DDFF"/>
                    </a:gs>
                  </a:gsLst>
                  <a:lin ang="5400000" scaled="0"/>
                </a:gradFill>
              </a:rPr>
              <a:t>Mgmt</a:t>
            </a:r>
            <a:endParaRPr lang="en-US" sz="2856" dirty="0">
              <a:gradFill>
                <a:gsLst>
                  <a:gs pos="100000">
                    <a:srgbClr val="61DDFF"/>
                  </a:gs>
                  <a:gs pos="0">
                    <a:srgbClr val="61DDFF"/>
                  </a:gs>
                </a:gsLst>
                <a:lin ang="5400000" scaled="0"/>
              </a:gradFill>
            </a:endParaRPr>
          </a:p>
          <a:p>
            <a:r>
              <a:rPr lang="en-US" sz="2856" dirty="0">
                <a:gradFill>
                  <a:gsLst>
                    <a:gs pos="100000">
                      <a:srgbClr val="61DDFF"/>
                    </a:gs>
                    <a:gs pos="0">
                      <a:srgbClr val="61DDFF"/>
                    </a:gs>
                  </a:gsLst>
                  <a:lin ang="5400000" scaled="0"/>
                </a:gradFill>
              </a:rPr>
              <a:t>Device to Infrastructure</a:t>
            </a:r>
          </a:p>
          <a:p>
            <a:r>
              <a:rPr lang="en-US" sz="2856" dirty="0">
                <a:gradFill>
                  <a:gsLst>
                    <a:gs pos="100000">
                      <a:srgbClr val="61DDFF"/>
                    </a:gs>
                    <a:gs pos="0">
                      <a:srgbClr val="61DDFF"/>
                    </a:gs>
                  </a:gsLst>
                  <a:lin ang="5400000" scaled="0"/>
                </a:gradFill>
              </a:rPr>
              <a:t>Geo-Tracking</a:t>
            </a:r>
          </a:p>
          <a:p>
            <a:r>
              <a:rPr lang="en-US" sz="2856" dirty="0">
                <a:gradFill>
                  <a:gsLst>
                    <a:gs pos="100000">
                      <a:srgbClr val="61DDFF"/>
                    </a:gs>
                    <a:gs pos="0">
                      <a:srgbClr val="61DDFF"/>
                    </a:gs>
                  </a:gsLst>
                  <a:lin ang="5400000" scaled="0"/>
                </a:gradFill>
              </a:rPr>
              <a:t>Media Delivery &amp; Playback</a:t>
            </a:r>
          </a:p>
          <a:p>
            <a:r>
              <a:rPr lang="en-US" sz="2856" dirty="0">
                <a:gradFill>
                  <a:gsLst>
                    <a:gs pos="100000">
                      <a:srgbClr val="61DDFF"/>
                    </a:gs>
                    <a:gs pos="0">
                      <a:srgbClr val="61DDFF"/>
                    </a:gs>
                  </a:gsLst>
                  <a:lin ang="5400000" scaled="0"/>
                </a:gradFill>
              </a:rPr>
              <a:t>Fitness/Health</a:t>
            </a:r>
          </a:p>
          <a:p>
            <a:r>
              <a:rPr lang="en-US" sz="2856" dirty="0">
                <a:gradFill>
                  <a:gsLst>
                    <a:gs pos="100000">
                      <a:srgbClr val="61DDFF"/>
                    </a:gs>
                    <a:gs pos="0">
                      <a:srgbClr val="61DDFF"/>
                    </a:gs>
                  </a:gsLst>
                  <a:lin ang="5400000" scaled="0"/>
                </a:gradFill>
              </a:rPr>
              <a:t>Connected Operations</a:t>
            </a:r>
          </a:p>
          <a:p>
            <a:r>
              <a:rPr lang="en-US" sz="2856" dirty="0">
                <a:gradFill>
                  <a:gsLst>
                    <a:gs pos="100000">
                      <a:srgbClr val="61DDFF"/>
                    </a:gs>
                    <a:gs pos="0">
                      <a:srgbClr val="61DDFF"/>
                    </a:gs>
                  </a:gsLst>
                  <a:lin ang="5400000" scaled="0"/>
                </a:gradFill>
              </a:rPr>
              <a:t>Connected Vehicles</a:t>
            </a:r>
          </a:p>
          <a:p>
            <a:r>
              <a:rPr lang="en-US" sz="2856" dirty="0">
                <a:gradFill>
                  <a:gsLst>
                    <a:gs pos="100000">
                      <a:srgbClr val="61DDFF"/>
                    </a:gs>
                    <a:gs pos="0">
                      <a:srgbClr val="61DDFF"/>
                    </a:gs>
                  </a:gsLst>
                  <a:lin ang="5400000" scaled="0"/>
                </a:gradFill>
              </a:rPr>
              <a:t>Connected Retail</a:t>
            </a:r>
          </a:p>
        </p:txBody>
      </p:sp>
      <p:sp>
        <p:nvSpPr>
          <p:cNvPr id="17" name="Title 2"/>
          <p:cNvSpPr>
            <a:spLocks noGrp="1"/>
          </p:cNvSpPr>
          <p:nvPr>
            <p:ph type="title"/>
          </p:nvPr>
        </p:nvSpPr>
        <p:spPr>
          <a:xfrm>
            <a:off x="274639" y="68262"/>
            <a:ext cx="11889564" cy="917575"/>
          </a:xfrm>
        </p:spPr>
        <p:txBody>
          <a:bodyPr/>
          <a:lstStyle/>
          <a:p>
            <a:r>
              <a:rPr lang="en-US" dirty="0" smtClean="0"/>
              <a:t>Scenarios</a:t>
            </a:r>
            <a:endParaRPr lang="en-US" dirty="0"/>
          </a:p>
        </p:txBody>
      </p:sp>
    </p:spTree>
    <p:extLst>
      <p:ext uri="{BB962C8B-B14F-4D97-AF65-F5344CB8AC3E}">
        <p14:creationId xmlns:p14="http://schemas.microsoft.com/office/powerpoint/2010/main" val="4092272931"/>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6233234" y="909016"/>
            <a:ext cx="4585940" cy="6061836"/>
          </a:xfrm>
          <a:prstGeom prst="rect">
            <a:avLst/>
          </a:prstGeom>
          <a:solidFill>
            <a:schemeClr val="tx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3" rIns="0" bIns="34973" numCol="1" rtlCol="0" anchor="ctr" anchorCtr="0" compatLnSpc="1">
            <a:prstTxWarp prst="textNoShape">
              <a:avLst/>
            </a:prstTxWarp>
          </a:bodyPr>
          <a:lstStyle/>
          <a:p>
            <a:pPr algn="ctr" defTabSz="699291"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13" name="Rectangle 12"/>
          <p:cNvSpPr/>
          <p:nvPr/>
        </p:nvSpPr>
        <p:spPr bwMode="auto">
          <a:xfrm>
            <a:off x="6215650" y="909016"/>
            <a:ext cx="4585940" cy="5805727"/>
          </a:xfrm>
          <a:prstGeom prst="rect">
            <a:avLst/>
          </a:prstGeom>
          <a:solidFill>
            <a:schemeClr val="tx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3" rIns="0" bIns="34973" numCol="1" rtlCol="0" anchor="ctr" anchorCtr="0" compatLnSpc="1">
            <a:prstTxWarp prst="textNoShape">
              <a:avLst/>
            </a:prstTxWarp>
          </a:bodyPr>
          <a:lstStyle/>
          <a:p>
            <a:pPr algn="ctr" defTabSz="699291"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4" name="Rectangle 3"/>
          <p:cNvSpPr/>
          <p:nvPr/>
        </p:nvSpPr>
        <p:spPr bwMode="auto">
          <a:xfrm>
            <a:off x="6219125" y="1210036"/>
            <a:ext cx="4585940" cy="4757426"/>
          </a:xfrm>
          <a:prstGeom prst="rect">
            <a:avLst/>
          </a:prstGeom>
          <a:solidFill>
            <a:schemeClr val="tx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3" rIns="0" bIns="34973" numCol="1" rtlCol="0" anchor="ctr" anchorCtr="0" compatLnSpc="1">
            <a:prstTxWarp prst="textNoShape">
              <a:avLst/>
            </a:prstTxWarp>
          </a:bodyPr>
          <a:lstStyle/>
          <a:p>
            <a:pPr algn="ctr" defTabSz="699291" fontAlgn="base">
              <a:spcBef>
                <a:spcPct val="0"/>
              </a:spcBef>
              <a:spcAft>
                <a:spcPct val="0"/>
              </a:spcAft>
            </a:pPr>
            <a:endParaRPr lang="en-US" sz="1500" dirty="0">
              <a:gradFill>
                <a:gsLst>
                  <a:gs pos="0">
                    <a:srgbClr val="FFFFFF"/>
                  </a:gs>
                  <a:gs pos="100000">
                    <a:srgbClr val="FFFFFF"/>
                  </a:gs>
                </a:gsLst>
                <a:lin ang="5400000" scaled="0"/>
              </a:gradFill>
            </a:endParaRPr>
          </a:p>
        </p:txBody>
      </p:sp>
      <p:pic>
        <p:nvPicPr>
          <p:cNvPr id="5" name="Picture 4"/>
          <p:cNvPicPr>
            <a:picLocks noChangeAspect="1"/>
          </p:cNvPicPr>
          <p:nvPr/>
        </p:nvPicPr>
        <p:blipFill>
          <a:blip r:embed="rId2"/>
          <a:stretch>
            <a:fillRect/>
          </a:stretch>
        </p:blipFill>
        <p:spPr>
          <a:xfrm>
            <a:off x="6546754" y="2755282"/>
            <a:ext cx="871414" cy="1131101"/>
          </a:xfrm>
          <a:prstGeom prst="rect">
            <a:avLst/>
          </a:prstGeom>
        </p:spPr>
      </p:pic>
      <p:pic>
        <p:nvPicPr>
          <p:cNvPr id="6" name="Picture 5"/>
          <p:cNvPicPr>
            <a:picLocks noChangeAspect="1"/>
          </p:cNvPicPr>
          <p:nvPr/>
        </p:nvPicPr>
        <p:blipFill>
          <a:blip r:embed="rId3"/>
          <a:stretch>
            <a:fillRect/>
          </a:stretch>
        </p:blipFill>
        <p:spPr>
          <a:xfrm>
            <a:off x="6548068" y="1410924"/>
            <a:ext cx="870100" cy="1110532"/>
          </a:xfrm>
          <a:prstGeom prst="rect">
            <a:avLst/>
          </a:prstGeom>
        </p:spPr>
      </p:pic>
      <p:pic>
        <p:nvPicPr>
          <p:cNvPr id="8" name="Picture 7"/>
          <p:cNvPicPr>
            <a:picLocks noChangeAspect="1"/>
          </p:cNvPicPr>
          <p:nvPr/>
        </p:nvPicPr>
        <p:blipFill>
          <a:blip r:embed="rId4"/>
          <a:stretch>
            <a:fillRect/>
          </a:stretch>
        </p:blipFill>
        <p:spPr>
          <a:xfrm>
            <a:off x="7538007" y="2731581"/>
            <a:ext cx="1007406" cy="1139537"/>
          </a:xfrm>
          <a:prstGeom prst="rect">
            <a:avLst/>
          </a:prstGeom>
        </p:spPr>
      </p:pic>
      <p:pic>
        <p:nvPicPr>
          <p:cNvPr id="9" name="Picture 8"/>
          <p:cNvPicPr>
            <a:picLocks noChangeAspect="1"/>
          </p:cNvPicPr>
          <p:nvPr/>
        </p:nvPicPr>
        <p:blipFill>
          <a:blip r:embed="rId5"/>
          <a:stretch>
            <a:fillRect/>
          </a:stretch>
        </p:blipFill>
        <p:spPr>
          <a:xfrm>
            <a:off x="8695590" y="2731579"/>
            <a:ext cx="2053123" cy="1138850"/>
          </a:xfrm>
          <a:prstGeom prst="rect">
            <a:avLst/>
          </a:prstGeom>
        </p:spPr>
      </p:pic>
      <p:pic>
        <p:nvPicPr>
          <p:cNvPr id="10" name="Picture 9"/>
          <p:cNvPicPr>
            <a:picLocks noChangeAspect="1"/>
          </p:cNvPicPr>
          <p:nvPr/>
        </p:nvPicPr>
        <p:blipFill>
          <a:blip r:embed="rId6"/>
          <a:stretch>
            <a:fillRect/>
          </a:stretch>
        </p:blipFill>
        <p:spPr>
          <a:xfrm>
            <a:off x="7538007" y="1391468"/>
            <a:ext cx="1037747" cy="1129991"/>
          </a:xfrm>
          <a:prstGeom prst="rect">
            <a:avLst/>
          </a:prstGeom>
        </p:spPr>
      </p:pic>
      <p:pic>
        <p:nvPicPr>
          <p:cNvPr id="11" name="Picture 10"/>
          <p:cNvPicPr>
            <a:picLocks noChangeAspect="1"/>
          </p:cNvPicPr>
          <p:nvPr/>
        </p:nvPicPr>
        <p:blipFill>
          <a:blip r:embed="rId7"/>
          <a:stretch>
            <a:fillRect/>
          </a:stretch>
        </p:blipFill>
        <p:spPr>
          <a:xfrm>
            <a:off x="8695590" y="1357548"/>
            <a:ext cx="2053123" cy="1163911"/>
          </a:xfrm>
          <a:prstGeom prst="rect">
            <a:avLst/>
          </a:prstGeom>
        </p:spPr>
      </p:pic>
      <p:pic>
        <p:nvPicPr>
          <p:cNvPr id="12" name="Picture 11"/>
          <p:cNvPicPr>
            <a:picLocks noChangeAspect="1"/>
          </p:cNvPicPr>
          <p:nvPr/>
        </p:nvPicPr>
        <p:blipFill>
          <a:blip r:embed="rId8"/>
          <a:stretch>
            <a:fillRect/>
          </a:stretch>
        </p:blipFill>
        <p:spPr>
          <a:xfrm>
            <a:off x="6546753" y="4043093"/>
            <a:ext cx="4201962" cy="1767653"/>
          </a:xfrm>
          <a:prstGeom prst="rect">
            <a:avLst/>
          </a:prstGeom>
        </p:spPr>
      </p:pic>
      <p:sp>
        <p:nvSpPr>
          <p:cNvPr id="15" name="Rectangle 14"/>
          <p:cNvSpPr/>
          <p:nvPr/>
        </p:nvSpPr>
        <p:spPr bwMode="auto">
          <a:xfrm>
            <a:off x="1662383" y="4695697"/>
            <a:ext cx="4679683" cy="492849"/>
          </a:xfrm>
          <a:prstGeom prst="rect">
            <a:avLst/>
          </a:prstGeom>
          <a:solidFill>
            <a:schemeClr val="tx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3" rIns="0" bIns="34973" numCol="1" rtlCol="0" anchor="ctr" anchorCtr="0" compatLnSpc="1">
            <a:prstTxWarp prst="textNoShape">
              <a:avLst/>
            </a:prstTxWarp>
          </a:bodyPr>
          <a:lstStyle/>
          <a:p>
            <a:pPr algn="ctr" defTabSz="699291"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17" name="Text Placeholder 1"/>
          <p:cNvSpPr txBox="1">
            <a:spLocks/>
          </p:cNvSpPr>
          <p:nvPr/>
        </p:nvSpPr>
        <p:spPr>
          <a:xfrm>
            <a:off x="1803917" y="952816"/>
            <a:ext cx="4396616" cy="6153165"/>
          </a:xfrm>
          <a:prstGeom prst="rect">
            <a:avLst/>
          </a:prstGeom>
        </p:spPr>
        <p:txBody>
          <a:bodyPr vert="horz" wrap="square" lIns="0" tIns="0" rIns="0" bIns="0" rtlCol="0">
            <a:spAutoFit/>
          </a:bodyPr>
          <a:lstStyle>
            <a:lvl1pPr marL="0" marR="0" indent="0" algn="l" defTabSz="685955" rtl="0" eaLnBrk="1" fontAlgn="auto" latinLnBrk="0" hangingPunct="1">
              <a:lnSpc>
                <a:spcPct val="90000"/>
              </a:lnSpc>
              <a:spcBef>
                <a:spcPts val="1800"/>
              </a:spcBef>
              <a:spcAft>
                <a:spcPts val="0"/>
              </a:spcAft>
              <a:buClrTx/>
              <a:buSzPct val="90000"/>
              <a:buFont typeface="Arial" pitchFamily="34" charset="0"/>
              <a:buNone/>
              <a:tabLst/>
              <a:defRPr sz="3001" kern="1200" spc="-53" baseline="0">
                <a:gradFill>
                  <a:gsLst>
                    <a:gs pos="100000">
                      <a:schemeClr val="tx2"/>
                    </a:gs>
                    <a:gs pos="0">
                      <a:schemeClr val="tx2"/>
                    </a:gs>
                  </a:gsLst>
                  <a:lin ang="5400000" scaled="0"/>
                </a:gradFill>
                <a:latin typeface="+mj-lt"/>
                <a:ea typeface="+mn-ea"/>
                <a:cs typeface="+mn-cs"/>
              </a:defRPr>
            </a:lvl1pPr>
            <a:lvl2pPr marL="0" marR="0" indent="0" algn="l" defTabSz="685955" rtl="0" eaLnBrk="1" fontAlgn="auto" latinLnBrk="0" hangingPunct="1">
              <a:lnSpc>
                <a:spcPct val="90000"/>
              </a:lnSpc>
              <a:spcBef>
                <a:spcPct val="20000"/>
              </a:spcBef>
              <a:spcAft>
                <a:spcPts val="0"/>
              </a:spcAft>
              <a:buClrTx/>
              <a:buSzPct val="90000"/>
              <a:buFont typeface="Wingdings" pitchFamily="2" charset="2"/>
              <a:buNone/>
              <a:tabLst/>
              <a:defRPr sz="1500" kern="1200" spc="0" baseline="0">
                <a:gradFill>
                  <a:gsLst>
                    <a:gs pos="100000">
                      <a:schemeClr val="tx1"/>
                    </a:gs>
                    <a:gs pos="6000">
                      <a:schemeClr val="tx1"/>
                    </a:gs>
                  </a:gsLst>
                  <a:lin ang="5400000" scaled="0"/>
                </a:gradFill>
                <a:latin typeface="+mn-lt"/>
                <a:ea typeface="+mn-ea"/>
                <a:cs typeface="+mn-cs"/>
              </a:defRPr>
            </a:lvl2pPr>
            <a:lvl3pPr marL="173878" marR="0" indent="0" algn="l" defTabSz="685955" rtl="0" eaLnBrk="1" fontAlgn="auto" latinLnBrk="0" hangingPunct="1">
              <a:lnSpc>
                <a:spcPct val="90000"/>
              </a:lnSpc>
              <a:spcBef>
                <a:spcPct val="20000"/>
              </a:spcBef>
              <a:spcAft>
                <a:spcPts val="0"/>
              </a:spcAft>
              <a:buClrTx/>
              <a:buSzPct val="90000"/>
              <a:buFont typeface="Wingdings" pitchFamily="2" charset="2"/>
              <a:buNone/>
              <a:tabLst>
                <a:tab pos="599044" algn="l"/>
              </a:tabLst>
              <a:defRPr sz="1500" kern="1200" spc="0" baseline="0">
                <a:gradFill>
                  <a:gsLst>
                    <a:gs pos="100000">
                      <a:schemeClr val="tx1"/>
                    </a:gs>
                    <a:gs pos="6000">
                      <a:schemeClr val="tx1"/>
                    </a:gs>
                  </a:gsLst>
                  <a:lin ang="5400000" scaled="0"/>
                </a:gradFill>
                <a:latin typeface="+mn-lt"/>
                <a:ea typeface="+mn-ea"/>
                <a:cs typeface="+mn-cs"/>
              </a:defRPr>
            </a:lvl3pPr>
            <a:lvl4pPr marL="342991" marR="0" indent="0" algn="l" defTabSz="685955" rtl="0" eaLnBrk="1" fontAlgn="auto" latinLnBrk="0" hangingPunct="1">
              <a:lnSpc>
                <a:spcPct val="90000"/>
              </a:lnSpc>
              <a:spcBef>
                <a:spcPct val="20000"/>
              </a:spcBef>
              <a:spcAft>
                <a:spcPts val="0"/>
              </a:spcAft>
              <a:buClrTx/>
              <a:buSzPct val="90000"/>
              <a:buFont typeface="Wingdings" pitchFamily="2" charset="2"/>
              <a:buNone/>
              <a:tabLst/>
              <a:defRPr sz="1500" kern="1200" spc="0" baseline="0">
                <a:gradFill>
                  <a:gsLst>
                    <a:gs pos="100000">
                      <a:schemeClr val="tx1"/>
                    </a:gs>
                    <a:gs pos="6000">
                      <a:schemeClr val="tx1"/>
                    </a:gs>
                  </a:gsLst>
                  <a:lin ang="5400000" scaled="0"/>
                </a:gradFill>
                <a:latin typeface="+mn-lt"/>
                <a:ea typeface="+mn-ea"/>
                <a:cs typeface="+mn-cs"/>
              </a:defRPr>
            </a:lvl4pPr>
            <a:lvl5pPr marL="520442" marR="0" indent="0" algn="l" defTabSz="685955" rtl="0" eaLnBrk="1" fontAlgn="auto" latinLnBrk="0" hangingPunct="1">
              <a:lnSpc>
                <a:spcPct val="90000"/>
              </a:lnSpc>
              <a:spcBef>
                <a:spcPct val="20000"/>
              </a:spcBef>
              <a:spcAft>
                <a:spcPts val="0"/>
              </a:spcAft>
              <a:buClrTx/>
              <a:buSzPct val="90000"/>
              <a:buFont typeface="Wingdings" pitchFamily="2" charset="2"/>
              <a:buNone/>
              <a:tabLst>
                <a:tab pos="942036" algn="l"/>
              </a:tabLst>
              <a:defRPr sz="1500" kern="1200" spc="0" baseline="0">
                <a:gradFill>
                  <a:gsLst>
                    <a:gs pos="100000">
                      <a:schemeClr val="tx1"/>
                    </a:gs>
                    <a:gs pos="6000">
                      <a:schemeClr val="tx1"/>
                    </a:gs>
                  </a:gsLst>
                  <a:lin ang="5400000" scaled="0"/>
                </a:gradFill>
                <a:latin typeface="+mn-lt"/>
                <a:ea typeface="+mn-ea"/>
                <a:cs typeface="+mn-cs"/>
              </a:defRPr>
            </a:lvl5pPr>
            <a:lvl6pPr marL="1886377"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355"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333"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311"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2856" dirty="0">
                <a:gradFill>
                  <a:gsLst>
                    <a:gs pos="100000">
                      <a:srgbClr val="61DDFF"/>
                    </a:gs>
                    <a:gs pos="0">
                      <a:srgbClr val="61DDFF"/>
                    </a:gs>
                  </a:gsLst>
                  <a:lin ang="5400000" scaled="0"/>
                </a:gradFill>
              </a:rPr>
              <a:t>Firmware/Software Delivery</a:t>
            </a:r>
          </a:p>
          <a:p>
            <a:r>
              <a:rPr lang="en-US" sz="2856" dirty="0">
                <a:gradFill>
                  <a:gsLst>
                    <a:gs pos="100000">
                      <a:srgbClr val="61DDFF"/>
                    </a:gs>
                    <a:gs pos="0">
                      <a:srgbClr val="61DDFF"/>
                    </a:gs>
                  </a:gsLst>
                  <a:lin ang="5400000" scaled="0"/>
                </a:gradFill>
              </a:rPr>
              <a:t>Insight Delivery</a:t>
            </a:r>
          </a:p>
          <a:p>
            <a:r>
              <a:rPr lang="en-US" sz="2856" dirty="0">
                <a:gradFill>
                  <a:gsLst>
                    <a:gs pos="100000">
                      <a:srgbClr val="61DDFF"/>
                    </a:gs>
                    <a:gs pos="0">
                      <a:srgbClr val="61DDFF"/>
                    </a:gs>
                  </a:gsLst>
                  <a:lin ang="5400000" scaled="0"/>
                </a:gradFill>
              </a:rPr>
              <a:t>Dashboards &amp; Remote </a:t>
            </a:r>
            <a:r>
              <a:rPr lang="en-US" sz="2856" dirty="0" err="1">
                <a:gradFill>
                  <a:gsLst>
                    <a:gs pos="100000">
                      <a:srgbClr val="61DDFF"/>
                    </a:gs>
                    <a:gs pos="0">
                      <a:srgbClr val="61DDFF"/>
                    </a:gs>
                  </a:gsLst>
                  <a:lin ang="5400000" scaled="0"/>
                </a:gradFill>
              </a:rPr>
              <a:t>Mgmt</a:t>
            </a:r>
            <a:endParaRPr lang="en-US" sz="2856" dirty="0">
              <a:gradFill>
                <a:gsLst>
                  <a:gs pos="100000">
                    <a:srgbClr val="61DDFF"/>
                  </a:gs>
                  <a:gs pos="0">
                    <a:srgbClr val="61DDFF"/>
                  </a:gs>
                </a:gsLst>
                <a:lin ang="5400000" scaled="0"/>
              </a:gradFill>
            </a:endParaRPr>
          </a:p>
          <a:p>
            <a:r>
              <a:rPr lang="en-US" sz="2856" dirty="0">
                <a:gradFill>
                  <a:gsLst>
                    <a:gs pos="100000">
                      <a:srgbClr val="61DDFF"/>
                    </a:gs>
                    <a:gs pos="0">
                      <a:srgbClr val="61DDFF"/>
                    </a:gs>
                  </a:gsLst>
                  <a:lin ang="5400000" scaled="0"/>
                </a:gradFill>
              </a:rPr>
              <a:t>Device to Infrastructure</a:t>
            </a:r>
          </a:p>
          <a:p>
            <a:r>
              <a:rPr lang="en-US" sz="2856" dirty="0">
                <a:gradFill>
                  <a:gsLst>
                    <a:gs pos="100000">
                      <a:srgbClr val="61DDFF"/>
                    </a:gs>
                    <a:gs pos="0">
                      <a:srgbClr val="61DDFF"/>
                    </a:gs>
                  </a:gsLst>
                  <a:lin ang="5400000" scaled="0"/>
                </a:gradFill>
              </a:rPr>
              <a:t>Geo-Tracking</a:t>
            </a:r>
          </a:p>
          <a:p>
            <a:r>
              <a:rPr lang="en-US" sz="2856" dirty="0">
                <a:gradFill>
                  <a:gsLst>
                    <a:gs pos="100000">
                      <a:srgbClr val="61DDFF"/>
                    </a:gs>
                    <a:gs pos="0">
                      <a:srgbClr val="61DDFF"/>
                    </a:gs>
                  </a:gsLst>
                  <a:lin ang="5400000" scaled="0"/>
                </a:gradFill>
              </a:rPr>
              <a:t>Media Delivery &amp; Playback</a:t>
            </a:r>
          </a:p>
          <a:p>
            <a:r>
              <a:rPr lang="en-US" sz="2856" dirty="0">
                <a:gradFill>
                  <a:gsLst>
                    <a:gs pos="100000">
                      <a:srgbClr val="61DDFF"/>
                    </a:gs>
                    <a:gs pos="0">
                      <a:srgbClr val="61DDFF"/>
                    </a:gs>
                  </a:gsLst>
                  <a:lin ang="5400000" scaled="0"/>
                </a:gradFill>
              </a:rPr>
              <a:t>Fitness/Health</a:t>
            </a:r>
          </a:p>
          <a:p>
            <a:r>
              <a:rPr lang="en-US" sz="2856" dirty="0">
                <a:gradFill>
                  <a:gsLst>
                    <a:gs pos="100000">
                      <a:srgbClr val="61DDFF"/>
                    </a:gs>
                    <a:gs pos="0">
                      <a:srgbClr val="61DDFF"/>
                    </a:gs>
                  </a:gsLst>
                  <a:lin ang="5400000" scaled="0"/>
                </a:gradFill>
              </a:rPr>
              <a:t>Connected Operations</a:t>
            </a:r>
          </a:p>
          <a:p>
            <a:r>
              <a:rPr lang="en-US" sz="2856" dirty="0">
                <a:gradFill>
                  <a:gsLst>
                    <a:gs pos="100000">
                      <a:srgbClr val="61DDFF"/>
                    </a:gs>
                    <a:gs pos="0">
                      <a:srgbClr val="61DDFF"/>
                    </a:gs>
                  </a:gsLst>
                  <a:lin ang="5400000" scaled="0"/>
                </a:gradFill>
              </a:rPr>
              <a:t>Connected Vehicles</a:t>
            </a:r>
          </a:p>
          <a:p>
            <a:r>
              <a:rPr lang="en-US" sz="2856" dirty="0">
                <a:gradFill>
                  <a:gsLst>
                    <a:gs pos="100000">
                      <a:srgbClr val="61DDFF"/>
                    </a:gs>
                    <a:gs pos="0">
                      <a:srgbClr val="61DDFF"/>
                    </a:gs>
                  </a:gsLst>
                  <a:lin ang="5400000" scaled="0"/>
                </a:gradFill>
              </a:rPr>
              <a:t>Connected Retail</a:t>
            </a:r>
          </a:p>
        </p:txBody>
      </p:sp>
      <p:sp>
        <p:nvSpPr>
          <p:cNvPr id="19" name="Title 2"/>
          <p:cNvSpPr>
            <a:spLocks noGrp="1"/>
          </p:cNvSpPr>
          <p:nvPr>
            <p:ph type="title"/>
          </p:nvPr>
        </p:nvSpPr>
        <p:spPr>
          <a:xfrm>
            <a:off x="274639" y="68262"/>
            <a:ext cx="11889564" cy="917575"/>
          </a:xfrm>
        </p:spPr>
        <p:txBody>
          <a:bodyPr/>
          <a:lstStyle/>
          <a:p>
            <a:r>
              <a:rPr lang="en-US" dirty="0" smtClean="0"/>
              <a:t>Scenarios</a:t>
            </a:r>
            <a:endParaRPr lang="en-US" dirty="0"/>
          </a:p>
        </p:txBody>
      </p:sp>
    </p:spTree>
    <p:extLst>
      <p:ext uri="{BB962C8B-B14F-4D97-AF65-F5344CB8AC3E}">
        <p14:creationId xmlns:p14="http://schemas.microsoft.com/office/powerpoint/2010/main" val="2656492920"/>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6233234" y="909016"/>
            <a:ext cx="4585940" cy="6061836"/>
          </a:xfrm>
          <a:prstGeom prst="rect">
            <a:avLst/>
          </a:prstGeom>
          <a:solidFill>
            <a:schemeClr val="tx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3" rIns="0" bIns="34973" numCol="1" rtlCol="0" anchor="ctr" anchorCtr="0" compatLnSpc="1">
            <a:prstTxWarp prst="textNoShape">
              <a:avLst/>
            </a:prstTxWarp>
          </a:bodyPr>
          <a:lstStyle/>
          <a:p>
            <a:pPr algn="ctr" defTabSz="699291"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4" name="Rectangle 3"/>
          <p:cNvSpPr/>
          <p:nvPr/>
        </p:nvSpPr>
        <p:spPr bwMode="auto">
          <a:xfrm>
            <a:off x="6233234" y="909016"/>
            <a:ext cx="4585940" cy="5805727"/>
          </a:xfrm>
          <a:prstGeom prst="rect">
            <a:avLst/>
          </a:prstGeom>
          <a:solidFill>
            <a:schemeClr val="tx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3" rIns="0" bIns="34973" numCol="1" rtlCol="0" anchor="ctr" anchorCtr="0" compatLnSpc="1">
            <a:prstTxWarp prst="textNoShape">
              <a:avLst/>
            </a:prstTxWarp>
          </a:bodyPr>
          <a:lstStyle/>
          <a:p>
            <a:pPr algn="ctr" defTabSz="699291" fontAlgn="base">
              <a:spcBef>
                <a:spcPct val="0"/>
              </a:spcBef>
              <a:spcAft>
                <a:spcPct val="0"/>
              </a:spcAft>
            </a:pPr>
            <a:endParaRPr lang="en-US" sz="1500" dirty="0">
              <a:gradFill>
                <a:gsLst>
                  <a:gs pos="0">
                    <a:srgbClr val="FFFFFF"/>
                  </a:gs>
                  <a:gs pos="100000">
                    <a:srgbClr val="FFFFFF"/>
                  </a:gs>
                </a:gsLst>
                <a:lin ang="5400000" scaled="0"/>
              </a:gradFill>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51690" y="1372978"/>
            <a:ext cx="2049622" cy="1354981"/>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08788" y="1329995"/>
            <a:ext cx="1920286" cy="1397964"/>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07307" y="3040050"/>
            <a:ext cx="1920285" cy="1354981"/>
          </a:xfrm>
          <a:prstGeom prst="rect">
            <a:avLst/>
          </a:prstGeom>
        </p:spPr>
      </p:pic>
      <p:pic>
        <p:nvPicPr>
          <p:cNvPr id="8" name="Picture 7"/>
          <p:cNvPicPr>
            <a:picLocks noChangeAspect="1"/>
          </p:cNvPicPr>
          <p:nvPr/>
        </p:nvPicPr>
        <p:blipFill>
          <a:blip r:embed="rId5"/>
          <a:stretch>
            <a:fillRect/>
          </a:stretch>
        </p:blipFill>
        <p:spPr>
          <a:xfrm>
            <a:off x="6361087" y="4736380"/>
            <a:ext cx="4167986" cy="1471554"/>
          </a:xfrm>
          <a:prstGeom prst="rect">
            <a:avLst/>
          </a:prstGeom>
        </p:spPr>
      </p:pic>
      <p:pic>
        <p:nvPicPr>
          <p:cNvPr id="9" name="Picture 8"/>
          <p:cNvPicPr>
            <a:picLocks noChangeAspect="1"/>
          </p:cNvPicPr>
          <p:nvPr/>
        </p:nvPicPr>
        <p:blipFill>
          <a:blip r:embed="rId6"/>
          <a:stretch>
            <a:fillRect/>
          </a:stretch>
        </p:blipFill>
        <p:spPr>
          <a:xfrm>
            <a:off x="6395458" y="3040050"/>
            <a:ext cx="2049622" cy="1354981"/>
          </a:xfrm>
          <a:prstGeom prst="rect">
            <a:avLst/>
          </a:prstGeom>
        </p:spPr>
      </p:pic>
      <p:sp>
        <p:nvSpPr>
          <p:cNvPr id="11" name="Rectangle 10"/>
          <p:cNvSpPr/>
          <p:nvPr/>
        </p:nvSpPr>
        <p:spPr bwMode="auto">
          <a:xfrm>
            <a:off x="1662383" y="5296709"/>
            <a:ext cx="4679683" cy="492849"/>
          </a:xfrm>
          <a:prstGeom prst="rect">
            <a:avLst/>
          </a:prstGeom>
          <a:solidFill>
            <a:schemeClr val="tx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3" rIns="0" bIns="34973" numCol="1" rtlCol="0" anchor="ctr" anchorCtr="0" compatLnSpc="1">
            <a:prstTxWarp prst="textNoShape">
              <a:avLst/>
            </a:prstTxWarp>
          </a:bodyPr>
          <a:lstStyle/>
          <a:p>
            <a:pPr algn="ctr" defTabSz="699291"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13" name="Text Placeholder 1"/>
          <p:cNvSpPr txBox="1">
            <a:spLocks/>
          </p:cNvSpPr>
          <p:nvPr/>
        </p:nvSpPr>
        <p:spPr>
          <a:xfrm>
            <a:off x="1803917" y="952816"/>
            <a:ext cx="4396616" cy="6153165"/>
          </a:xfrm>
          <a:prstGeom prst="rect">
            <a:avLst/>
          </a:prstGeom>
        </p:spPr>
        <p:txBody>
          <a:bodyPr vert="horz" wrap="square" lIns="0" tIns="0" rIns="0" bIns="0" rtlCol="0">
            <a:spAutoFit/>
          </a:bodyPr>
          <a:lstStyle>
            <a:lvl1pPr marL="0" marR="0" indent="0" algn="l" defTabSz="685955" rtl="0" eaLnBrk="1" fontAlgn="auto" latinLnBrk="0" hangingPunct="1">
              <a:lnSpc>
                <a:spcPct val="90000"/>
              </a:lnSpc>
              <a:spcBef>
                <a:spcPts val="1800"/>
              </a:spcBef>
              <a:spcAft>
                <a:spcPts val="0"/>
              </a:spcAft>
              <a:buClrTx/>
              <a:buSzPct val="90000"/>
              <a:buFont typeface="Arial" pitchFamily="34" charset="0"/>
              <a:buNone/>
              <a:tabLst/>
              <a:defRPr sz="3001" kern="1200" spc="-53" baseline="0">
                <a:gradFill>
                  <a:gsLst>
                    <a:gs pos="100000">
                      <a:schemeClr val="tx2"/>
                    </a:gs>
                    <a:gs pos="0">
                      <a:schemeClr val="tx2"/>
                    </a:gs>
                  </a:gsLst>
                  <a:lin ang="5400000" scaled="0"/>
                </a:gradFill>
                <a:latin typeface="+mj-lt"/>
                <a:ea typeface="+mn-ea"/>
                <a:cs typeface="+mn-cs"/>
              </a:defRPr>
            </a:lvl1pPr>
            <a:lvl2pPr marL="0" marR="0" indent="0" algn="l" defTabSz="685955" rtl="0" eaLnBrk="1" fontAlgn="auto" latinLnBrk="0" hangingPunct="1">
              <a:lnSpc>
                <a:spcPct val="90000"/>
              </a:lnSpc>
              <a:spcBef>
                <a:spcPct val="20000"/>
              </a:spcBef>
              <a:spcAft>
                <a:spcPts val="0"/>
              </a:spcAft>
              <a:buClrTx/>
              <a:buSzPct val="90000"/>
              <a:buFont typeface="Wingdings" pitchFamily="2" charset="2"/>
              <a:buNone/>
              <a:tabLst/>
              <a:defRPr sz="1500" kern="1200" spc="0" baseline="0">
                <a:gradFill>
                  <a:gsLst>
                    <a:gs pos="100000">
                      <a:schemeClr val="tx1"/>
                    </a:gs>
                    <a:gs pos="6000">
                      <a:schemeClr val="tx1"/>
                    </a:gs>
                  </a:gsLst>
                  <a:lin ang="5400000" scaled="0"/>
                </a:gradFill>
                <a:latin typeface="+mn-lt"/>
                <a:ea typeface="+mn-ea"/>
                <a:cs typeface="+mn-cs"/>
              </a:defRPr>
            </a:lvl2pPr>
            <a:lvl3pPr marL="173878" marR="0" indent="0" algn="l" defTabSz="685955" rtl="0" eaLnBrk="1" fontAlgn="auto" latinLnBrk="0" hangingPunct="1">
              <a:lnSpc>
                <a:spcPct val="90000"/>
              </a:lnSpc>
              <a:spcBef>
                <a:spcPct val="20000"/>
              </a:spcBef>
              <a:spcAft>
                <a:spcPts val="0"/>
              </a:spcAft>
              <a:buClrTx/>
              <a:buSzPct val="90000"/>
              <a:buFont typeface="Wingdings" pitchFamily="2" charset="2"/>
              <a:buNone/>
              <a:tabLst>
                <a:tab pos="599044" algn="l"/>
              </a:tabLst>
              <a:defRPr sz="1500" kern="1200" spc="0" baseline="0">
                <a:gradFill>
                  <a:gsLst>
                    <a:gs pos="100000">
                      <a:schemeClr val="tx1"/>
                    </a:gs>
                    <a:gs pos="6000">
                      <a:schemeClr val="tx1"/>
                    </a:gs>
                  </a:gsLst>
                  <a:lin ang="5400000" scaled="0"/>
                </a:gradFill>
                <a:latin typeface="+mn-lt"/>
                <a:ea typeface="+mn-ea"/>
                <a:cs typeface="+mn-cs"/>
              </a:defRPr>
            </a:lvl3pPr>
            <a:lvl4pPr marL="342991" marR="0" indent="0" algn="l" defTabSz="685955" rtl="0" eaLnBrk="1" fontAlgn="auto" latinLnBrk="0" hangingPunct="1">
              <a:lnSpc>
                <a:spcPct val="90000"/>
              </a:lnSpc>
              <a:spcBef>
                <a:spcPct val="20000"/>
              </a:spcBef>
              <a:spcAft>
                <a:spcPts val="0"/>
              </a:spcAft>
              <a:buClrTx/>
              <a:buSzPct val="90000"/>
              <a:buFont typeface="Wingdings" pitchFamily="2" charset="2"/>
              <a:buNone/>
              <a:tabLst/>
              <a:defRPr sz="1500" kern="1200" spc="0" baseline="0">
                <a:gradFill>
                  <a:gsLst>
                    <a:gs pos="100000">
                      <a:schemeClr val="tx1"/>
                    </a:gs>
                    <a:gs pos="6000">
                      <a:schemeClr val="tx1"/>
                    </a:gs>
                  </a:gsLst>
                  <a:lin ang="5400000" scaled="0"/>
                </a:gradFill>
                <a:latin typeface="+mn-lt"/>
                <a:ea typeface="+mn-ea"/>
                <a:cs typeface="+mn-cs"/>
              </a:defRPr>
            </a:lvl4pPr>
            <a:lvl5pPr marL="520442" marR="0" indent="0" algn="l" defTabSz="685955" rtl="0" eaLnBrk="1" fontAlgn="auto" latinLnBrk="0" hangingPunct="1">
              <a:lnSpc>
                <a:spcPct val="90000"/>
              </a:lnSpc>
              <a:spcBef>
                <a:spcPct val="20000"/>
              </a:spcBef>
              <a:spcAft>
                <a:spcPts val="0"/>
              </a:spcAft>
              <a:buClrTx/>
              <a:buSzPct val="90000"/>
              <a:buFont typeface="Wingdings" pitchFamily="2" charset="2"/>
              <a:buNone/>
              <a:tabLst>
                <a:tab pos="942036" algn="l"/>
              </a:tabLst>
              <a:defRPr sz="1500" kern="1200" spc="0" baseline="0">
                <a:gradFill>
                  <a:gsLst>
                    <a:gs pos="100000">
                      <a:schemeClr val="tx1"/>
                    </a:gs>
                    <a:gs pos="6000">
                      <a:schemeClr val="tx1"/>
                    </a:gs>
                  </a:gsLst>
                  <a:lin ang="5400000" scaled="0"/>
                </a:gradFill>
                <a:latin typeface="+mn-lt"/>
                <a:ea typeface="+mn-ea"/>
                <a:cs typeface="+mn-cs"/>
              </a:defRPr>
            </a:lvl5pPr>
            <a:lvl6pPr marL="1886377"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355"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333"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311"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2856" dirty="0">
                <a:gradFill>
                  <a:gsLst>
                    <a:gs pos="100000">
                      <a:srgbClr val="61DDFF"/>
                    </a:gs>
                    <a:gs pos="0">
                      <a:srgbClr val="61DDFF"/>
                    </a:gs>
                  </a:gsLst>
                  <a:lin ang="5400000" scaled="0"/>
                </a:gradFill>
              </a:rPr>
              <a:t>Firmware/Software Delivery</a:t>
            </a:r>
          </a:p>
          <a:p>
            <a:r>
              <a:rPr lang="en-US" sz="2856" dirty="0">
                <a:gradFill>
                  <a:gsLst>
                    <a:gs pos="100000">
                      <a:srgbClr val="61DDFF"/>
                    </a:gs>
                    <a:gs pos="0">
                      <a:srgbClr val="61DDFF"/>
                    </a:gs>
                  </a:gsLst>
                  <a:lin ang="5400000" scaled="0"/>
                </a:gradFill>
              </a:rPr>
              <a:t>Insight Delivery</a:t>
            </a:r>
          </a:p>
          <a:p>
            <a:r>
              <a:rPr lang="en-US" sz="2856" dirty="0">
                <a:gradFill>
                  <a:gsLst>
                    <a:gs pos="100000">
                      <a:srgbClr val="61DDFF"/>
                    </a:gs>
                    <a:gs pos="0">
                      <a:srgbClr val="61DDFF"/>
                    </a:gs>
                  </a:gsLst>
                  <a:lin ang="5400000" scaled="0"/>
                </a:gradFill>
              </a:rPr>
              <a:t>Dashboards &amp; Remote </a:t>
            </a:r>
            <a:r>
              <a:rPr lang="en-US" sz="2856" dirty="0" err="1">
                <a:gradFill>
                  <a:gsLst>
                    <a:gs pos="100000">
                      <a:srgbClr val="61DDFF"/>
                    </a:gs>
                    <a:gs pos="0">
                      <a:srgbClr val="61DDFF"/>
                    </a:gs>
                  </a:gsLst>
                  <a:lin ang="5400000" scaled="0"/>
                </a:gradFill>
              </a:rPr>
              <a:t>Mgmt</a:t>
            </a:r>
            <a:endParaRPr lang="en-US" sz="2856" dirty="0">
              <a:gradFill>
                <a:gsLst>
                  <a:gs pos="100000">
                    <a:srgbClr val="61DDFF"/>
                  </a:gs>
                  <a:gs pos="0">
                    <a:srgbClr val="61DDFF"/>
                  </a:gs>
                </a:gsLst>
                <a:lin ang="5400000" scaled="0"/>
              </a:gradFill>
            </a:endParaRPr>
          </a:p>
          <a:p>
            <a:r>
              <a:rPr lang="en-US" sz="2856" dirty="0">
                <a:gradFill>
                  <a:gsLst>
                    <a:gs pos="100000">
                      <a:srgbClr val="61DDFF"/>
                    </a:gs>
                    <a:gs pos="0">
                      <a:srgbClr val="61DDFF"/>
                    </a:gs>
                  </a:gsLst>
                  <a:lin ang="5400000" scaled="0"/>
                </a:gradFill>
              </a:rPr>
              <a:t>Device to Infrastructure</a:t>
            </a:r>
          </a:p>
          <a:p>
            <a:r>
              <a:rPr lang="en-US" sz="2856" dirty="0">
                <a:gradFill>
                  <a:gsLst>
                    <a:gs pos="100000">
                      <a:srgbClr val="61DDFF"/>
                    </a:gs>
                    <a:gs pos="0">
                      <a:srgbClr val="61DDFF"/>
                    </a:gs>
                  </a:gsLst>
                  <a:lin ang="5400000" scaled="0"/>
                </a:gradFill>
              </a:rPr>
              <a:t>Geo-Tracking</a:t>
            </a:r>
          </a:p>
          <a:p>
            <a:r>
              <a:rPr lang="en-US" sz="2856" dirty="0">
                <a:gradFill>
                  <a:gsLst>
                    <a:gs pos="100000">
                      <a:srgbClr val="61DDFF"/>
                    </a:gs>
                    <a:gs pos="0">
                      <a:srgbClr val="61DDFF"/>
                    </a:gs>
                  </a:gsLst>
                  <a:lin ang="5400000" scaled="0"/>
                </a:gradFill>
              </a:rPr>
              <a:t>Media Delivery &amp; Playback</a:t>
            </a:r>
          </a:p>
          <a:p>
            <a:r>
              <a:rPr lang="en-US" sz="2856" dirty="0">
                <a:gradFill>
                  <a:gsLst>
                    <a:gs pos="100000">
                      <a:srgbClr val="61DDFF"/>
                    </a:gs>
                    <a:gs pos="0">
                      <a:srgbClr val="61DDFF"/>
                    </a:gs>
                  </a:gsLst>
                  <a:lin ang="5400000" scaled="0"/>
                </a:gradFill>
              </a:rPr>
              <a:t>Fitness/Health</a:t>
            </a:r>
          </a:p>
          <a:p>
            <a:r>
              <a:rPr lang="en-US" sz="2856" dirty="0">
                <a:gradFill>
                  <a:gsLst>
                    <a:gs pos="100000">
                      <a:srgbClr val="61DDFF"/>
                    </a:gs>
                    <a:gs pos="0">
                      <a:srgbClr val="61DDFF"/>
                    </a:gs>
                  </a:gsLst>
                  <a:lin ang="5400000" scaled="0"/>
                </a:gradFill>
              </a:rPr>
              <a:t>Connected Operations</a:t>
            </a:r>
          </a:p>
          <a:p>
            <a:r>
              <a:rPr lang="en-US" sz="2856" dirty="0">
                <a:gradFill>
                  <a:gsLst>
                    <a:gs pos="100000">
                      <a:srgbClr val="61DDFF"/>
                    </a:gs>
                    <a:gs pos="0">
                      <a:srgbClr val="61DDFF"/>
                    </a:gs>
                  </a:gsLst>
                  <a:lin ang="5400000" scaled="0"/>
                </a:gradFill>
              </a:rPr>
              <a:t>Connected Vehicles</a:t>
            </a:r>
          </a:p>
          <a:p>
            <a:r>
              <a:rPr lang="en-US" sz="2856" dirty="0">
                <a:gradFill>
                  <a:gsLst>
                    <a:gs pos="100000">
                      <a:srgbClr val="61DDFF"/>
                    </a:gs>
                    <a:gs pos="0">
                      <a:srgbClr val="61DDFF"/>
                    </a:gs>
                  </a:gsLst>
                  <a:lin ang="5400000" scaled="0"/>
                </a:gradFill>
              </a:rPr>
              <a:t>Connected Retail</a:t>
            </a:r>
          </a:p>
        </p:txBody>
      </p:sp>
      <p:sp>
        <p:nvSpPr>
          <p:cNvPr id="15" name="Title 2"/>
          <p:cNvSpPr>
            <a:spLocks noGrp="1"/>
          </p:cNvSpPr>
          <p:nvPr>
            <p:ph type="title"/>
          </p:nvPr>
        </p:nvSpPr>
        <p:spPr>
          <a:xfrm>
            <a:off x="274639" y="68262"/>
            <a:ext cx="11889564" cy="917575"/>
          </a:xfrm>
        </p:spPr>
        <p:txBody>
          <a:bodyPr/>
          <a:lstStyle/>
          <a:p>
            <a:r>
              <a:rPr lang="en-US" dirty="0" smtClean="0"/>
              <a:t>Scenarios</a:t>
            </a:r>
            <a:endParaRPr lang="en-US" dirty="0"/>
          </a:p>
        </p:txBody>
      </p:sp>
    </p:spTree>
    <p:extLst>
      <p:ext uri="{BB962C8B-B14F-4D97-AF65-F5344CB8AC3E}">
        <p14:creationId xmlns:p14="http://schemas.microsoft.com/office/powerpoint/2010/main" val="3904634470"/>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6233234" y="909016"/>
            <a:ext cx="4585940" cy="5805727"/>
          </a:xfrm>
          <a:prstGeom prst="rect">
            <a:avLst/>
          </a:prstGeom>
          <a:solidFill>
            <a:schemeClr val="tx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3" rIns="0" bIns="34973" numCol="1" rtlCol="0" anchor="ctr" anchorCtr="0" compatLnSpc="1">
            <a:prstTxWarp prst="textNoShape">
              <a:avLst/>
            </a:prstTxWarp>
          </a:bodyPr>
          <a:lstStyle/>
          <a:p>
            <a:pPr algn="ctr" defTabSz="699291"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4" name="Rectangle 3"/>
          <p:cNvSpPr/>
          <p:nvPr/>
        </p:nvSpPr>
        <p:spPr bwMode="auto">
          <a:xfrm>
            <a:off x="6219125" y="1210036"/>
            <a:ext cx="4585940" cy="4757426"/>
          </a:xfrm>
          <a:prstGeom prst="rect">
            <a:avLst/>
          </a:prstGeom>
          <a:solidFill>
            <a:schemeClr val="tx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3" rIns="0" bIns="34973" numCol="1" rtlCol="0" anchor="ctr" anchorCtr="0" compatLnSpc="1">
            <a:prstTxWarp prst="textNoShape">
              <a:avLst/>
            </a:prstTxWarp>
          </a:bodyPr>
          <a:lstStyle/>
          <a:p>
            <a:pPr algn="ctr" defTabSz="699291"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7" name="Rectangle 6"/>
          <p:cNvSpPr/>
          <p:nvPr/>
        </p:nvSpPr>
        <p:spPr bwMode="auto">
          <a:xfrm>
            <a:off x="1662383" y="5876995"/>
            <a:ext cx="4679683" cy="492849"/>
          </a:xfrm>
          <a:prstGeom prst="rect">
            <a:avLst/>
          </a:prstGeom>
          <a:solidFill>
            <a:schemeClr val="tx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3" rIns="0" bIns="34973" numCol="1" rtlCol="0" anchor="ctr" anchorCtr="0" compatLnSpc="1">
            <a:prstTxWarp prst="textNoShape">
              <a:avLst/>
            </a:prstTxWarp>
          </a:bodyPr>
          <a:lstStyle/>
          <a:p>
            <a:pPr algn="ctr" defTabSz="699291"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9" name="Text Placeholder 1"/>
          <p:cNvSpPr txBox="1">
            <a:spLocks/>
          </p:cNvSpPr>
          <p:nvPr/>
        </p:nvSpPr>
        <p:spPr>
          <a:xfrm>
            <a:off x="1803917" y="952816"/>
            <a:ext cx="4396616" cy="6153165"/>
          </a:xfrm>
          <a:prstGeom prst="rect">
            <a:avLst/>
          </a:prstGeom>
        </p:spPr>
        <p:txBody>
          <a:bodyPr vert="horz" wrap="square" lIns="0" tIns="0" rIns="0" bIns="0" rtlCol="0">
            <a:spAutoFit/>
          </a:bodyPr>
          <a:lstStyle>
            <a:lvl1pPr marL="0" marR="0" indent="0" algn="l" defTabSz="685955" rtl="0" eaLnBrk="1" fontAlgn="auto" latinLnBrk="0" hangingPunct="1">
              <a:lnSpc>
                <a:spcPct val="90000"/>
              </a:lnSpc>
              <a:spcBef>
                <a:spcPts val="1800"/>
              </a:spcBef>
              <a:spcAft>
                <a:spcPts val="0"/>
              </a:spcAft>
              <a:buClrTx/>
              <a:buSzPct val="90000"/>
              <a:buFont typeface="Arial" pitchFamily="34" charset="0"/>
              <a:buNone/>
              <a:tabLst/>
              <a:defRPr sz="3001" kern="1200" spc="-53" baseline="0">
                <a:gradFill>
                  <a:gsLst>
                    <a:gs pos="100000">
                      <a:schemeClr val="tx2"/>
                    </a:gs>
                    <a:gs pos="0">
                      <a:schemeClr val="tx2"/>
                    </a:gs>
                  </a:gsLst>
                  <a:lin ang="5400000" scaled="0"/>
                </a:gradFill>
                <a:latin typeface="+mj-lt"/>
                <a:ea typeface="+mn-ea"/>
                <a:cs typeface="+mn-cs"/>
              </a:defRPr>
            </a:lvl1pPr>
            <a:lvl2pPr marL="0" marR="0" indent="0" algn="l" defTabSz="685955" rtl="0" eaLnBrk="1" fontAlgn="auto" latinLnBrk="0" hangingPunct="1">
              <a:lnSpc>
                <a:spcPct val="90000"/>
              </a:lnSpc>
              <a:spcBef>
                <a:spcPct val="20000"/>
              </a:spcBef>
              <a:spcAft>
                <a:spcPts val="0"/>
              </a:spcAft>
              <a:buClrTx/>
              <a:buSzPct val="90000"/>
              <a:buFont typeface="Wingdings" pitchFamily="2" charset="2"/>
              <a:buNone/>
              <a:tabLst/>
              <a:defRPr sz="1500" kern="1200" spc="0" baseline="0">
                <a:gradFill>
                  <a:gsLst>
                    <a:gs pos="100000">
                      <a:schemeClr val="tx1"/>
                    </a:gs>
                    <a:gs pos="6000">
                      <a:schemeClr val="tx1"/>
                    </a:gs>
                  </a:gsLst>
                  <a:lin ang="5400000" scaled="0"/>
                </a:gradFill>
                <a:latin typeface="+mn-lt"/>
                <a:ea typeface="+mn-ea"/>
                <a:cs typeface="+mn-cs"/>
              </a:defRPr>
            </a:lvl2pPr>
            <a:lvl3pPr marL="173878" marR="0" indent="0" algn="l" defTabSz="685955" rtl="0" eaLnBrk="1" fontAlgn="auto" latinLnBrk="0" hangingPunct="1">
              <a:lnSpc>
                <a:spcPct val="90000"/>
              </a:lnSpc>
              <a:spcBef>
                <a:spcPct val="20000"/>
              </a:spcBef>
              <a:spcAft>
                <a:spcPts val="0"/>
              </a:spcAft>
              <a:buClrTx/>
              <a:buSzPct val="90000"/>
              <a:buFont typeface="Wingdings" pitchFamily="2" charset="2"/>
              <a:buNone/>
              <a:tabLst>
                <a:tab pos="599044" algn="l"/>
              </a:tabLst>
              <a:defRPr sz="1500" kern="1200" spc="0" baseline="0">
                <a:gradFill>
                  <a:gsLst>
                    <a:gs pos="100000">
                      <a:schemeClr val="tx1"/>
                    </a:gs>
                    <a:gs pos="6000">
                      <a:schemeClr val="tx1"/>
                    </a:gs>
                  </a:gsLst>
                  <a:lin ang="5400000" scaled="0"/>
                </a:gradFill>
                <a:latin typeface="+mn-lt"/>
                <a:ea typeface="+mn-ea"/>
                <a:cs typeface="+mn-cs"/>
              </a:defRPr>
            </a:lvl3pPr>
            <a:lvl4pPr marL="342991" marR="0" indent="0" algn="l" defTabSz="685955" rtl="0" eaLnBrk="1" fontAlgn="auto" latinLnBrk="0" hangingPunct="1">
              <a:lnSpc>
                <a:spcPct val="90000"/>
              </a:lnSpc>
              <a:spcBef>
                <a:spcPct val="20000"/>
              </a:spcBef>
              <a:spcAft>
                <a:spcPts val="0"/>
              </a:spcAft>
              <a:buClrTx/>
              <a:buSzPct val="90000"/>
              <a:buFont typeface="Wingdings" pitchFamily="2" charset="2"/>
              <a:buNone/>
              <a:tabLst/>
              <a:defRPr sz="1500" kern="1200" spc="0" baseline="0">
                <a:gradFill>
                  <a:gsLst>
                    <a:gs pos="100000">
                      <a:schemeClr val="tx1"/>
                    </a:gs>
                    <a:gs pos="6000">
                      <a:schemeClr val="tx1"/>
                    </a:gs>
                  </a:gsLst>
                  <a:lin ang="5400000" scaled="0"/>
                </a:gradFill>
                <a:latin typeface="+mn-lt"/>
                <a:ea typeface="+mn-ea"/>
                <a:cs typeface="+mn-cs"/>
              </a:defRPr>
            </a:lvl4pPr>
            <a:lvl5pPr marL="520442" marR="0" indent="0" algn="l" defTabSz="685955" rtl="0" eaLnBrk="1" fontAlgn="auto" latinLnBrk="0" hangingPunct="1">
              <a:lnSpc>
                <a:spcPct val="90000"/>
              </a:lnSpc>
              <a:spcBef>
                <a:spcPct val="20000"/>
              </a:spcBef>
              <a:spcAft>
                <a:spcPts val="0"/>
              </a:spcAft>
              <a:buClrTx/>
              <a:buSzPct val="90000"/>
              <a:buFont typeface="Wingdings" pitchFamily="2" charset="2"/>
              <a:buNone/>
              <a:tabLst>
                <a:tab pos="942036" algn="l"/>
              </a:tabLst>
              <a:defRPr sz="1500" kern="1200" spc="0" baseline="0">
                <a:gradFill>
                  <a:gsLst>
                    <a:gs pos="100000">
                      <a:schemeClr val="tx1"/>
                    </a:gs>
                    <a:gs pos="6000">
                      <a:schemeClr val="tx1"/>
                    </a:gs>
                  </a:gsLst>
                  <a:lin ang="5400000" scaled="0"/>
                </a:gradFill>
                <a:latin typeface="+mn-lt"/>
                <a:ea typeface="+mn-ea"/>
                <a:cs typeface="+mn-cs"/>
              </a:defRPr>
            </a:lvl5pPr>
            <a:lvl6pPr marL="1886377"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355"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333"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311"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2856" dirty="0">
                <a:gradFill>
                  <a:gsLst>
                    <a:gs pos="100000">
                      <a:srgbClr val="61DDFF"/>
                    </a:gs>
                    <a:gs pos="0">
                      <a:srgbClr val="61DDFF"/>
                    </a:gs>
                  </a:gsLst>
                  <a:lin ang="5400000" scaled="0"/>
                </a:gradFill>
              </a:rPr>
              <a:t>Firmware/Software Delivery</a:t>
            </a:r>
          </a:p>
          <a:p>
            <a:r>
              <a:rPr lang="en-US" sz="2856" dirty="0">
                <a:gradFill>
                  <a:gsLst>
                    <a:gs pos="100000">
                      <a:srgbClr val="61DDFF"/>
                    </a:gs>
                    <a:gs pos="0">
                      <a:srgbClr val="61DDFF"/>
                    </a:gs>
                  </a:gsLst>
                  <a:lin ang="5400000" scaled="0"/>
                </a:gradFill>
              </a:rPr>
              <a:t>Insight Delivery</a:t>
            </a:r>
          </a:p>
          <a:p>
            <a:r>
              <a:rPr lang="en-US" sz="2856" dirty="0">
                <a:gradFill>
                  <a:gsLst>
                    <a:gs pos="100000">
                      <a:srgbClr val="61DDFF"/>
                    </a:gs>
                    <a:gs pos="0">
                      <a:srgbClr val="61DDFF"/>
                    </a:gs>
                  </a:gsLst>
                  <a:lin ang="5400000" scaled="0"/>
                </a:gradFill>
              </a:rPr>
              <a:t>Dashboards &amp; Remote </a:t>
            </a:r>
            <a:r>
              <a:rPr lang="en-US" sz="2856" dirty="0" err="1">
                <a:gradFill>
                  <a:gsLst>
                    <a:gs pos="100000">
                      <a:srgbClr val="61DDFF"/>
                    </a:gs>
                    <a:gs pos="0">
                      <a:srgbClr val="61DDFF"/>
                    </a:gs>
                  </a:gsLst>
                  <a:lin ang="5400000" scaled="0"/>
                </a:gradFill>
              </a:rPr>
              <a:t>Mgmt</a:t>
            </a:r>
            <a:endParaRPr lang="en-US" sz="2856" dirty="0">
              <a:gradFill>
                <a:gsLst>
                  <a:gs pos="100000">
                    <a:srgbClr val="61DDFF"/>
                  </a:gs>
                  <a:gs pos="0">
                    <a:srgbClr val="61DDFF"/>
                  </a:gs>
                </a:gsLst>
                <a:lin ang="5400000" scaled="0"/>
              </a:gradFill>
            </a:endParaRPr>
          </a:p>
          <a:p>
            <a:r>
              <a:rPr lang="en-US" sz="2856" dirty="0">
                <a:gradFill>
                  <a:gsLst>
                    <a:gs pos="100000">
                      <a:srgbClr val="61DDFF"/>
                    </a:gs>
                    <a:gs pos="0">
                      <a:srgbClr val="61DDFF"/>
                    </a:gs>
                  </a:gsLst>
                  <a:lin ang="5400000" scaled="0"/>
                </a:gradFill>
              </a:rPr>
              <a:t>Device to Infrastructure</a:t>
            </a:r>
          </a:p>
          <a:p>
            <a:r>
              <a:rPr lang="en-US" sz="2856" dirty="0">
                <a:gradFill>
                  <a:gsLst>
                    <a:gs pos="100000">
                      <a:srgbClr val="61DDFF"/>
                    </a:gs>
                    <a:gs pos="0">
                      <a:srgbClr val="61DDFF"/>
                    </a:gs>
                  </a:gsLst>
                  <a:lin ang="5400000" scaled="0"/>
                </a:gradFill>
              </a:rPr>
              <a:t>Geo-Tracking</a:t>
            </a:r>
          </a:p>
          <a:p>
            <a:r>
              <a:rPr lang="en-US" sz="2856" dirty="0">
                <a:gradFill>
                  <a:gsLst>
                    <a:gs pos="100000">
                      <a:srgbClr val="61DDFF"/>
                    </a:gs>
                    <a:gs pos="0">
                      <a:srgbClr val="61DDFF"/>
                    </a:gs>
                  </a:gsLst>
                  <a:lin ang="5400000" scaled="0"/>
                </a:gradFill>
              </a:rPr>
              <a:t>Media Delivery &amp; Playback</a:t>
            </a:r>
          </a:p>
          <a:p>
            <a:r>
              <a:rPr lang="en-US" sz="2856" dirty="0">
                <a:gradFill>
                  <a:gsLst>
                    <a:gs pos="100000">
                      <a:srgbClr val="61DDFF"/>
                    </a:gs>
                    <a:gs pos="0">
                      <a:srgbClr val="61DDFF"/>
                    </a:gs>
                  </a:gsLst>
                  <a:lin ang="5400000" scaled="0"/>
                </a:gradFill>
              </a:rPr>
              <a:t>Fitness/Health</a:t>
            </a:r>
          </a:p>
          <a:p>
            <a:r>
              <a:rPr lang="en-US" sz="2856" dirty="0">
                <a:gradFill>
                  <a:gsLst>
                    <a:gs pos="100000">
                      <a:srgbClr val="61DDFF"/>
                    </a:gs>
                    <a:gs pos="0">
                      <a:srgbClr val="61DDFF"/>
                    </a:gs>
                  </a:gsLst>
                  <a:lin ang="5400000" scaled="0"/>
                </a:gradFill>
              </a:rPr>
              <a:t>Connected Operations</a:t>
            </a:r>
          </a:p>
          <a:p>
            <a:r>
              <a:rPr lang="en-US" sz="2856" dirty="0">
                <a:gradFill>
                  <a:gsLst>
                    <a:gs pos="100000">
                      <a:srgbClr val="61DDFF"/>
                    </a:gs>
                    <a:gs pos="0">
                      <a:srgbClr val="61DDFF"/>
                    </a:gs>
                  </a:gsLst>
                  <a:lin ang="5400000" scaled="0"/>
                </a:gradFill>
              </a:rPr>
              <a:t>Connected Vehicles</a:t>
            </a:r>
          </a:p>
          <a:p>
            <a:r>
              <a:rPr lang="en-US" sz="2856" dirty="0">
                <a:gradFill>
                  <a:gsLst>
                    <a:gs pos="100000">
                      <a:srgbClr val="61DDFF"/>
                    </a:gs>
                    <a:gs pos="0">
                      <a:srgbClr val="61DDFF"/>
                    </a:gs>
                  </a:gsLst>
                  <a:lin ang="5400000" scaled="0"/>
                </a:gradFill>
              </a:rPr>
              <a:t>Connected Retail</a:t>
            </a:r>
          </a:p>
        </p:txBody>
      </p:sp>
      <p:sp>
        <p:nvSpPr>
          <p:cNvPr id="10" name="Rectangle 9"/>
          <p:cNvSpPr/>
          <p:nvPr/>
        </p:nvSpPr>
        <p:spPr bwMode="auto">
          <a:xfrm>
            <a:off x="6215650" y="909016"/>
            <a:ext cx="4585940" cy="6061836"/>
          </a:xfrm>
          <a:prstGeom prst="rect">
            <a:avLst/>
          </a:prstGeom>
          <a:solidFill>
            <a:schemeClr val="tx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3" rIns="0" bIns="34973" numCol="1" rtlCol="0" anchor="ctr" anchorCtr="0" compatLnSpc="1">
            <a:prstTxWarp prst="textNoShape">
              <a:avLst/>
            </a:prstTxWarp>
          </a:bodyPr>
          <a:lstStyle/>
          <a:p>
            <a:pPr algn="ctr" defTabSz="699291" fontAlgn="base">
              <a:spcBef>
                <a:spcPct val="0"/>
              </a:spcBef>
              <a:spcAft>
                <a:spcPct val="0"/>
              </a:spcAft>
            </a:pPr>
            <a:endParaRPr lang="en-US" sz="1500" dirty="0">
              <a:gradFill>
                <a:gsLst>
                  <a:gs pos="0">
                    <a:srgbClr val="FFFFFF"/>
                  </a:gs>
                  <a:gs pos="100000">
                    <a:srgbClr val="FFFFFF"/>
                  </a:gs>
                </a:gsLst>
                <a:lin ang="5400000" scaled="0"/>
              </a:gradFill>
            </a:endParaRPr>
          </a:p>
        </p:txBody>
      </p:sp>
      <p:pic>
        <p:nvPicPr>
          <p:cNvPr id="11" name="Picture 10"/>
          <p:cNvPicPr>
            <a:picLocks noChangeAspect="1"/>
          </p:cNvPicPr>
          <p:nvPr/>
        </p:nvPicPr>
        <p:blipFill>
          <a:blip r:embed="rId2"/>
          <a:stretch>
            <a:fillRect/>
          </a:stretch>
        </p:blipFill>
        <p:spPr>
          <a:xfrm>
            <a:off x="6442211" y="1088864"/>
            <a:ext cx="4167986" cy="1471554"/>
          </a:xfrm>
          <a:prstGeom prst="rect">
            <a:avLst/>
          </a:prstGeom>
        </p:spPr>
      </p:pic>
      <p:sp>
        <p:nvSpPr>
          <p:cNvPr id="12" name="Title 2"/>
          <p:cNvSpPr>
            <a:spLocks noGrp="1"/>
          </p:cNvSpPr>
          <p:nvPr>
            <p:ph type="title"/>
          </p:nvPr>
        </p:nvSpPr>
        <p:spPr>
          <a:xfrm>
            <a:off x="274639" y="68262"/>
            <a:ext cx="11889564" cy="917575"/>
          </a:xfrm>
        </p:spPr>
        <p:txBody>
          <a:bodyPr/>
          <a:lstStyle/>
          <a:p>
            <a:r>
              <a:rPr lang="en-US" dirty="0" smtClean="0"/>
              <a:t>Scenarios</a:t>
            </a:r>
            <a:endParaRPr lang="en-US" dirty="0"/>
          </a:p>
        </p:txBody>
      </p:sp>
      <p:pic>
        <p:nvPicPr>
          <p:cNvPr id="13" name="Picture 29" descr="electric drive smart freigestellt cropped"/>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80779" y="3143482"/>
            <a:ext cx="1918365" cy="111108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46689" y="3125953"/>
            <a:ext cx="2055254" cy="1128618"/>
          </a:xfrm>
          <a:prstGeom prst="rect">
            <a:avLst/>
          </a:prstGeom>
        </p:spPr>
      </p:pic>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70075" y="4750287"/>
            <a:ext cx="1922204" cy="1471555"/>
          </a:xfrm>
          <a:prstGeom prst="rect">
            <a:avLst/>
          </a:prstGeom>
        </p:spPr>
      </p:pic>
      <p:pic>
        <p:nvPicPr>
          <p:cNvPr id="6" name="Picture 5"/>
          <p:cNvPicPr>
            <a:picLocks noChangeAspect="1"/>
          </p:cNvPicPr>
          <p:nvPr/>
        </p:nvPicPr>
        <p:blipFill>
          <a:blip r:embed="rId6"/>
          <a:stretch>
            <a:fillRect/>
          </a:stretch>
        </p:blipFill>
        <p:spPr>
          <a:xfrm>
            <a:off x="8574753" y="4751390"/>
            <a:ext cx="2114550" cy="1441943"/>
          </a:xfrm>
          <a:prstGeom prst="rect">
            <a:avLst/>
          </a:prstGeom>
        </p:spPr>
      </p:pic>
    </p:spTree>
    <p:extLst>
      <p:ext uri="{BB962C8B-B14F-4D97-AF65-F5344CB8AC3E}">
        <p14:creationId xmlns:p14="http://schemas.microsoft.com/office/powerpoint/2010/main" val="353619672"/>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vices + Services </a:t>
            </a:r>
            <a:br>
              <a:rPr lang="en-US" dirty="0" smtClean="0"/>
            </a:br>
            <a:r>
              <a:rPr lang="en-US" dirty="0" smtClean="0"/>
              <a:t>demystified…	</a:t>
            </a:r>
            <a:endParaRPr lang="en-US" dirty="0"/>
          </a:p>
        </p:txBody>
      </p:sp>
      <p:sp>
        <p:nvSpPr>
          <p:cNvPr id="5" name="Text Placeholder 4"/>
          <p:cNvSpPr>
            <a:spLocks noGrp="1"/>
          </p:cNvSpPr>
          <p:nvPr>
            <p:ph type="body" sz="quarter" idx="12"/>
          </p:nvPr>
        </p:nvSpPr>
        <p:spPr/>
        <p:txBody>
          <a:bodyPr/>
          <a:lstStyle/>
          <a:p>
            <a:endParaRPr lang="en-US" sz="2400" dirty="0" smtClean="0"/>
          </a:p>
          <a:p>
            <a:endParaRPr lang="en-US" sz="2400" dirty="0"/>
          </a:p>
          <a:p>
            <a:r>
              <a:rPr lang="en-US" sz="2400" dirty="0" smtClean="0"/>
              <a:t>Ulrich Homann</a:t>
            </a:r>
          </a:p>
          <a:p>
            <a:r>
              <a:rPr lang="en-US" sz="2400" dirty="0" smtClean="0"/>
              <a:t>Chief Architect, WW Enterprise Services</a:t>
            </a:r>
          </a:p>
          <a:p>
            <a:r>
              <a:rPr lang="en-US" sz="2400" dirty="0" smtClean="0"/>
              <a:t>Microsoft Corp.</a:t>
            </a:r>
            <a:endParaRPr lang="en-US" sz="2400" dirty="0"/>
          </a:p>
        </p:txBody>
      </p:sp>
      <p:sp>
        <p:nvSpPr>
          <p:cNvPr id="9" name="Text Placeholder 8"/>
          <p:cNvSpPr>
            <a:spLocks noGrp="1"/>
          </p:cNvSpPr>
          <p:nvPr>
            <p:ph type="body" sz="quarter" idx="13"/>
          </p:nvPr>
        </p:nvSpPr>
        <p:spPr/>
        <p:txBody>
          <a:bodyPr/>
          <a:lstStyle/>
          <a:p>
            <a:r>
              <a:rPr lang="en-US" dirty="0"/>
              <a:t>ATC-B206</a:t>
            </a:r>
          </a:p>
        </p:txBody>
      </p:sp>
    </p:spTree>
    <p:extLst>
      <p:ext uri="{BB962C8B-B14F-4D97-AF65-F5344CB8AC3E}">
        <p14:creationId xmlns:p14="http://schemas.microsoft.com/office/powerpoint/2010/main" val="1308305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6233234" y="909016"/>
            <a:ext cx="4585940" cy="6061836"/>
          </a:xfrm>
          <a:prstGeom prst="rect">
            <a:avLst/>
          </a:prstGeom>
          <a:solidFill>
            <a:schemeClr val="tx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3" rIns="0" bIns="34973" numCol="1" rtlCol="0" anchor="ctr" anchorCtr="0" compatLnSpc="1">
            <a:prstTxWarp prst="textNoShape">
              <a:avLst/>
            </a:prstTxWarp>
          </a:bodyPr>
          <a:lstStyle/>
          <a:p>
            <a:pPr algn="ctr" defTabSz="699291"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7" name="Rectangle 6"/>
          <p:cNvSpPr/>
          <p:nvPr/>
        </p:nvSpPr>
        <p:spPr bwMode="auto">
          <a:xfrm>
            <a:off x="1662383" y="6478006"/>
            <a:ext cx="4679683" cy="492849"/>
          </a:xfrm>
          <a:prstGeom prst="rect">
            <a:avLst/>
          </a:prstGeom>
          <a:solidFill>
            <a:schemeClr val="tx2">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34973" rIns="0" bIns="34973" numCol="1" rtlCol="0" anchor="ctr" anchorCtr="0" compatLnSpc="1">
            <a:prstTxWarp prst="textNoShape">
              <a:avLst/>
            </a:prstTxWarp>
          </a:bodyPr>
          <a:lstStyle/>
          <a:p>
            <a:pPr algn="ctr" defTabSz="699291" fontAlgn="base">
              <a:spcBef>
                <a:spcPct val="0"/>
              </a:spcBef>
              <a:spcAft>
                <a:spcPct val="0"/>
              </a:spcAft>
            </a:pPr>
            <a:endParaRPr lang="en-US" sz="1500" dirty="0">
              <a:gradFill>
                <a:gsLst>
                  <a:gs pos="0">
                    <a:srgbClr val="FFFFFF"/>
                  </a:gs>
                  <a:gs pos="100000">
                    <a:srgbClr val="FFFFFF"/>
                  </a:gs>
                </a:gsLst>
                <a:lin ang="5400000" scaled="0"/>
              </a:gradFill>
            </a:endParaRPr>
          </a:p>
        </p:txBody>
      </p:sp>
      <p:sp>
        <p:nvSpPr>
          <p:cNvPr id="9" name="Text Placeholder 1"/>
          <p:cNvSpPr txBox="1">
            <a:spLocks/>
          </p:cNvSpPr>
          <p:nvPr/>
        </p:nvSpPr>
        <p:spPr>
          <a:xfrm>
            <a:off x="1803917" y="952816"/>
            <a:ext cx="4396616" cy="6153165"/>
          </a:xfrm>
          <a:prstGeom prst="rect">
            <a:avLst/>
          </a:prstGeom>
        </p:spPr>
        <p:txBody>
          <a:bodyPr vert="horz" wrap="square" lIns="0" tIns="0" rIns="0" bIns="0" rtlCol="0">
            <a:spAutoFit/>
          </a:bodyPr>
          <a:lstStyle>
            <a:lvl1pPr marL="0" marR="0" indent="0" algn="l" defTabSz="685955" rtl="0" eaLnBrk="1" fontAlgn="auto" latinLnBrk="0" hangingPunct="1">
              <a:lnSpc>
                <a:spcPct val="90000"/>
              </a:lnSpc>
              <a:spcBef>
                <a:spcPts val="1800"/>
              </a:spcBef>
              <a:spcAft>
                <a:spcPts val="0"/>
              </a:spcAft>
              <a:buClrTx/>
              <a:buSzPct val="90000"/>
              <a:buFont typeface="Arial" pitchFamily="34" charset="0"/>
              <a:buNone/>
              <a:tabLst/>
              <a:defRPr sz="3001" kern="1200" spc="-53" baseline="0">
                <a:gradFill>
                  <a:gsLst>
                    <a:gs pos="100000">
                      <a:schemeClr val="tx2"/>
                    </a:gs>
                    <a:gs pos="0">
                      <a:schemeClr val="tx2"/>
                    </a:gs>
                  </a:gsLst>
                  <a:lin ang="5400000" scaled="0"/>
                </a:gradFill>
                <a:latin typeface="+mj-lt"/>
                <a:ea typeface="+mn-ea"/>
                <a:cs typeface="+mn-cs"/>
              </a:defRPr>
            </a:lvl1pPr>
            <a:lvl2pPr marL="0" marR="0" indent="0" algn="l" defTabSz="685955" rtl="0" eaLnBrk="1" fontAlgn="auto" latinLnBrk="0" hangingPunct="1">
              <a:lnSpc>
                <a:spcPct val="90000"/>
              </a:lnSpc>
              <a:spcBef>
                <a:spcPct val="20000"/>
              </a:spcBef>
              <a:spcAft>
                <a:spcPts val="0"/>
              </a:spcAft>
              <a:buClrTx/>
              <a:buSzPct val="90000"/>
              <a:buFont typeface="Wingdings" pitchFamily="2" charset="2"/>
              <a:buNone/>
              <a:tabLst/>
              <a:defRPr sz="1500" kern="1200" spc="0" baseline="0">
                <a:gradFill>
                  <a:gsLst>
                    <a:gs pos="100000">
                      <a:schemeClr val="tx1"/>
                    </a:gs>
                    <a:gs pos="6000">
                      <a:schemeClr val="tx1"/>
                    </a:gs>
                  </a:gsLst>
                  <a:lin ang="5400000" scaled="0"/>
                </a:gradFill>
                <a:latin typeface="+mn-lt"/>
                <a:ea typeface="+mn-ea"/>
                <a:cs typeface="+mn-cs"/>
              </a:defRPr>
            </a:lvl2pPr>
            <a:lvl3pPr marL="173878" marR="0" indent="0" algn="l" defTabSz="685955" rtl="0" eaLnBrk="1" fontAlgn="auto" latinLnBrk="0" hangingPunct="1">
              <a:lnSpc>
                <a:spcPct val="90000"/>
              </a:lnSpc>
              <a:spcBef>
                <a:spcPct val="20000"/>
              </a:spcBef>
              <a:spcAft>
                <a:spcPts val="0"/>
              </a:spcAft>
              <a:buClrTx/>
              <a:buSzPct val="90000"/>
              <a:buFont typeface="Wingdings" pitchFamily="2" charset="2"/>
              <a:buNone/>
              <a:tabLst>
                <a:tab pos="599044" algn="l"/>
              </a:tabLst>
              <a:defRPr sz="1500" kern="1200" spc="0" baseline="0">
                <a:gradFill>
                  <a:gsLst>
                    <a:gs pos="100000">
                      <a:schemeClr val="tx1"/>
                    </a:gs>
                    <a:gs pos="6000">
                      <a:schemeClr val="tx1"/>
                    </a:gs>
                  </a:gsLst>
                  <a:lin ang="5400000" scaled="0"/>
                </a:gradFill>
                <a:latin typeface="+mn-lt"/>
                <a:ea typeface="+mn-ea"/>
                <a:cs typeface="+mn-cs"/>
              </a:defRPr>
            </a:lvl3pPr>
            <a:lvl4pPr marL="342991" marR="0" indent="0" algn="l" defTabSz="685955" rtl="0" eaLnBrk="1" fontAlgn="auto" latinLnBrk="0" hangingPunct="1">
              <a:lnSpc>
                <a:spcPct val="90000"/>
              </a:lnSpc>
              <a:spcBef>
                <a:spcPct val="20000"/>
              </a:spcBef>
              <a:spcAft>
                <a:spcPts val="0"/>
              </a:spcAft>
              <a:buClrTx/>
              <a:buSzPct val="90000"/>
              <a:buFont typeface="Wingdings" pitchFamily="2" charset="2"/>
              <a:buNone/>
              <a:tabLst/>
              <a:defRPr sz="1500" kern="1200" spc="0" baseline="0">
                <a:gradFill>
                  <a:gsLst>
                    <a:gs pos="100000">
                      <a:schemeClr val="tx1"/>
                    </a:gs>
                    <a:gs pos="6000">
                      <a:schemeClr val="tx1"/>
                    </a:gs>
                  </a:gsLst>
                  <a:lin ang="5400000" scaled="0"/>
                </a:gradFill>
                <a:latin typeface="+mn-lt"/>
                <a:ea typeface="+mn-ea"/>
                <a:cs typeface="+mn-cs"/>
              </a:defRPr>
            </a:lvl4pPr>
            <a:lvl5pPr marL="520442" marR="0" indent="0" algn="l" defTabSz="685955" rtl="0" eaLnBrk="1" fontAlgn="auto" latinLnBrk="0" hangingPunct="1">
              <a:lnSpc>
                <a:spcPct val="90000"/>
              </a:lnSpc>
              <a:spcBef>
                <a:spcPct val="20000"/>
              </a:spcBef>
              <a:spcAft>
                <a:spcPts val="0"/>
              </a:spcAft>
              <a:buClrTx/>
              <a:buSzPct val="90000"/>
              <a:buFont typeface="Wingdings" pitchFamily="2" charset="2"/>
              <a:buNone/>
              <a:tabLst>
                <a:tab pos="942036" algn="l"/>
              </a:tabLst>
              <a:defRPr sz="1500" kern="1200" spc="0" baseline="0">
                <a:gradFill>
                  <a:gsLst>
                    <a:gs pos="100000">
                      <a:schemeClr val="tx1"/>
                    </a:gs>
                    <a:gs pos="6000">
                      <a:schemeClr val="tx1"/>
                    </a:gs>
                  </a:gsLst>
                  <a:lin ang="5400000" scaled="0"/>
                </a:gradFill>
                <a:latin typeface="+mn-lt"/>
                <a:ea typeface="+mn-ea"/>
                <a:cs typeface="+mn-cs"/>
              </a:defRPr>
            </a:lvl5pPr>
            <a:lvl6pPr marL="1886377"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355"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333"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311"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2856" dirty="0" smtClean="0">
                <a:gradFill>
                  <a:gsLst>
                    <a:gs pos="100000">
                      <a:srgbClr val="61DDFF"/>
                    </a:gs>
                    <a:gs pos="0">
                      <a:srgbClr val="61DDFF"/>
                    </a:gs>
                  </a:gsLst>
                  <a:lin ang="5400000" scaled="0"/>
                </a:gradFill>
              </a:rPr>
              <a:t>Firmware/Software Delivery</a:t>
            </a:r>
            <a:endParaRPr lang="en-US" sz="2856" dirty="0">
              <a:gradFill>
                <a:gsLst>
                  <a:gs pos="100000">
                    <a:srgbClr val="61DDFF"/>
                  </a:gs>
                  <a:gs pos="0">
                    <a:srgbClr val="61DDFF"/>
                  </a:gs>
                </a:gsLst>
                <a:lin ang="5400000" scaled="0"/>
              </a:gradFill>
            </a:endParaRPr>
          </a:p>
          <a:p>
            <a:r>
              <a:rPr lang="en-US" sz="2856" dirty="0">
                <a:gradFill>
                  <a:gsLst>
                    <a:gs pos="100000">
                      <a:srgbClr val="61DDFF"/>
                    </a:gs>
                    <a:gs pos="0">
                      <a:srgbClr val="61DDFF"/>
                    </a:gs>
                  </a:gsLst>
                  <a:lin ang="5400000" scaled="0"/>
                </a:gradFill>
              </a:rPr>
              <a:t>Insight Delivery</a:t>
            </a:r>
          </a:p>
          <a:p>
            <a:r>
              <a:rPr lang="en-US" sz="2856" dirty="0">
                <a:gradFill>
                  <a:gsLst>
                    <a:gs pos="100000">
                      <a:srgbClr val="61DDFF"/>
                    </a:gs>
                    <a:gs pos="0">
                      <a:srgbClr val="61DDFF"/>
                    </a:gs>
                  </a:gsLst>
                  <a:lin ang="5400000" scaled="0"/>
                </a:gradFill>
              </a:rPr>
              <a:t>Dashboards &amp; Remote </a:t>
            </a:r>
            <a:r>
              <a:rPr lang="en-US" sz="2856" dirty="0" err="1">
                <a:gradFill>
                  <a:gsLst>
                    <a:gs pos="100000">
                      <a:srgbClr val="61DDFF"/>
                    </a:gs>
                    <a:gs pos="0">
                      <a:srgbClr val="61DDFF"/>
                    </a:gs>
                  </a:gsLst>
                  <a:lin ang="5400000" scaled="0"/>
                </a:gradFill>
              </a:rPr>
              <a:t>Mgmt</a:t>
            </a:r>
            <a:endParaRPr lang="en-US" sz="2856" dirty="0">
              <a:gradFill>
                <a:gsLst>
                  <a:gs pos="100000">
                    <a:srgbClr val="61DDFF"/>
                  </a:gs>
                  <a:gs pos="0">
                    <a:srgbClr val="61DDFF"/>
                  </a:gs>
                </a:gsLst>
                <a:lin ang="5400000" scaled="0"/>
              </a:gradFill>
            </a:endParaRPr>
          </a:p>
          <a:p>
            <a:r>
              <a:rPr lang="en-US" sz="2856" dirty="0">
                <a:gradFill>
                  <a:gsLst>
                    <a:gs pos="100000">
                      <a:srgbClr val="61DDFF"/>
                    </a:gs>
                    <a:gs pos="0">
                      <a:srgbClr val="61DDFF"/>
                    </a:gs>
                  </a:gsLst>
                  <a:lin ang="5400000" scaled="0"/>
                </a:gradFill>
              </a:rPr>
              <a:t>Device to Infrastructure</a:t>
            </a:r>
          </a:p>
          <a:p>
            <a:r>
              <a:rPr lang="en-US" sz="2856" dirty="0">
                <a:gradFill>
                  <a:gsLst>
                    <a:gs pos="100000">
                      <a:srgbClr val="61DDFF"/>
                    </a:gs>
                    <a:gs pos="0">
                      <a:srgbClr val="61DDFF"/>
                    </a:gs>
                  </a:gsLst>
                  <a:lin ang="5400000" scaled="0"/>
                </a:gradFill>
              </a:rPr>
              <a:t>Geo-Tracking</a:t>
            </a:r>
          </a:p>
          <a:p>
            <a:r>
              <a:rPr lang="en-US" sz="2856" dirty="0">
                <a:gradFill>
                  <a:gsLst>
                    <a:gs pos="100000">
                      <a:srgbClr val="61DDFF"/>
                    </a:gs>
                    <a:gs pos="0">
                      <a:srgbClr val="61DDFF"/>
                    </a:gs>
                  </a:gsLst>
                  <a:lin ang="5400000" scaled="0"/>
                </a:gradFill>
              </a:rPr>
              <a:t>Media Delivery &amp; Playback</a:t>
            </a:r>
          </a:p>
          <a:p>
            <a:r>
              <a:rPr lang="en-US" sz="2856" dirty="0">
                <a:gradFill>
                  <a:gsLst>
                    <a:gs pos="100000">
                      <a:srgbClr val="61DDFF"/>
                    </a:gs>
                    <a:gs pos="0">
                      <a:srgbClr val="61DDFF"/>
                    </a:gs>
                  </a:gsLst>
                  <a:lin ang="5400000" scaled="0"/>
                </a:gradFill>
              </a:rPr>
              <a:t>Fitness/Health</a:t>
            </a:r>
          </a:p>
          <a:p>
            <a:r>
              <a:rPr lang="en-US" sz="2856" dirty="0">
                <a:gradFill>
                  <a:gsLst>
                    <a:gs pos="100000">
                      <a:srgbClr val="61DDFF"/>
                    </a:gs>
                    <a:gs pos="0">
                      <a:srgbClr val="61DDFF"/>
                    </a:gs>
                  </a:gsLst>
                  <a:lin ang="5400000" scaled="0"/>
                </a:gradFill>
              </a:rPr>
              <a:t>Connected Operations</a:t>
            </a:r>
          </a:p>
          <a:p>
            <a:r>
              <a:rPr lang="en-US" sz="2856" dirty="0">
                <a:gradFill>
                  <a:gsLst>
                    <a:gs pos="100000">
                      <a:srgbClr val="61DDFF"/>
                    </a:gs>
                    <a:gs pos="0">
                      <a:srgbClr val="61DDFF"/>
                    </a:gs>
                  </a:gsLst>
                  <a:lin ang="5400000" scaled="0"/>
                </a:gradFill>
              </a:rPr>
              <a:t>Connected Vehicles</a:t>
            </a:r>
          </a:p>
          <a:p>
            <a:r>
              <a:rPr lang="en-US" sz="2856" dirty="0">
                <a:gradFill>
                  <a:gsLst>
                    <a:gs pos="100000">
                      <a:srgbClr val="61DDFF"/>
                    </a:gs>
                    <a:gs pos="0">
                      <a:srgbClr val="61DDFF"/>
                    </a:gs>
                  </a:gsLst>
                  <a:lin ang="5400000" scaled="0"/>
                </a:gradFill>
              </a:rPr>
              <a:t>Connected Retail</a:t>
            </a:r>
          </a:p>
        </p:txBody>
      </p:sp>
      <p:pic>
        <p:nvPicPr>
          <p:cNvPr id="2" name="Picture 1"/>
          <p:cNvPicPr>
            <a:picLocks noChangeAspect="1"/>
          </p:cNvPicPr>
          <p:nvPr/>
        </p:nvPicPr>
        <p:blipFill>
          <a:blip r:embed="rId2"/>
          <a:stretch>
            <a:fillRect/>
          </a:stretch>
        </p:blipFill>
        <p:spPr>
          <a:xfrm>
            <a:off x="6507861" y="1387734"/>
            <a:ext cx="2402093" cy="1513698"/>
          </a:xfrm>
          <a:prstGeom prst="rect">
            <a:avLst/>
          </a:prstGeom>
        </p:spPr>
      </p:pic>
      <p:pic>
        <p:nvPicPr>
          <p:cNvPr id="3" name="Picture 2"/>
          <p:cNvPicPr>
            <a:picLocks noChangeAspect="1"/>
          </p:cNvPicPr>
          <p:nvPr/>
        </p:nvPicPr>
        <p:blipFill>
          <a:blip r:embed="rId3"/>
          <a:stretch>
            <a:fillRect/>
          </a:stretch>
        </p:blipFill>
        <p:spPr>
          <a:xfrm>
            <a:off x="9062621" y="1387734"/>
            <a:ext cx="1603884" cy="1513698"/>
          </a:xfrm>
          <a:prstGeom prst="rect">
            <a:avLst/>
          </a:prstGeom>
        </p:spPr>
      </p:pic>
      <p:pic>
        <p:nvPicPr>
          <p:cNvPr id="4" name="Picture 3"/>
          <p:cNvPicPr>
            <a:picLocks noChangeAspect="1"/>
          </p:cNvPicPr>
          <p:nvPr/>
        </p:nvPicPr>
        <p:blipFill>
          <a:blip r:embed="rId4"/>
          <a:stretch>
            <a:fillRect/>
          </a:stretch>
        </p:blipFill>
        <p:spPr>
          <a:xfrm>
            <a:off x="6507860" y="3005076"/>
            <a:ext cx="2427539" cy="1682895"/>
          </a:xfrm>
          <a:prstGeom prst="rect">
            <a:avLst/>
          </a:prstGeom>
        </p:spPr>
      </p:pic>
      <p:pic>
        <p:nvPicPr>
          <p:cNvPr id="6" name="Picture 5"/>
          <p:cNvPicPr>
            <a:picLocks noChangeAspect="1"/>
          </p:cNvPicPr>
          <p:nvPr/>
        </p:nvPicPr>
        <p:blipFill>
          <a:blip r:embed="rId5"/>
          <a:stretch>
            <a:fillRect/>
          </a:stretch>
        </p:blipFill>
        <p:spPr>
          <a:xfrm>
            <a:off x="9033022" y="3005076"/>
            <a:ext cx="1688529" cy="1682895"/>
          </a:xfrm>
          <a:prstGeom prst="rect">
            <a:avLst/>
          </a:prstGeom>
        </p:spPr>
      </p:pic>
      <p:sp>
        <p:nvSpPr>
          <p:cNvPr id="11" name="Title 2"/>
          <p:cNvSpPr>
            <a:spLocks noGrp="1"/>
          </p:cNvSpPr>
          <p:nvPr>
            <p:ph type="title"/>
          </p:nvPr>
        </p:nvSpPr>
        <p:spPr>
          <a:xfrm>
            <a:off x="274639" y="68262"/>
            <a:ext cx="11889564" cy="917575"/>
          </a:xfrm>
        </p:spPr>
        <p:txBody>
          <a:bodyPr/>
          <a:lstStyle/>
          <a:p>
            <a:r>
              <a:rPr lang="en-US" dirty="0" smtClean="0"/>
              <a:t>Scenarios</a:t>
            </a:r>
            <a:endParaRPr lang="en-US" dirty="0"/>
          </a:p>
        </p:txBody>
      </p:sp>
    </p:spTree>
    <p:extLst>
      <p:ext uri="{BB962C8B-B14F-4D97-AF65-F5344CB8AC3E}">
        <p14:creationId xmlns:p14="http://schemas.microsoft.com/office/powerpoint/2010/main" val="3256282739"/>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24" name="Content Placeholder 4"/>
          <p:cNvGraphicFramePr>
            <a:graphicFrameLocks/>
          </p:cNvGraphicFramePr>
          <p:nvPr>
            <p:extLst>
              <p:ext uri="{D42A27DB-BD31-4B8C-83A1-F6EECF244321}">
                <p14:modId xmlns:p14="http://schemas.microsoft.com/office/powerpoint/2010/main" val="2697586465"/>
              </p:ext>
            </p:extLst>
          </p:nvPr>
        </p:nvGraphicFramePr>
        <p:xfrm>
          <a:off x="274637" y="830262"/>
          <a:ext cx="11887201" cy="5439620"/>
        </p:xfrm>
        <a:graphic>
          <a:graphicData uri="http://schemas.openxmlformats.org/drawingml/2006/table">
            <a:tbl>
              <a:tblPr firstRow="1" firstCol="1">
                <a:tableStyleId>{37CE84F3-28C3-443E-9E96-99CF82512B78}</a:tableStyleId>
              </a:tblPr>
              <a:tblGrid>
                <a:gridCol w="2475587"/>
                <a:gridCol w="3468014"/>
                <a:gridCol w="2529521"/>
                <a:gridCol w="3414079"/>
              </a:tblGrid>
              <a:tr h="381425">
                <a:tc>
                  <a:txBody>
                    <a:bodyPr/>
                    <a:lstStyle/>
                    <a:p>
                      <a:pPr marL="0" indent="0" algn="ctr" defTabSz="914363" rtl="0" eaLnBrk="1" latinLnBrk="0" hangingPunct="1">
                        <a:lnSpc>
                          <a:spcPct val="100000"/>
                        </a:lnSpc>
                        <a:spcBef>
                          <a:spcPts val="0"/>
                        </a:spcBef>
                        <a:buSzPct val="90000"/>
                        <a:buFont typeface="Wingdings" pitchFamily="2" charset="2"/>
                        <a:buNone/>
                      </a:pPr>
                      <a:r>
                        <a:rPr lang="en-US" sz="2800" b="0" kern="1200" spc="0" dirty="0" smtClean="0">
                          <a:ln>
                            <a:solidFill>
                              <a:schemeClr val="tx1">
                                <a:alpha val="0"/>
                              </a:schemeClr>
                            </a:solidFill>
                          </a:ln>
                          <a:solidFill>
                            <a:schemeClr val="tx1"/>
                          </a:solidFill>
                          <a:latin typeface="+mj-lt"/>
                          <a:ea typeface="+mn-ea"/>
                          <a:cs typeface="+mn-cs"/>
                        </a:rPr>
                        <a:t>Progression level</a:t>
                      </a:r>
                    </a:p>
                  </a:txBody>
                  <a:tcPr marL="93260" marR="93260" marT="46630" marB="46630" anchor="ctr">
                    <a:lnL w="9525"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indent="0" algn="ctr" defTabSz="914363" rtl="0" eaLnBrk="1" latinLnBrk="0" hangingPunct="1">
                        <a:lnSpc>
                          <a:spcPct val="100000"/>
                        </a:lnSpc>
                        <a:spcBef>
                          <a:spcPts val="0"/>
                        </a:spcBef>
                        <a:buSzPct val="90000"/>
                        <a:buFont typeface="Wingdings" pitchFamily="2" charset="2"/>
                        <a:buNone/>
                      </a:pPr>
                      <a:r>
                        <a:rPr lang="en-US" sz="2800" b="0" kern="1200" spc="0" dirty="0" smtClean="0">
                          <a:ln>
                            <a:solidFill>
                              <a:schemeClr val="tx1">
                                <a:alpha val="0"/>
                              </a:schemeClr>
                            </a:solidFill>
                          </a:ln>
                          <a:solidFill>
                            <a:schemeClr val="tx1"/>
                          </a:solidFill>
                          <a:latin typeface="+mj-lt"/>
                          <a:ea typeface="+mn-ea"/>
                          <a:cs typeface="+mn-cs"/>
                        </a:rPr>
                        <a:t>Device focus</a:t>
                      </a:r>
                    </a:p>
                  </a:txBody>
                  <a:tcPr marL="93260" marR="93260" marT="46630" marB="46630" anchor="ctr">
                    <a:lnL w="9525"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indent="0" algn="ctr" defTabSz="914363" rtl="0" eaLnBrk="1" latinLnBrk="0" hangingPunct="1">
                        <a:lnSpc>
                          <a:spcPct val="100000"/>
                        </a:lnSpc>
                        <a:spcBef>
                          <a:spcPts val="0"/>
                        </a:spcBef>
                        <a:buSzPct val="90000"/>
                        <a:buFont typeface="Wingdings" pitchFamily="2" charset="2"/>
                        <a:buNone/>
                      </a:pPr>
                      <a:r>
                        <a:rPr lang="en-US" sz="2800" b="0" kern="1200" spc="0" dirty="0" smtClean="0">
                          <a:ln>
                            <a:solidFill>
                              <a:schemeClr val="tx1">
                                <a:alpha val="0"/>
                              </a:schemeClr>
                            </a:solidFill>
                          </a:ln>
                          <a:solidFill>
                            <a:schemeClr val="tx1"/>
                          </a:solidFill>
                          <a:latin typeface="+mj-lt"/>
                          <a:ea typeface="+mn-ea"/>
                          <a:cs typeface="+mn-cs"/>
                        </a:rPr>
                        <a:t>(+) focus</a:t>
                      </a:r>
                    </a:p>
                  </a:txBody>
                  <a:tcPr marL="93260" marR="93260" marT="46630" marB="46630" anchor="ctr">
                    <a:lnL>
                      <a:noFill/>
                    </a:lnL>
                    <a:lnR>
                      <a:noFill/>
                    </a:lnR>
                    <a:lnT w="9525" cap="flat" cmpd="sng" algn="ctr">
                      <a:noFill/>
                      <a:prstDash val="solid"/>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indent="0" algn="ctr" defTabSz="914363" rtl="0" eaLnBrk="1" latinLnBrk="0" hangingPunct="1">
                        <a:lnSpc>
                          <a:spcPct val="100000"/>
                        </a:lnSpc>
                        <a:spcBef>
                          <a:spcPts val="0"/>
                        </a:spcBef>
                        <a:buSzPct val="90000"/>
                        <a:buFont typeface="Wingdings" pitchFamily="2" charset="2"/>
                        <a:buNone/>
                      </a:pPr>
                      <a:r>
                        <a:rPr lang="en-US" sz="2800" b="0" kern="1200" spc="0" dirty="0" smtClean="0">
                          <a:ln>
                            <a:solidFill>
                              <a:schemeClr val="tx1">
                                <a:alpha val="0"/>
                              </a:schemeClr>
                            </a:solidFill>
                          </a:ln>
                          <a:solidFill>
                            <a:schemeClr val="tx1"/>
                          </a:solidFill>
                          <a:latin typeface="+mj-lt"/>
                          <a:ea typeface="+mn-ea"/>
                          <a:cs typeface="+mn-cs"/>
                        </a:rPr>
                        <a:t>Services focus</a:t>
                      </a:r>
                    </a:p>
                  </a:txBody>
                  <a:tcPr marL="93260" marR="93260" marT="46630" marB="46630" anchor="ctr">
                    <a:lnL>
                      <a:noFill/>
                    </a:lnL>
                    <a:lnR>
                      <a:noFill/>
                    </a:lnR>
                    <a:lnT w="9525" cap="flat" cmpd="sng" algn="ctr">
                      <a:noFill/>
                      <a:prstDash val="solid"/>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solidFill>
                  </a:tcPr>
                </a:tc>
              </a:tr>
              <a:tr h="826727">
                <a:tc>
                  <a:txBody>
                    <a:bodyPr/>
                    <a:lstStyle/>
                    <a:p>
                      <a:pPr algn="ctr">
                        <a:lnSpc>
                          <a:spcPct val="100000"/>
                        </a:lnSpc>
                        <a:spcBef>
                          <a:spcPts val="0"/>
                        </a:spcBef>
                      </a:pPr>
                      <a:r>
                        <a:rPr lang="en-US" sz="2800" b="0" spc="0" dirty="0" smtClean="0">
                          <a:ln>
                            <a:solidFill>
                              <a:schemeClr val="tx1">
                                <a:alpha val="0"/>
                              </a:schemeClr>
                            </a:solidFill>
                          </a:ln>
                          <a:solidFill>
                            <a:schemeClr val="tx1"/>
                          </a:solidFill>
                          <a:effectLst/>
                          <a:latin typeface="+mj-lt"/>
                        </a:rPr>
                        <a:t>3</a:t>
                      </a:r>
                      <a:endParaRPr lang="en-US" sz="2800" b="0" spc="0" dirty="0">
                        <a:ln>
                          <a:solidFill>
                            <a:schemeClr val="tx1">
                              <a:alpha val="0"/>
                            </a:schemeClr>
                          </a:solidFill>
                        </a:ln>
                        <a:solidFill>
                          <a:schemeClr val="tx1"/>
                        </a:solidFill>
                        <a:effectLst/>
                        <a:latin typeface="+mj-lt"/>
                      </a:endParaRPr>
                    </a:p>
                  </a:txBody>
                  <a:tcPr marL="93260" marR="93260" marT="46630" marB="46630" anchor="ctr">
                    <a:lnL w="9525" cap="flat" cmpd="sng" algn="ctr">
                      <a:noFill/>
                      <a:prstDash val="solid"/>
                      <a:round/>
                      <a:headEnd type="none" w="med" len="med"/>
                      <a:tailEnd type="none" w="med" len="med"/>
                    </a:lnL>
                    <a:lnR w="25400" cmpd="sng">
                      <a:noFill/>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0" marR="0" lvl="0" indent="0" algn="l" defTabSz="932559" rtl="0" eaLnBrk="1" fontAlgn="auto" latinLnBrk="0" hangingPunct="1">
                        <a:lnSpc>
                          <a:spcPct val="100000"/>
                        </a:lnSpc>
                        <a:spcBef>
                          <a:spcPts val="450"/>
                        </a:spcBef>
                        <a:spcAft>
                          <a:spcPts val="0"/>
                        </a:spcAft>
                        <a:buClrTx/>
                        <a:buSzTx/>
                        <a:buFontTx/>
                        <a:buNone/>
                        <a:tabLst/>
                        <a:defRPr/>
                      </a:pPr>
                      <a:r>
                        <a:rPr kumimoji="0" lang="en-US" sz="20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t>Insight-enabled:</a:t>
                      </a:r>
                    </a:p>
                    <a:p>
                      <a:pPr marL="292100" marR="0" lvl="0" indent="-188913" algn="l" defTabSz="932559" rtl="0" eaLnBrk="1" fontAlgn="auto" latinLnBrk="0" hangingPunct="1">
                        <a:lnSpc>
                          <a:spcPct val="100000"/>
                        </a:lnSpc>
                        <a:spcBef>
                          <a:spcPts val="2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t>Telemetry: emitting events </a:t>
                      </a:r>
                    </a:p>
                    <a:p>
                      <a:pPr marL="292100" marR="0" lvl="0" indent="-188913" algn="l" defTabSz="932559" rtl="0" eaLnBrk="1" fontAlgn="auto" latinLnBrk="0" hangingPunct="1">
                        <a:lnSpc>
                          <a:spcPct val="100000"/>
                        </a:lnSpc>
                        <a:spcBef>
                          <a:spcPts val="2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t>Models: accept models and adjust based upon insight model</a:t>
                      </a:r>
                      <a:endParaRPr kumimoji="0" lang="en-US" sz="1400" b="0" i="0" u="none" strike="noStrike" kern="1200" cap="none" spc="0" normalizeH="0" baseline="0" noProof="0" dirty="0">
                        <a:ln>
                          <a:solidFill>
                            <a:schemeClr val="tx1">
                              <a:alpha val="0"/>
                            </a:schemeClr>
                          </a:solidFill>
                        </a:ln>
                        <a:solidFill>
                          <a:schemeClr val="tx1"/>
                        </a:solidFill>
                        <a:effectLst/>
                        <a:uLnTx/>
                        <a:uFillTx/>
                        <a:latin typeface="+mn-lt"/>
                        <a:ea typeface="+mn-ea"/>
                        <a:cs typeface="+mn-cs"/>
                      </a:endParaRPr>
                    </a:p>
                  </a:txBody>
                  <a:tcPr marL="93260" marR="93260" marT="46630" marB="46630" anchor="ctr">
                    <a:lnL w="9525" cap="flat" cmpd="sng" algn="ctr">
                      <a:noFill/>
                      <a:prstDash val="solid"/>
                      <a:round/>
                      <a:headEnd type="none" w="med" len="med"/>
                      <a:tailEnd type="none" w="med" len="med"/>
                    </a:lnL>
                    <a:lnR w="25400" cmpd="sng">
                      <a:noFill/>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0" marR="0" lvl="0" indent="0" algn="ctr" defTabSz="932559"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t>No change to 1</a:t>
                      </a:r>
                      <a:endParaRPr kumimoji="0" lang="en-US" sz="2000" b="0" i="0" u="none" strike="noStrike" kern="1200" cap="none" spc="0" normalizeH="0" baseline="0" noProof="0" dirty="0">
                        <a:ln>
                          <a:solidFill>
                            <a:schemeClr val="tx1">
                              <a:alpha val="0"/>
                            </a:schemeClr>
                          </a:solidFill>
                        </a:ln>
                        <a:solidFill>
                          <a:schemeClr val="tx1"/>
                        </a:solidFill>
                        <a:effectLst/>
                        <a:uLnTx/>
                        <a:uFillTx/>
                        <a:latin typeface="+mn-lt"/>
                        <a:ea typeface="+mn-ea"/>
                        <a:cs typeface="+mn-cs"/>
                      </a:endParaRPr>
                    </a:p>
                  </a:txBody>
                  <a:tcPr marL="93260" marR="93260" marT="46630" marB="46630" anchor="ctr">
                    <a:lnL w="25400" cmpd="sng">
                      <a:noFill/>
                    </a:lnL>
                    <a:lnR>
                      <a:noFill/>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188913" marR="0" lvl="0" indent="-188913" algn="l" defTabSz="932559" rtl="0" eaLnBrk="1" fontAlgn="auto" latinLnBrk="0" hangingPunct="1">
                        <a:lnSpc>
                          <a:spcPct val="100000"/>
                        </a:lnSpc>
                        <a:spcBef>
                          <a:spcPts val="75"/>
                        </a:spcBef>
                        <a:spcAft>
                          <a:spcPts val="150"/>
                        </a:spcAft>
                        <a:buClrTx/>
                        <a:buSzTx/>
                        <a:buFont typeface="Arial" panose="020B0604020202020204" pitchFamily="34" charset="0"/>
                        <a:buChar char="•"/>
                        <a:tabLst/>
                        <a:defRPr/>
                      </a:pPr>
                      <a:r>
                        <a:rPr kumimoji="0" lang="en-US" sz="14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t>Consumption of event data (mobile services? 2-way notifications?)</a:t>
                      </a:r>
                    </a:p>
                    <a:p>
                      <a:pPr marL="188913" marR="0" lvl="0" indent="-188913" algn="l" defTabSz="932559" rtl="0" eaLnBrk="1" fontAlgn="auto" latinLnBrk="0" hangingPunct="1">
                        <a:lnSpc>
                          <a:spcPct val="100000"/>
                        </a:lnSpc>
                        <a:spcBef>
                          <a:spcPts val="75"/>
                        </a:spcBef>
                        <a:spcAft>
                          <a:spcPts val="150"/>
                        </a:spcAft>
                        <a:buClrTx/>
                        <a:buSzTx/>
                        <a:buFont typeface="Arial" panose="020B0604020202020204" pitchFamily="34" charset="0"/>
                        <a:buChar char="•"/>
                        <a:tabLst/>
                        <a:defRPr/>
                      </a:pPr>
                      <a:r>
                        <a:rPr kumimoji="0" lang="en-US" sz="14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t>Model analysis</a:t>
                      </a:r>
                    </a:p>
                    <a:p>
                      <a:pPr marL="188913" marR="0" lvl="0" indent="-188913" algn="l" defTabSz="932559" rtl="0" eaLnBrk="1" fontAlgn="auto" latinLnBrk="0" hangingPunct="1">
                        <a:lnSpc>
                          <a:spcPct val="100000"/>
                        </a:lnSpc>
                        <a:spcBef>
                          <a:spcPts val="75"/>
                        </a:spcBef>
                        <a:spcAft>
                          <a:spcPts val="150"/>
                        </a:spcAft>
                        <a:buClrTx/>
                        <a:buSzTx/>
                        <a:buFont typeface="Arial" panose="020B0604020202020204" pitchFamily="34" charset="0"/>
                        <a:buChar char="•"/>
                        <a:tabLst/>
                        <a:defRPr/>
                      </a:pPr>
                      <a:r>
                        <a:rPr kumimoji="0" lang="en-US" sz="14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t>Model output: recommendations, etc.</a:t>
                      </a:r>
                      <a:endParaRPr kumimoji="0" lang="en-US" sz="1400" b="0" i="0" u="none" strike="noStrike" kern="1200" cap="none" spc="0" normalizeH="0" baseline="0" noProof="0" dirty="0">
                        <a:ln>
                          <a:solidFill>
                            <a:schemeClr val="tx1">
                              <a:alpha val="0"/>
                            </a:schemeClr>
                          </a:solidFill>
                        </a:ln>
                        <a:solidFill>
                          <a:schemeClr val="tx1"/>
                        </a:solidFill>
                        <a:effectLst/>
                        <a:uLnTx/>
                        <a:uFillTx/>
                        <a:latin typeface="+mn-lt"/>
                        <a:ea typeface="+mn-ea"/>
                        <a:cs typeface="+mn-cs"/>
                      </a:endParaRPr>
                    </a:p>
                  </a:txBody>
                  <a:tcPr marL="93260" marR="93260" marT="46630" marB="46630" anchor="ctr">
                    <a:lnL>
                      <a:noFill/>
                    </a:lnL>
                    <a:lnR>
                      <a:noFill/>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r>
              <a:tr h="826727">
                <a:tc>
                  <a:txBody>
                    <a:bodyPr/>
                    <a:lstStyle/>
                    <a:p>
                      <a:pPr algn="ctr">
                        <a:lnSpc>
                          <a:spcPct val="100000"/>
                        </a:lnSpc>
                        <a:spcBef>
                          <a:spcPts val="0"/>
                        </a:spcBef>
                      </a:pPr>
                      <a:r>
                        <a:rPr lang="en-US" sz="2800" b="0" spc="0" dirty="0" smtClean="0">
                          <a:ln>
                            <a:solidFill>
                              <a:schemeClr val="tx1">
                                <a:alpha val="0"/>
                              </a:schemeClr>
                            </a:solidFill>
                          </a:ln>
                          <a:solidFill>
                            <a:schemeClr val="tx1"/>
                          </a:solidFill>
                          <a:effectLst/>
                          <a:latin typeface="+mj-lt"/>
                        </a:rPr>
                        <a:t>2</a:t>
                      </a:r>
                      <a:endParaRPr lang="en-US" sz="2800" b="0" spc="0" dirty="0">
                        <a:ln>
                          <a:solidFill>
                            <a:schemeClr val="tx1">
                              <a:alpha val="0"/>
                            </a:schemeClr>
                          </a:solidFill>
                        </a:ln>
                        <a:solidFill>
                          <a:schemeClr val="tx1"/>
                        </a:solidFill>
                        <a:effectLst/>
                        <a:latin typeface="+mj-lt"/>
                      </a:endParaRPr>
                    </a:p>
                  </a:txBody>
                  <a:tcPr marL="93260" marR="93260" marT="46630" marB="46630" anchor="ctr">
                    <a:lnL w="9525" cap="flat" cmpd="sng" algn="ctr">
                      <a:noFill/>
                      <a:prstDash val="solid"/>
                      <a:round/>
                      <a:headEnd type="none" w="med" len="med"/>
                      <a:tailEnd type="none" w="med" len="med"/>
                    </a:lnL>
                    <a:lnR w="25400" cmpd="sng">
                      <a:noFill/>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0" marR="0" lvl="0" indent="0" algn="l" defTabSz="932559" rtl="0" eaLnBrk="1" fontAlgn="auto" latinLnBrk="0" hangingPunct="1">
                        <a:lnSpc>
                          <a:spcPct val="100000"/>
                        </a:lnSpc>
                        <a:spcBef>
                          <a:spcPts val="450"/>
                        </a:spcBef>
                        <a:spcAft>
                          <a:spcPts val="0"/>
                        </a:spcAft>
                        <a:buClrTx/>
                        <a:buSzTx/>
                        <a:buFontTx/>
                        <a:buNone/>
                        <a:tabLst/>
                        <a:defRPr/>
                      </a:pPr>
                      <a:r>
                        <a:rPr kumimoji="0" lang="en-US" sz="20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t>Social-enabled:</a:t>
                      </a:r>
                    </a:p>
                    <a:p>
                      <a:pPr marL="292100" marR="0" lvl="0" indent="-188913" algn="l" defTabSz="932559" rtl="0" eaLnBrk="1" fontAlgn="auto" latinLnBrk="0" hangingPunct="1">
                        <a:lnSpc>
                          <a:spcPct val="100000"/>
                        </a:lnSpc>
                        <a:spcBef>
                          <a:spcPts val="2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t>Consumer: social contracts (Windows - share/connected address books)</a:t>
                      </a:r>
                    </a:p>
                    <a:p>
                      <a:pPr marL="292100" marR="0" lvl="0" indent="-188913" algn="l" defTabSz="932559" rtl="0" eaLnBrk="1" fontAlgn="auto" latinLnBrk="0" hangingPunct="1">
                        <a:lnSpc>
                          <a:spcPct val="100000"/>
                        </a:lnSpc>
                        <a:spcBef>
                          <a:spcPts val="2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t>Enterprise: Open Graph API</a:t>
                      </a:r>
                      <a:endParaRPr kumimoji="0" lang="en-US" sz="1400" b="0" i="0" u="none" strike="noStrike" kern="1200" cap="none" spc="0" normalizeH="0" baseline="0" noProof="0" dirty="0">
                        <a:ln>
                          <a:solidFill>
                            <a:schemeClr val="tx1">
                              <a:alpha val="0"/>
                            </a:schemeClr>
                          </a:solidFill>
                        </a:ln>
                        <a:solidFill>
                          <a:schemeClr val="tx1"/>
                        </a:solidFill>
                        <a:effectLst/>
                        <a:uLnTx/>
                        <a:uFillTx/>
                        <a:latin typeface="+mn-lt"/>
                        <a:ea typeface="+mn-ea"/>
                        <a:cs typeface="+mn-cs"/>
                      </a:endParaRPr>
                    </a:p>
                  </a:txBody>
                  <a:tcPr marL="93260" marR="93260" marT="46630" marB="46630" anchor="ctr">
                    <a:lnL w="9525" cap="flat" cmpd="sng" algn="ctr">
                      <a:noFill/>
                      <a:prstDash val="solid"/>
                      <a:round/>
                      <a:headEnd type="none" w="med" len="med"/>
                      <a:tailEnd type="none" w="med" len="med"/>
                    </a:lnL>
                    <a:lnR w="25400" cmpd="sng">
                      <a:noFill/>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0" marR="0" lvl="0" indent="0" algn="ctr" defTabSz="932559"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t>No change to 1</a:t>
                      </a:r>
                      <a:endParaRPr kumimoji="0" lang="en-US" sz="2000" b="0" i="0" u="none" strike="noStrike" kern="1200" cap="none" spc="0" normalizeH="0" baseline="0" noProof="0" dirty="0">
                        <a:ln>
                          <a:solidFill>
                            <a:schemeClr val="tx1">
                              <a:alpha val="0"/>
                            </a:schemeClr>
                          </a:solidFill>
                        </a:ln>
                        <a:solidFill>
                          <a:schemeClr val="tx1"/>
                        </a:solidFill>
                        <a:effectLst/>
                        <a:uLnTx/>
                        <a:uFillTx/>
                        <a:latin typeface="+mn-lt"/>
                        <a:ea typeface="+mn-ea"/>
                        <a:cs typeface="+mn-cs"/>
                      </a:endParaRPr>
                    </a:p>
                  </a:txBody>
                  <a:tcPr marL="93260" marR="93260" marT="46630" marB="46630" anchor="ctr">
                    <a:lnL w="25400" cmpd="sng">
                      <a:noFill/>
                    </a:lnL>
                    <a:lnR>
                      <a:noFill/>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188913" marR="0" lvl="0" indent="-188913" algn="l" defTabSz="932559" rtl="0" eaLnBrk="1" fontAlgn="auto" latinLnBrk="0" hangingPunct="1">
                        <a:lnSpc>
                          <a:spcPct val="100000"/>
                        </a:lnSpc>
                        <a:spcBef>
                          <a:spcPts val="75"/>
                        </a:spcBef>
                        <a:spcAft>
                          <a:spcPts val="150"/>
                        </a:spcAft>
                        <a:buClrTx/>
                        <a:buSzTx/>
                        <a:buFont typeface="Arial" panose="020B0604020202020204" pitchFamily="34" charset="0"/>
                        <a:buChar char="•"/>
                        <a:tabLst/>
                        <a:defRPr/>
                      </a:pPr>
                      <a:r>
                        <a:rPr kumimoji="0" lang="en-US" sz="14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t>Open Graph API integration</a:t>
                      </a:r>
                    </a:p>
                    <a:p>
                      <a:pPr marL="188913" marR="0" lvl="0" indent="-188913" algn="l" defTabSz="932559" rtl="0" eaLnBrk="1" fontAlgn="auto" latinLnBrk="0" hangingPunct="1">
                        <a:lnSpc>
                          <a:spcPct val="100000"/>
                        </a:lnSpc>
                        <a:spcBef>
                          <a:spcPts val="75"/>
                        </a:spcBef>
                        <a:spcAft>
                          <a:spcPts val="150"/>
                        </a:spcAft>
                        <a:buClrTx/>
                        <a:buSzTx/>
                        <a:buFont typeface="Arial" panose="020B0604020202020204" pitchFamily="34" charset="0"/>
                        <a:buChar char="•"/>
                        <a:tabLst/>
                        <a:defRPr/>
                      </a:pPr>
                      <a:r>
                        <a:rPr kumimoji="0" lang="en-US" sz="14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t>Introduction of social signals against service objects or actions based upon signals</a:t>
                      </a:r>
                      <a:endParaRPr kumimoji="0" lang="en-US" sz="1400" b="0" i="0" u="none" strike="noStrike" kern="1200" cap="none" spc="0" normalizeH="0" baseline="0" noProof="0" dirty="0">
                        <a:ln>
                          <a:solidFill>
                            <a:schemeClr val="tx1">
                              <a:alpha val="0"/>
                            </a:schemeClr>
                          </a:solidFill>
                        </a:ln>
                        <a:solidFill>
                          <a:schemeClr val="tx1"/>
                        </a:solidFill>
                        <a:effectLst/>
                        <a:uLnTx/>
                        <a:uFillTx/>
                        <a:latin typeface="+mn-lt"/>
                        <a:ea typeface="+mn-ea"/>
                        <a:cs typeface="+mn-cs"/>
                      </a:endParaRPr>
                    </a:p>
                  </a:txBody>
                  <a:tcPr marL="93260" marR="93260" marT="46630" marB="46630" anchor="ctr">
                    <a:lnL>
                      <a:noFill/>
                    </a:lnL>
                    <a:lnR>
                      <a:noFill/>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r>
              <a:tr h="1018635">
                <a:tc>
                  <a:txBody>
                    <a:bodyPr/>
                    <a:lstStyle/>
                    <a:p>
                      <a:pPr algn="ctr">
                        <a:lnSpc>
                          <a:spcPct val="100000"/>
                        </a:lnSpc>
                        <a:spcBef>
                          <a:spcPts val="0"/>
                        </a:spcBef>
                      </a:pPr>
                      <a:r>
                        <a:rPr lang="en-US" sz="2800" b="0" spc="0" dirty="0" smtClean="0">
                          <a:ln>
                            <a:solidFill>
                              <a:schemeClr val="tx1">
                                <a:alpha val="0"/>
                              </a:schemeClr>
                            </a:solidFill>
                          </a:ln>
                          <a:solidFill>
                            <a:schemeClr val="bg1"/>
                          </a:solidFill>
                          <a:effectLst/>
                          <a:latin typeface="+mj-lt"/>
                        </a:rPr>
                        <a:t>1</a:t>
                      </a:r>
                      <a:endParaRPr lang="en-US" sz="2800" b="0" spc="0" dirty="0">
                        <a:ln>
                          <a:solidFill>
                            <a:schemeClr val="tx1">
                              <a:alpha val="0"/>
                            </a:schemeClr>
                          </a:solidFill>
                        </a:ln>
                        <a:solidFill>
                          <a:schemeClr val="bg1"/>
                        </a:solidFill>
                        <a:effectLst/>
                        <a:latin typeface="+mj-lt"/>
                      </a:endParaRPr>
                    </a:p>
                  </a:txBody>
                  <a:tcPr marL="93260" marR="93260" marT="46630" marB="46630" anchor="ctr">
                    <a:lnL w="9525" cap="flat" cmpd="sng" algn="ctr">
                      <a:noFill/>
                      <a:prstDash val="solid"/>
                      <a:round/>
                      <a:headEnd type="none" w="med" len="med"/>
                      <a:tailEnd type="none" w="med" len="med"/>
                    </a:lnL>
                    <a:lnR w="25400" cmpd="sng">
                      <a:noFill/>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932559" rtl="0" eaLnBrk="1" fontAlgn="auto" latinLnBrk="0" hangingPunct="1">
                        <a:lnSpc>
                          <a:spcPct val="100000"/>
                        </a:lnSpc>
                        <a:spcBef>
                          <a:spcPts val="450"/>
                        </a:spcBef>
                        <a:spcAft>
                          <a:spcPts val="0"/>
                        </a:spcAft>
                        <a:buClrTx/>
                        <a:buSzTx/>
                        <a:buFontTx/>
                        <a:buNone/>
                        <a:tabLst/>
                        <a:defRPr/>
                      </a:pPr>
                      <a:r>
                        <a:rPr kumimoji="0" lang="en-US" sz="2000" b="0" i="0" u="none" strike="noStrike" kern="1200" cap="none" spc="0" normalizeH="0" baseline="0" noProof="0" dirty="0" smtClean="0">
                          <a:ln>
                            <a:solidFill>
                              <a:schemeClr val="tx1">
                                <a:alpha val="0"/>
                              </a:schemeClr>
                            </a:solidFill>
                          </a:ln>
                          <a:solidFill>
                            <a:schemeClr val="bg1"/>
                          </a:solidFill>
                          <a:effectLst/>
                          <a:uLnTx/>
                          <a:uFillTx/>
                          <a:latin typeface="+mn-lt"/>
                          <a:ea typeface="+mn-ea"/>
                          <a:cs typeface="+mn-cs"/>
                        </a:rPr>
                        <a:t>Device App:</a:t>
                      </a:r>
                    </a:p>
                    <a:p>
                      <a:pPr marL="292100" marR="0" lvl="0" indent="-188913" algn="l" defTabSz="932559" rtl="0" eaLnBrk="1" fontAlgn="auto" latinLnBrk="0" hangingPunct="1">
                        <a:lnSpc>
                          <a:spcPct val="100000"/>
                        </a:lnSpc>
                        <a:spcBef>
                          <a:spcPts val="2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smtClean="0">
                          <a:ln>
                            <a:solidFill>
                              <a:schemeClr val="tx1">
                                <a:alpha val="0"/>
                              </a:schemeClr>
                            </a:solidFill>
                          </a:ln>
                          <a:solidFill>
                            <a:schemeClr val="bg1"/>
                          </a:solidFill>
                          <a:effectLst/>
                          <a:uLnTx/>
                          <a:uFillTx/>
                          <a:latin typeface="+mn-lt"/>
                          <a:ea typeface="+mn-ea"/>
                          <a:cs typeface="+mn-cs"/>
                        </a:rPr>
                        <a:t>Data and Settings are cached (Apps </a:t>
                      </a:r>
                      <a:br>
                        <a:rPr kumimoji="0" lang="en-US" sz="1400" b="0" i="0" u="none" strike="noStrike" kern="1200" cap="none" spc="0" normalizeH="0" baseline="0" noProof="0" dirty="0" smtClean="0">
                          <a:ln>
                            <a:solidFill>
                              <a:schemeClr val="tx1">
                                <a:alpha val="0"/>
                              </a:schemeClr>
                            </a:solidFill>
                          </a:ln>
                          <a:solidFill>
                            <a:schemeClr val="bg1"/>
                          </a:solidFill>
                          <a:effectLst/>
                          <a:uLnTx/>
                          <a:uFillTx/>
                          <a:latin typeface="+mn-lt"/>
                          <a:ea typeface="+mn-ea"/>
                          <a:cs typeface="+mn-cs"/>
                        </a:rPr>
                      </a:br>
                      <a:r>
                        <a:rPr kumimoji="0" lang="en-US" sz="1400" b="0" i="0" u="none" strike="noStrike" kern="1200" cap="none" spc="0" normalizeH="0" baseline="0" noProof="0" dirty="0" smtClean="0">
                          <a:ln>
                            <a:solidFill>
                              <a:schemeClr val="tx1">
                                <a:alpha val="0"/>
                              </a:schemeClr>
                            </a:solidFill>
                          </a:ln>
                          <a:solidFill>
                            <a:schemeClr val="bg1"/>
                          </a:solidFill>
                          <a:effectLst/>
                          <a:uLnTx/>
                          <a:uFillTx/>
                          <a:latin typeface="+mn-lt"/>
                          <a:ea typeface="+mn-ea"/>
                          <a:cs typeface="+mn-cs"/>
                        </a:rPr>
                        <a:t>&amp; Users)</a:t>
                      </a:r>
                    </a:p>
                    <a:p>
                      <a:pPr marL="292100" marR="0" lvl="0" indent="-188913" algn="l" defTabSz="932559" rtl="0" eaLnBrk="1" fontAlgn="auto" latinLnBrk="0" hangingPunct="1">
                        <a:lnSpc>
                          <a:spcPct val="100000"/>
                        </a:lnSpc>
                        <a:spcBef>
                          <a:spcPts val="2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smtClean="0">
                          <a:ln>
                            <a:solidFill>
                              <a:schemeClr val="tx1">
                                <a:alpha val="0"/>
                              </a:schemeClr>
                            </a:solidFill>
                          </a:ln>
                          <a:solidFill>
                            <a:schemeClr val="bg1"/>
                          </a:solidFill>
                          <a:effectLst/>
                          <a:uLnTx/>
                          <a:uFillTx/>
                          <a:latin typeface="+mn-lt"/>
                          <a:ea typeface="+mn-ea"/>
                          <a:cs typeface="+mn-cs"/>
                        </a:rPr>
                        <a:t>Notifications (Live tiles) are enabled</a:t>
                      </a:r>
                      <a:endParaRPr kumimoji="0" lang="en-US" sz="1400" b="0" i="0" u="none" strike="noStrike" kern="1200" cap="none" spc="0" normalizeH="0" baseline="0" noProof="0" dirty="0">
                        <a:ln>
                          <a:solidFill>
                            <a:schemeClr val="tx1">
                              <a:alpha val="0"/>
                            </a:schemeClr>
                          </a:solidFill>
                        </a:ln>
                        <a:solidFill>
                          <a:schemeClr val="bg1"/>
                        </a:solidFill>
                        <a:effectLst/>
                        <a:uLnTx/>
                        <a:uFillTx/>
                        <a:latin typeface="+mn-lt"/>
                        <a:ea typeface="+mn-ea"/>
                        <a:cs typeface="+mn-cs"/>
                      </a:endParaRPr>
                    </a:p>
                  </a:txBody>
                  <a:tcPr marL="93260" marR="93260" marT="46630" marB="46630" anchor="ctr">
                    <a:lnL w="9525" cap="flat" cmpd="sng" algn="ctr">
                      <a:noFill/>
                      <a:prstDash val="solid"/>
                      <a:round/>
                      <a:headEnd type="none" w="med" len="med"/>
                      <a:tailEnd type="none" w="med" len="med"/>
                    </a:lnL>
                    <a:lnR w="25400" cmpd="sng">
                      <a:noFill/>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88913" marR="0" lvl="0" indent="-188913" algn="l" defTabSz="93255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solidFill>
                              <a:schemeClr val="tx1">
                                <a:alpha val="0"/>
                              </a:schemeClr>
                            </a:solidFill>
                          </a:ln>
                          <a:solidFill>
                            <a:schemeClr val="bg1"/>
                          </a:solidFill>
                          <a:effectLst/>
                          <a:uLnTx/>
                          <a:uFillTx/>
                          <a:latin typeface="+mn-lt"/>
                          <a:ea typeface="+mn-ea"/>
                          <a:cs typeface="+mn-cs"/>
                        </a:rPr>
                        <a:t>HTTP/s</a:t>
                      </a:r>
                    </a:p>
                    <a:p>
                      <a:pPr marL="188913" marR="0" lvl="0" indent="-188913" algn="l" defTabSz="93255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solidFill>
                              <a:schemeClr val="tx1">
                                <a:alpha val="0"/>
                              </a:schemeClr>
                            </a:solidFill>
                          </a:ln>
                          <a:solidFill>
                            <a:schemeClr val="bg1"/>
                          </a:solidFill>
                          <a:effectLst/>
                          <a:uLnTx/>
                          <a:uFillTx/>
                          <a:latin typeface="+mn-lt"/>
                          <a:ea typeface="+mn-ea"/>
                          <a:cs typeface="+mn-cs"/>
                        </a:rPr>
                        <a:t>Azure mobile services</a:t>
                      </a:r>
                    </a:p>
                    <a:p>
                      <a:pPr marL="188913" marR="0" lvl="0" indent="-188913" algn="l" defTabSz="93255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solidFill>
                              <a:schemeClr val="tx1">
                                <a:alpha val="0"/>
                              </a:schemeClr>
                            </a:solidFill>
                          </a:ln>
                          <a:solidFill>
                            <a:schemeClr val="bg1"/>
                          </a:solidFill>
                          <a:effectLst/>
                          <a:uLnTx/>
                          <a:uFillTx/>
                          <a:latin typeface="+mn-lt"/>
                          <a:ea typeface="+mn-ea"/>
                          <a:cs typeface="+mn-cs"/>
                        </a:rPr>
                        <a:t>[ISB integration patterns]</a:t>
                      </a:r>
                    </a:p>
                    <a:p>
                      <a:pPr marL="188913" marR="0" lvl="0" indent="-188913" algn="l" defTabSz="93255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solidFill>
                              <a:schemeClr val="tx1">
                                <a:alpha val="0"/>
                              </a:schemeClr>
                            </a:solidFill>
                          </a:ln>
                          <a:solidFill>
                            <a:schemeClr val="bg1"/>
                          </a:solidFill>
                          <a:effectLst/>
                          <a:uLnTx/>
                          <a:uFillTx/>
                          <a:latin typeface="+mn-lt"/>
                          <a:ea typeface="+mn-ea"/>
                          <a:cs typeface="+mn-cs"/>
                        </a:rPr>
                        <a:t>[Service-specific RESTful API’s]</a:t>
                      </a:r>
                      <a:endParaRPr kumimoji="0" lang="en-US" sz="1400" b="0" i="0" u="none" strike="noStrike" kern="1200" cap="none" spc="0" normalizeH="0" baseline="0" noProof="0" dirty="0">
                        <a:ln>
                          <a:solidFill>
                            <a:schemeClr val="tx1">
                              <a:alpha val="0"/>
                            </a:schemeClr>
                          </a:solidFill>
                        </a:ln>
                        <a:solidFill>
                          <a:schemeClr val="bg1"/>
                        </a:solidFill>
                        <a:effectLst/>
                        <a:uLnTx/>
                        <a:uFillTx/>
                        <a:latin typeface="+mn-lt"/>
                        <a:ea typeface="+mn-ea"/>
                        <a:cs typeface="+mn-cs"/>
                      </a:endParaRPr>
                    </a:p>
                  </a:txBody>
                  <a:tcPr marL="93260" marR="93260" marT="46630" marB="46630" anchor="ctr">
                    <a:lnL w="25400" cmpd="sng">
                      <a:noFill/>
                    </a:lnL>
                    <a:lnR>
                      <a:noFill/>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88913" marR="0" lvl="0" indent="-188913" algn="l" defTabSz="93255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solidFill>
                              <a:schemeClr val="tx1">
                                <a:alpha val="0"/>
                              </a:schemeClr>
                            </a:solidFill>
                          </a:ln>
                          <a:solidFill>
                            <a:schemeClr val="bg1"/>
                          </a:solidFill>
                          <a:effectLst/>
                          <a:uLnTx/>
                          <a:uFillTx/>
                          <a:latin typeface="+mn-lt"/>
                          <a:ea typeface="+mn-ea"/>
                          <a:cs typeface="+mn-cs"/>
                        </a:rPr>
                        <a:t>One or more services are being accessed</a:t>
                      </a:r>
                    </a:p>
                    <a:p>
                      <a:pPr marL="188913" marR="0" lvl="0" indent="-188913" algn="l" defTabSz="93255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solidFill>
                              <a:schemeClr val="tx1">
                                <a:alpha val="0"/>
                              </a:schemeClr>
                            </a:solidFill>
                          </a:ln>
                          <a:solidFill>
                            <a:schemeClr val="bg1"/>
                          </a:solidFill>
                          <a:effectLst/>
                          <a:uLnTx/>
                          <a:uFillTx/>
                          <a:latin typeface="+mn-lt"/>
                          <a:ea typeface="+mn-ea"/>
                          <a:cs typeface="+mn-cs"/>
                        </a:rPr>
                        <a:t>Data is exchanged between app &amp; service(s)</a:t>
                      </a:r>
                      <a:endParaRPr kumimoji="0" lang="en-US" sz="1400" b="0" i="0" u="none" strike="noStrike" kern="1200" cap="none" spc="0" normalizeH="0" baseline="0" noProof="0" dirty="0">
                        <a:ln>
                          <a:solidFill>
                            <a:schemeClr val="tx1">
                              <a:alpha val="0"/>
                            </a:schemeClr>
                          </a:solidFill>
                        </a:ln>
                        <a:solidFill>
                          <a:schemeClr val="bg1"/>
                        </a:solidFill>
                        <a:effectLst/>
                        <a:uLnTx/>
                        <a:uFillTx/>
                        <a:latin typeface="+mn-lt"/>
                        <a:ea typeface="+mn-ea"/>
                        <a:cs typeface="+mn-cs"/>
                      </a:endParaRPr>
                    </a:p>
                  </a:txBody>
                  <a:tcPr marL="93260" marR="93260" marT="46630" marB="46630" anchor="ctr">
                    <a:lnL>
                      <a:noFill/>
                    </a:lnL>
                    <a:lnR>
                      <a:noFill/>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623639">
                <a:tc>
                  <a:txBody>
                    <a:bodyPr/>
                    <a:lstStyle/>
                    <a:p>
                      <a:pPr algn="ctr">
                        <a:lnSpc>
                          <a:spcPct val="100000"/>
                        </a:lnSpc>
                        <a:spcBef>
                          <a:spcPts val="0"/>
                        </a:spcBef>
                      </a:pPr>
                      <a:r>
                        <a:rPr lang="en-US" sz="2800" b="0" spc="0" dirty="0" smtClean="0">
                          <a:ln>
                            <a:solidFill>
                              <a:schemeClr val="tx1">
                                <a:alpha val="0"/>
                              </a:schemeClr>
                            </a:solidFill>
                          </a:ln>
                          <a:solidFill>
                            <a:schemeClr val="tx1"/>
                          </a:solidFill>
                          <a:effectLst/>
                          <a:latin typeface="+mj-lt"/>
                        </a:rPr>
                        <a:t>0</a:t>
                      </a:r>
                      <a:endParaRPr lang="en-US" sz="2800" b="0" spc="0" dirty="0">
                        <a:ln>
                          <a:solidFill>
                            <a:schemeClr val="tx1">
                              <a:alpha val="0"/>
                            </a:schemeClr>
                          </a:solidFill>
                        </a:ln>
                        <a:solidFill>
                          <a:schemeClr val="tx1"/>
                        </a:solidFill>
                        <a:effectLst/>
                        <a:latin typeface="+mj-lt"/>
                      </a:endParaRPr>
                    </a:p>
                  </a:txBody>
                  <a:tcPr marL="93260" marR="93260" marT="46630" marB="46630" anchor="ctr">
                    <a:lnL w="9525" cap="flat" cmpd="sng" algn="ctr">
                      <a:noFill/>
                      <a:prstDash val="solid"/>
                      <a:round/>
                      <a:headEnd type="none" w="med" len="med"/>
                      <a:tailEnd type="none" w="med" len="med"/>
                    </a:lnL>
                    <a:lnR w="25400" cmpd="sng">
                      <a:noFill/>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0" marR="0" lvl="0" indent="0" algn="l" defTabSz="932559"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t>Native Device App:</a:t>
                      </a:r>
                    </a:p>
                    <a:p>
                      <a:pPr marL="292100" marR="0" lvl="0" indent="-188913" algn="l" defTabSz="932559" rtl="0" eaLnBrk="1" fontAlgn="auto" latinLnBrk="0" hangingPunct="1">
                        <a:lnSpc>
                          <a:spcPct val="100000"/>
                        </a:lnSpc>
                        <a:spcBef>
                          <a:spcPts val="2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t>Data and Settings are cached (Apps </a:t>
                      </a:r>
                      <a:br>
                        <a:rPr kumimoji="0" lang="en-US" sz="14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br>
                      <a:r>
                        <a:rPr kumimoji="0" lang="en-US" sz="14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t>&amp; Users)</a:t>
                      </a:r>
                      <a:endParaRPr kumimoji="0" lang="en-US" sz="1400" b="0" i="0" u="none" strike="noStrike" kern="1200" cap="none" spc="0" normalizeH="0" baseline="0" noProof="0" dirty="0">
                        <a:ln>
                          <a:solidFill>
                            <a:schemeClr val="tx1">
                              <a:alpha val="0"/>
                            </a:schemeClr>
                          </a:solidFill>
                        </a:ln>
                        <a:solidFill>
                          <a:schemeClr val="tx1"/>
                        </a:solidFill>
                        <a:effectLst/>
                        <a:uLnTx/>
                        <a:uFillTx/>
                        <a:latin typeface="+mn-lt"/>
                        <a:ea typeface="+mn-ea"/>
                        <a:cs typeface="+mn-cs"/>
                      </a:endParaRPr>
                    </a:p>
                  </a:txBody>
                  <a:tcPr marL="93260" marR="93260" marT="46630" marB="46630" anchor="ctr">
                    <a:lnL w="9525" cap="flat" cmpd="sng" algn="ctr">
                      <a:noFill/>
                      <a:prstDash val="solid"/>
                      <a:round/>
                      <a:headEnd type="none" w="med" len="med"/>
                      <a:tailEnd type="none" w="med" len="med"/>
                    </a:lnL>
                    <a:lnR w="25400" cmpd="sng">
                      <a:noFill/>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0" marR="0" lvl="0" indent="0" algn="l" defTabSz="932559"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t>HTTP/s</a:t>
                      </a:r>
                    </a:p>
                    <a:p>
                      <a:pPr marL="0" marR="0" lvl="0" indent="0" algn="l" defTabSz="932559"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t>Simple RESTful API’s</a:t>
                      </a:r>
                      <a:endParaRPr kumimoji="0" lang="en-US" sz="2000" b="0" i="0" u="none" strike="noStrike" kern="1200" cap="none" spc="0" normalizeH="0" baseline="0" noProof="0" dirty="0">
                        <a:ln>
                          <a:solidFill>
                            <a:schemeClr val="tx1">
                              <a:alpha val="0"/>
                            </a:schemeClr>
                          </a:solidFill>
                        </a:ln>
                        <a:solidFill>
                          <a:schemeClr val="tx1"/>
                        </a:solidFill>
                        <a:effectLst/>
                        <a:uLnTx/>
                        <a:uFillTx/>
                        <a:latin typeface="+mn-lt"/>
                        <a:ea typeface="+mn-ea"/>
                        <a:cs typeface="+mn-cs"/>
                      </a:endParaRPr>
                    </a:p>
                  </a:txBody>
                  <a:tcPr marL="93260" marR="93260" marT="46630" marB="46630" anchor="ctr">
                    <a:lnL w="25400" cmpd="sng">
                      <a:noFill/>
                    </a:lnL>
                    <a:lnR>
                      <a:noFill/>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0" marR="0" lvl="0" indent="0" algn="l" defTabSz="932559"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t>Cloud storage: SkyDrive (default)</a:t>
                      </a:r>
                      <a:endParaRPr kumimoji="0" lang="en-US" sz="2000" b="0" i="0" u="none" strike="noStrike" kern="1200" cap="none" spc="0" normalizeH="0" baseline="0" noProof="0" dirty="0">
                        <a:ln>
                          <a:solidFill>
                            <a:schemeClr val="tx1">
                              <a:alpha val="0"/>
                            </a:schemeClr>
                          </a:solidFill>
                        </a:ln>
                        <a:solidFill>
                          <a:schemeClr val="tx1"/>
                        </a:solidFill>
                        <a:effectLst/>
                        <a:uLnTx/>
                        <a:uFillTx/>
                        <a:latin typeface="+mn-lt"/>
                        <a:ea typeface="+mn-ea"/>
                        <a:cs typeface="+mn-cs"/>
                      </a:endParaRPr>
                    </a:p>
                  </a:txBody>
                  <a:tcPr marL="93260" marR="93260" marT="46630" marB="46630" anchor="ctr">
                    <a:lnL>
                      <a:noFill/>
                    </a:lnL>
                    <a:lnR>
                      <a:noFill/>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r>
            </a:tbl>
          </a:graphicData>
        </a:graphic>
      </p:graphicFrame>
    </p:spTree>
    <p:extLst>
      <p:ext uri="{BB962C8B-B14F-4D97-AF65-F5344CB8AC3E}">
        <p14:creationId xmlns:p14="http://schemas.microsoft.com/office/powerpoint/2010/main" val="8618229"/>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3383" y="497"/>
          <a:ext cx="161887" cy="161887"/>
        </p:xfrm>
        <a:graphic>
          <a:graphicData uri="http://schemas.openxmlformats.org/presentationml/2006/ole">
            <mc:AlternateContent xmlns:mc="http://schemas.openxmlformats.org/markup-compatibility/2006">
              <mc:Choice xmlns:v="urn:schemas-microsoft-com:vml" Requires="v">
                <p:oleObj spid="_x0000_s7175"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3383" y="497"/>
                        <a:ext cx="161887" cy="161887"/>
                      </a:xfrm>
                      <a:prstGeom prst="rect">
                        <a:avLst/>
                      </a:prstGeom>
                    </p:spPr>
                  </p:pic>
                </p:oleObj>
              </mc:Fallback>
            </mc:AlternateContent>
          </a:graphicData>
        </a:graphic>
      </p:graphicFrame>
      <p:sp>
        <p:nvSpPr>
          <p:cNvPr id="4" name="Title 3"/>
          <p:cNvSpPr>
            <a:spLocks noGrp="1"/>
          </p:cNvSpPr>
          <p:nvPr>
            <p:ph type="title"/>
            <p:custDataLst>
              <p:tags r:id="rId3"/>
            </p:custDataLst>
          </p:nvPr>
        </p:nvSpPr>
        <p:spPr/>
        <p:txBody>
          <a:bodyPr/>
          <a:lstStyle/>
          <a:p>
            <a:r>
              <a:rPr lang="en-US" dirty="0"/>
              <a:t>Fundamentals of Telemetry &amp; Insight</a:t>
            </a:r>
          </a:p>
        </p:txBody>
      </p:sp>
      <p:sp>
        <p:nvSpPr>
          <p:cNvPr id="5" name="Rectangle 4"/>
          <p:cNvSpPr/>
          <p:nvPr>
            <p:custDataLst>
              <p:tags r:id="rId4"/>
            </p:custDataLst>
          </p:nvPr>
        </p:nvSpPr>
        <p:spPr bwMode="auto">
          <a:xfrm>
            <a:off x="550563" y="1460197"/>
            <a:ext cx="3680023" cy="2021524"/>
          </a:xfrm>
          <a:prstGeom prst="rect">
            <a:avLst/>
          </a:prstGeom>
          <a:solidFill>
            <a:schemeClr val="accent3"/>
          </a:solidFill>
          <a:ln w="9525" cap="flat" cmpd="sng" algn="ctr">
            <a:noFill/>
            <a:prstDash val="solid"/>
            <a:headEnd type="none" w="med" len="med"/>
            <a:tailEnd type="none" w="med" len="med"/>
          </a:ln>
          <a:effectLst>
            <a:outerShdw blurRad="40005" dist="22860" dir="5400000" algn="ctr" rotWithShape="0">
              <a:srgbClr val="000000">
                <a:alpha val="35000"/>
              </a:srgbClr>
            </a:outerShdw>
          </a:effectLst>
          <a:scene3d>
            <a:camera prst="orthographicFront" fov="0">
              <a:rot lat="0" lon="0" rev="0"/>
            </a:camera>
            <a:lightRig rig="glow" dir="t">
              <a:rot lat="0" lon="0" rev="6360000"/>
            </a:lightRig>
          </a:scene3d>
          <a:sp3d prstMaterial="flat">
            <a:contourClr>
              <a:srgbClr val="008FBA">
                <a:satMod val="300000"/>
              </a:srgbClr>
            </a:contourClr>
          </a:sp3d>
        </p:spPr>
        <p:txBody>
          <a:bodyPr vert="horz" wrap="square" lIns="186494" tIns="93247" rIns="186494" bIns="93247" numCol="1" rtlCol="0" anchor="b" anchorCtr="0" compatLnSpc="1">
            <a:prstTxWarp prst="textNoShape">
              <a:avLst/>
            </a:prstTxWarp>
            <a:noAutofit/>
          </a:bodyPr>
          <a:lstStyle/>
          <a:p>
            <a:pPr marL="0" lvl="1" defTabSz="699348">
              <a:lnSpc>
                <a:spcPct val="90000"/>
              </a:lnSpc>
              <a:spcBef>
                <a:spcPts val="612"/>
              </a:spcBef>
              <a:buSzPct val="90000"/>
            </a:pPr>
            <a:r>
              <a:rPr lang="en-US" sz="4080" dirty="0">
                <a:ln>
                  <a:solidFill>
                    <a:srgbClr val="FFFFFF">
                      <a:alpha val="0"/>
                    </a:srgbClr>
                  </a:solidFill>
                </a:ln>
                <a:solidFill>
                  <a:srgbClr val="FFFFFF"/>
                </a:solidFill>
                <a:latin typeface="Segoe UI Light" pitchFamily="34" charset="0"/>
              </a:rPr>
              <a:t>Collect</a:t>
            </a:r>
          </a:p>
        </p:txBody>
      </p:sp>
      <p:sp>
        <p:nvSpPr>
          <p:cNvPr id="6" name="Rectangle 5"/>
          <p:cNvSpPr/>
          <p:nvPr>
            <p:custDataLst>
              <p:tags r:id="rId5"/>
            </p:custDataLst>
          </p:nvPr>
        </p:nvSpPr>
        <p:spPr bwMode="auto">
          <a:xfrm>
            <a:off x="550563" y="3543886"/>
            <a:ext cx="3680023" cy="2875119"/>
          </a:xfrm>
          <a:prstGeom prst="rect">
            <a:avLst/>
          </a:prstGeom>
          <a:solidFill>
            <a:schemeClr val="bg1">
              <a:alpha val="20000"/>
            </a:schemeClr>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43" tIns="93247" rIns="93243" bIns="93247" numCol="1" rtlCol="0" anchor="t" anchorCtr="0" compatLnSpc="1">
            <a:prstTxWarp prst="textNoShape">
              <a:avLst/>
            </a:prstTxWarp>
          </a:bodyPr>
          <a:lstStyle/>
          <a:p>
            <a:pPr marL="294619" lvl="1" indent="-294619" defTabSz="932380">
              <a:spcBef>
                <a:spcPts val="1224"/>
              </a:spcBef>
              <a:buSzPct val="100000"/>
              <a:buFont typeface="Arial" pitchFamily="34" charset="0"/>
              <a:buChar char="•"/>
            </a:pPr>
            <a:r>
              <a:rPr lang="en-US" sz="2448" dirty="0">
                <a:ln>
                  <a:solidFill>
                    <a:srgbClr val="FFFFFF">
                      <a:alpha val="0"/>
                    </a:srgbClr>
                  </a:solidFill>
                </a:ln>
                <a:solidFill>
                  <a:srgbClr val="FFFFFF"/>
                </a:solidFill>
              </a:rPr>
              <a:t>Instrument apps </a:t>
            </a:r>
          </a:p>
          <a:p>
            <a:pPr marL="294619" lvl="1" indent="-294619" defTabSz="932380">
              <a:spcBef>
                <a:spcPts val="1224"/>
              </a:spcBef>
              <a:buSzPct val="100000"/>
              <a:buFont typeface="Arial" pitchFamily="34" charset="0"/>
              <a:buChar char="•"/>
            </a:pPr>
            <a:r>
              <a:rPr lang="en-US" sz="2448" dirty="0">
                <a:ln>
                  <a:solidFill>
                    <a:srgbClr val="FFFFFF">
                      <a:alpha val="0"/>
                    </a:srgbClr>
                  </a:solidFill>
                </a:ln>
                <a:solidFill>
                  <a:srgbClr val="FFFFFF"/>
                </a:solidFill>
              </a:rPr>
              <a:t>Deliver events to analytics service</a:t>
            </a:r>
          </a:p>
          <a:p>
            <a:pPr marL="294619" lvl="1" indent="-294619" defTabSz="932380">
              <a:spcBef>
                <a:spcPts val="1224"/>
              </a:spcBef>
              <a:buSzPct val="100000"/>
              <a:buFont typeface="Arial" pitchFamily="34" charset="0"/>
              <a:buChar char="•"/>
            </a:pPr>
            <a:r>
              <a:rPr lang="en-US" sz="2448" dirty="0">
                <a:ln>
                  <a:solidFill>
                    <a:srgbClr val="FFFFFF">
                      <a:alpha val="0"/>
                    </a:srgbClr>
                  </a:solidFill>
                </a:ln>
                <a:solidFill>
                  <a:srgbClr val="FFFFFF"/>
                </a:solidFill>
              </a:rPr>
              <a:t>Receive and store many live data streams</a:t>
            </a:r>
          </a:p>
        </p:txBody>
      </p:sp>
      <p:sp>
        <p:nvSpPr>
          <p:cNvPr id="11" name="Rectangle 10"/>
          <p:cNvSpPr/>
          <p:nvPr>
            <p:custDataLst>
              <p:tags r:id="rId6"/>
            </p:custDataLst>
          </p:nvPr>
        </p:nvSpPr>
        <p:spPr bwMode="auto">
          <a:xfrm>
            <a:off x="4388751" y="1460197"/>
            <a:ext cx="3680023" cy="2021524"/>
          </a:xfrm>
          <a:prstGeom prst="rect">
            <a:avLst/>
          </a:prstGeom>
          <a:solidFill>
            <a:schemeClr val="accent1"/>
          </a:solidFill>
          <a:ln w="9525">
            <a:noFill/>
            <a:headEnd type="none" w="med" len="med"/>
            <a:tailEnd type="none" w="med" len="med"/>
          </a:ln>
          <a:effectLst>
            <a:outerShdw blurRad="40005" dist="22860" dir="5400000" algn="ctr" rotWithShape="0">
              <a:srgbClr val="000000">
                <a:alpha val="35000"/>
              </a:srgbClr>
            </a:outerShdw>
          </a:effectLst>
        </p:spPr>
        <p:style>
          <a:lnRef idx="1">
            <a:schemeClr val="accent2"/>
          </a:lnRef>
          <a:fillRef idx="3">
            <a:schemeClr val="accent2"/>
          </a:fillRef>
          <a:effectRef idx="2">
            <a:schemeClr val="accent2"/>
          </a:effectRef>
          <a:fontRef idx="minor">
            <a:schemeClr val="lt1"/>
          </a:fontRef>
        </p:style>
        <p:txBody>
          <a:bodyPr vert="horz" wrap="square" lIns="186494" tIns="93247" rIns="186494" bIns="93247" numCol="1" rtlCol="0" anchor="b" anchorCtr="0" compatLnSpc="1">
            <a:prstTxWarp prst="textNoShape">
              <a:avLst/>
            </a:prstTxWarp>
            <a:noAutofit/>
          </a:bodyPr>
          <a:lstStyle/>
          <a:p>
            <a:pPr marL="0" lvl="1" defTabSz="699348"/>
            <a:r>
              <a:rPr lang="en-US" sz="4080" dirty="0">
                <a:ln>
                  <a:solidFill>
                    <a:srgbClr val="FFFFFF">
                      <a:alpha val="0"/>
                    </a:srgbClr>
                  </a:solidFill>
                </a:ln>
                <a:solidFill>
                  <a:srgbClr val="FFFFFF"/>
                </a:solidFill>
                <a:latin typeface="Segoe UI Light" pitchFamily="34" charset="0"/>
              </a:rPr>
              <a:t>Analyze</a:t>
            </a:r>
          </a:p>
        </p:txBody>
      </p:sp>
      <p:sp>
        <p:nvSpPr>
          <p:cNvPr id="12" name="Rectangle 11"/>
          <p:cNvSpPr/>
          <p:nvPr>
            <p:custDataLst>
              <p:tags r:id="rId7"/>
            </p:custDataLst>
          </p:nvPr>
        </p:nvSpPr>
        <p:spPr bwMode="auto">
          <a:xfrm>
            <a:off x="4388751" y="3543886"/>
            <a:ext cx="3680023" cy="2875119"/>
          </a:xfrm>
          <a:prstGeom prst="rect">
            <a:avLst/>
          </a:prstGeom>
          <a:solidFill>
            <a:schemeClr val="bg1">
              <a:alpha val="20000"/>
            </a:schemeClr>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43" tIns="93247" rIns="93243" bIns="93247" numCol="1" rtlCol="0" anchor="t" anchorCtr="0" compatLnSpc="1">
            <a:prstTxWarp prst="textNoShape">
              <a:avLst/>
            </a:prstTxWarp>
          </a:bodyPr>
          <a:lstStyle/>
          <a:p>
            <a:pPr marL="294619" lvl="1" indent="-294619" defTabSz="932380">
              <a:spcBef>
                <a:spcPts val="1224"/>
              </a:spcBef>
              <a:buSzPct val="100000"/>
              <a:buFont typeface="Arial" pitchFamily="34" charset="0"/>
              <a:buChar char="•"/>
            </a:pPr>
            <a:r>
              <a:rPr lang="en-US" sz="2448" dirty="0">
                <a:ln>
                  <a:solidFill>
                    <a:srgbClr val="FFFFFF">
                      <a:alpha val="0"/>
                    </a:srgbClr>
                  </a:solidFill>
                </a:ln>
                <a:solidFill>
                  <a:srgbClr val="FFFFFF"/>
                </a:solidFill>
              </a:rPr>
              <a:t>Real-time and historical analysis of event streams</a:t>
            </a:r>
          </a:p>
          <a:p>
            <a:pPr marL="294619" lvl="1" indent="-294619" defTabSz="932380">
              <a:spcBef>
                <a:spcPts val="1224"/>
              </a:spcBef>
              <a:buSzPct val="100000"/>
              <a:buFont typeface="Arial" pitchFamily="34" charset="0"/>
              <a:buChar char="•"/>
            </a:pPr>
            <a:r>
              <a:rPr lang="en-US" sz="2448" dirty="0">
                <a:ln>
                  <a:solidFill>
                    <a:srgbClr val="FFFFFF">
                      <a:alpha val="0"/>
                    </a:srgbClr>
                  </a:solidFill>
                </a:ln>
                <a:solidFill>
                  <a:srgbClr val="FFFFFF"/>
                </a:solidFill>
              </a:rPr>
              <a:t>Aggregations, pivots and patterns</a:t>
            </a:r>
          </a:p>
        </p:txBody>
      </p:sp>
      <p:sp>
        <p:nvSpPr>
          <p:cNvPr id="13" name="Rectangle 12"/>
          <p:cNvSpPr/>
          <p:nvPr>
            <p:custDataLst>
              <p:tags r:id="rId8"/>
            </p:custDataLst>
          </p:nvPr>
        </p:nvSpPr>
        <p:spPr bwMode="auto">
          <a:xfrm>
            <a:off x="8226938" y="1460197"/>
            <a:ext cx="3680023" cy="2021524"/>
          </a:xfrm>
          <a:prstGeom prst="rect">
            <a:avLst/>
          </a:prstGeom>
          <a:solidFill>
            <a:schemeClr val="accent2"/>
          </a:solidFill>
          <a:ln w="9525">
            <a:noFill/>
            <a:headEnd type="none" w="med" len="med"/>
            <a:tailEnd type="none" w="med" len="med"/>
          </a:ln>
          <a:effectLst>
            <a:outerShdw blurRad="40005" dist="22860" dir="5400000" algn="ctr" rotWithShape="0">
              <a:srgbClr val="000000">
                <a:alpha val="35000"/>
              </a:srgbClr>
            </a:outerShdw>
          </a:effectLst>
        </p:spPr>
        <p:style>
          <a:lnRef idx="1">
            <a:schemeClr val="accent2"/>
          </a:lnRef>
          <a:fillRef idx="3">
            <a:schemeClr val="accent2"/>
          </a:fillRef>
          <a:effectRef idx="2">
            <a:schemeClr val="accent2"/>
          </a:effectRef>
          <a:fontRef idx="minor">
            <a:schemeClr val="lt1"/>
          </a:fontRef>
        </p:style>
        <p:txBody>
          <a:bodyPr vert="horz" wrap="square" lIns="186494" tIns="93247" rIns="186494" bIns="93247" numCol="1" rtlCol="0" anchor="b" anchorCtr="0" compatLnSpc="1">
            <a:prstTxWarp prst="textNoShape">
              <a:avLst/>
            </a:prstTxWarp>
            <a:noAutofit/>
          </a:bodyPr>
          <a:lstStyle/>
          <a:p>
            <a:pPr marL="0" lvl="1" defTabSz="699348"/>
            <a:r>
              <a:rPr lang="en-US" sz="4080" dirty="0">
                <a:ln>
                  <a:solidFill>
                    <a:srgbClr val="FFFFFF">
                      <a:alpha val="0"/>
                    </a:srgbClr>
                  </a:solidFill>
                </a:ln>
                <a:solidFill>
                  <a:srgbClr val="FFFFFF"/>
                </a:solidFill>
                <a:latin typeface="Segoe UI Light" pitchFamily="34" charset="0"/>
              </a:rPr>
              <a:t>Consume</a:t>
            </a:r>
          </a:p>
        </p:txBody>
      </p:sp>
      <p:sp>
        <p:nvSpPr>
          <p:cNvPr id="14" name="Rectangle 13"/>
          <p:cNvSpPr/>
          <p:nvPr>
            <p:custDataLst>
              <p:tags r:id="rId9"/>
            </p:custDataLst>
          </p:nvPr>
        </p:nvSpPr>
        <p:spPr bwMode="auto">
          <a:xfrm>
            <a:off x="8226938" y="3543886"/>
            <a:ext cx="3680023" cy="2875119"/>
          </a:xfrm>
          <a:prstGeom prst="rect">
            <a:avLst/>
          </a:prstGeom>
          <a:solidFill>
            <a:schemeClr val="bg1">
              <a:alpha val="20000"/>
            </a:schemeClr>
          </a:solidFill>
          <a:ln>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43" tIns="93247" rIns="93243" bIns="93247" numCol="1" rtlCol="0" anchor="t" anchorCtr="0" compatLnSpc="1">
            <a:prstTxWarp prst="textNoShape">
              <a:avLst/>
            </a:prstTxWarp>
          </a:bodyPr>
          <a:lstStyle/>
          <a:p>
            <a:pPr marL="294619" lvl="1" indent="-294619" defTabSz="932380">
              <a:spcBef>
                <a:spcPts val="1224"/>
              </a:spcBef>
              <a:buSzPct val="100000"/>
              <a:buFont typeface="Arial" pitchFamily="34" charset="0"/>
              <a:buChar char="•"/>
            </a:pPr>
            <a:r>
              <a:rPr lang="en-US" sz="2448" dirty="0">
                <a:ln>
                  <a:solidFill>
                    <a:srgbClr val="FFFFFF">
                      <a:alpha val="0"/>
                    </a:srgbClr>
                  </a:solidFill>
                </a:ln>
                <a:solidFill>
                  <a:srgbClr val="FFFFFF"/>
                </a:solidFill>
              </a:rPr>
              <a:t>Publish analytics in a consumable format</a:t>
            </a:r>
          </a:p>
          <a:p>
            <a:pPr marL="294619" lvl="1" indent="-294619" defTabSz="932380">
              <a:spcBef>
                <a:spcPts val="1224"/>
              </a:spcBef>
              <a:buSzPct val="100000"/>
              <a:buFont typeface="Arial" pitchFamily="34" charset="0"/>
              <a:buChar char="•"/>
            </a:pPr>
            <a:r>
              <a:rPr lang="en-US" sz="2448" dirty="0">
                <a:ln>
                  <a:solidFill>
                    <a:srgbClr val="FFFFFF">
                      <a:alpha val="0"/>
                    </a:srgbClr>
                  </a:solidFill>
                </a:ln>
                <a:solidFill>
                  <a:srgbClr val="FFFFFF"/>
                </a:solidFill>
              </a:rPr>
              <a:t>Inform and Influence</a:t>
            </a:r>
          </a:p>
          <a:p>
            <a:pPr marL="294619" lvl="1" indent="-294619" defTabSz="932380">
              <a:spcBef>
                <a:spcPts val="1224"/>
              </a:spcBef>
              <a:buSzPct val="100000"/>
              <a:buFont typeface="Arial" pitchFamily="34" charset="0"/>
              <a:buChar char="•"/>
            </a:pPr>
            <a:r>
              <a:rPr lang="en-US" sz="2448" dirty="0">
                <a:ln>
                  <a:solidFill>
                    <a:srgbClr val="FFFFFF">
                      <a:alpha val="0"/>
                    </a:srgbClr>
                  </a:solidFill>
                </a:ln>
                <a:solidFill>
                  <a:srgbClr val="FFFFFF"/>
                </a:solidFill>
              </a:rPr>
              <a:t>Make better decisions</a:t>
            </a:r>
          </a:p>
        </p:txBody>
      </p:sp>
      <p:sp>
        <p:nvSpPr>
          <p:cNvPr id="15" name="Rounded Rectangle 100"/>
          <p:cNvSpPr/>
          <p:nvPr>
            <p:custDataLst>
              <p:tags r:id="rId10"/>
            </p:custDataLst>
          </p:nvPr>
        </p:nvSpPr>
        <p:spPr bwMode="auto">
          <a:xfrm>
            <a:off x="2914604" y="1597234"/>
            <a:ext cx="1123581" cy="783699"/>
          </a:xfrm>
          <a:custGeom>
            <a:avLst/>
            <a:gdLst/>
            <a:ahLst/>
            <a:cxnLst/>
            <a:rect l="l" t="t" r="r" b="b"/>
            <a:pathLst>
              <a:path w="2489828" h="1736658">
                <a:moveTo>
                  <a:pt x="1355416" y="1347324"/>
                </a:moveTo>
                <a:lnTo>
                  <a:pt x="1341361" y="1364359"/>
                </a:lnTo>
                <a:cubicBezTo>
                  <a:pt x="1338975" y="1363255"/>
                  <a:pt x="1337389" y="1362710"/>
                  <a:pt x="1338454" y="1359514"/>
                </a:cubicBezTo>
                <a:cubicBezTo>
                  <a:pt x="1339738" y="1355661"/>
                  <a:pt x="1343591" y="1353094"/>
                  <a:pt x="1347444" y="1350525"/>
                </a:cubicBezTo>
                <a:cubicBezTo>
                  <a:pt x="1350183" y="1349156"/>
                  <a:pt x="1352921" y="1348517"/>
                  <a:pt x="1355416" y="1347324"/>
                </a:cubicBezTo>
                <a:close/>
                <a:moveTo>
                  <a:pt x="1367094" y="1326896"/>
                </a:moveTo>
                <a:lnTo>
                  <a:pt x="1367848" y="1327412"/>
                </a:lnTo>
                <a:cubicBezTo>
                  <a:pt x="1367397" y="1329533"/>
                  <a:pt x="1366290" y="1331232"/>
                  <a:pt x="1365170" y="1332923"/>
                </a:cubicBezTo>
                <a:cubicBezTo>
                  <a:pt x="1366081" y="1331614"/>
                  <a:pt x="1366343" y="1330154"/>
                  <a:pt x="1366708" y="1328694"/>
                </a:cubicBezTo>
                <a:close/>
                <a:moveTo>
                  <a:pt x="1425858" y="1165049"/>
                </a:moveTo>
                <a:cubicBezTo>
                  <a:pt x="1426272" y="1184566"/>
                  <a:pt x="1422052" y="1203165"/>
                  <a:pt x="1416359" y="1221185"/>
                </a:cubicBezTo>
                <a:lnTo>
                  <a:pt x="1362623" y="1257938"/>
                </a:lnTo>
                <a:cubicBezTo>
                  <a:pt x="1362614" y="1257515"/>
                  <a:pt x="1362734" y="1257141"/>
                  <a:pt x="1362855" y="1256779"/>
                </a:cubicBezTo>
                <a:cubicBezTo>
                  <a:pt x="1364139" y="1254210"/>
                  <a:pt x="1366708" y="1254210"/>
                  <a:pt x="1367992" y="1251642"/>
                </a:cubicBezTo>
                <a:cubicBezTo>
                  <a:pt x="1369276" y="1250358"/>
                  <a:pt x="1369276" y="1247790"/>
                  <a:pt x="1370561" y="1246506"/>
                </a:cubicBezTo>
                <a:cubicBezTo>
                  <a:pt x="1373129" y="1242653"/>
                  <a:pt x="1376981" y="1240084"/>
                  <a:pt x="1380834" y="1236232"/>
                </a:cubicBezTo>
                <a:cubicBezTo>
                  <a:pt x="1384687" y="1232379"/>
                  <a:pt x="1388539" y="1227243"/>
                  <a:pt x="1392392" y="1222106"/>
                </a:cubicBezTo>
                <a:cubicBezTo>
                  <a:pt x="1393676" y="1219538"/>
                  <a:pt x="1393676" y="1216969"/>
                  <a:pt x="1394961" y="1215685"/>
                </a:cubicBezTo>
                <a:cubicBezTo>
                  <a:pt x="1398814" y="1209264"/>
                  <a:pt x="1406519" y="1206696"/>
                  <a:pt x="1411656" y="1201559"/>
                </a:cubicBezTo>
                <a:cubicBezTo>
                  <a:pt x="1414224" y="1197706"/>
                  <a:pt x="1414224" y="1195138"/>
                  <a:pt x="1414224" y="1191285"/>
                </a:cubicBezTo>
                <a:cubicBezTo>
                  <a:pt x="1414224" y="1186148"/>
                  <a:pt x="1415509" y="1183580"/>
                  <a:pt x="1418077" y="1178444"/>
                </a:cubicBezTo>
                <a:cubicBezTo>
                  <a:pt x="1419361" y="1175875"/>
                  <a:pt x="1421930" y="1173307"/>
                  <a:pt x="1423214" y="1169454"/>
                </a:cubicBezTo>
                <a:close/>
                <a:moveTo>
                  <a:pt x="1427937" y="1152759"/>
                </a:moveTo>
                <a:lnTo>
                  <a:pt x="1428351" y="1152759"/>
                </a:lnTo>
                <a:lnTo>
                  <a:pt x="1427067" y="1163033"/>
                </a:lnTo>
                <a:cubicBezTo>
                  <a:pt x="1426714" y="1163740"/>
                  <a:pt x="1426360" y="1164446"/>
                  <a:pt x="1425858" y="1165049"/>
                </a:cubicBezTo>
                <a:close/>
                <a:moveTo>
                  <a:pt x="799274" y="1104029"/>
                </a:moveTo>
                <a:cubicBezTo>
                  <a:pt x="796686" y="1103387"/>
                  <a:pt x="794098" y="1104029"/>
                  <a:pt x="792804" y="1106598"/>
                </a:cubicBezTo>
                <a:cubicBezTo>
                  <a:pt x="791510" y="1107884"/>
                  <a:pt x="792804" y="1109168"/>
                  <a:pt x="791510" y="1110453"/>
                </a:cubicBezTo>
                <a:lnTo>
                  <a:pt x="787628" y="1110453"/>
                </a:lnTo>
                <a:cubicBezTo>
                  <a:pt x="786334" y="1110453"/>
                  <a:pt x="785040" y="1109168"/>
                  <a:pt x="783745" y="1109168"/>
                </a:cubicBezTo>
                <a:lnTo>
                  <a:pt x="781158" y="1113022"/>
                </a:lnTo>
                <a:lnTo>
                  <a:pt x="786334" y="1114307"/>
                </a:lnTo>
                <a:cubicBezTo>
                  <a:pt x="788922" y="1114307"/>
                  <a:pt x="791510" y="1113022"/>
                  <a:pt x="795392" y="1113022"/>
                </a:cubicBezTo>
                <a:cubicBezTo>
                  <a:pt x="797980" y="1113022"/>
                  <a:pt x="801862" y="1115591"/>
                  <a:pt x="804450" y="1114307"/>
                </a:cubicBezTo>
                <a:cubicBezTo>
                  <a:pt x="807038" y="1113022"/>
                  <a:pt x="807038" y="1110453"/>
                  <a:pt x="805745" y="1109168"/>
                </a:cubicBezTo>
                <a:cubicBezTo>
                  <a:pt x="804450" y="1106598"/>
                  <a:pt x="801862" y="1104672"/>
                  <a:pt x="799274" y="1104029"/>
                </a:cubicBezTo>
                <a:close/>
                <a:moveTo>
                  <a:pt x="737364" y="1082105"/>
                </a:moveTo>
                <a:cubicBezTo>
                  <a:pt x="734797" y="1082105"/>
                  <a:pt x="733514" y="1082105"/>
                  <a:pt x="733514" y="1083404"/>
                </a:cubicBezTo>
                <a:cubicBezTo>
                  <a:pt x="730947" y="1087299"/>
                  <a:pt x="737364" y="1086000"/>
                  <a:pt x="738647" y="1086000"/>
                </a:cubicBezTo>
                <a:cubicBezTo>
                  <a:pt x="741214" y="1086000"/>
                  <a:pt x="742497" y="1084702"/>
                  <a:pt x="745063" y="1084702"/>
                </a:cubicBezTo>
                <a:cubicBezTo>
                  <a:pt x="746347" y="1086000"/>
                  <a:pt x="748913" y="1087299"/>
                  <a:pt x="751480" y="1088597"/>
                </a:cubicBezTo>
                <a:cubicBezTo>
                  <a:pt x="755330" y="1092492"/>
                  <a:pt x="760463" y="1096388"/>
                  <a:pt x="764313" y="1100283"/>
                </a:cubicBezTo>
                <a:cubicBezTo>
                  <a:pt x="766879" y="1102879"/>
                  <a:pt x="769446" y="1104178"/>
                  <a:pt x="773295" y="1104178"/>
                </a:cubicBezTo>
                <a:cubicBezTo>
                  <a:pt x="775862" y="1104178"/>
                  <a:pt x="777145" y="1101581"/>
                  <a:pt x="775862" y="1098984"/>
                </a:cubicBezTo>
                <a:cubicBezTo>
                  <a:pt x="773295" y="1097686"/>
                  <a:pt x="770729" y="1096388"/>
                  <a:pt x="768163" y="1095089"/>
                </a:cubicBezTo>
                <a:cubicBezTo>
                  <a:pt x="761746" y="1092492"/>
                  <a:pt x="755330" y="1088597"/>
                  <a:pt x="750197" y="1084702"/>
                </a:cubicBezTo>
                <a:cubicBezTo>
                  <a:pt x="747630" y="1083404"/>
                  <a:pt x="745063" y="1082105"/>
                  <a:pt x="742497" y="1082105"/>
                </a:cubicBezTo>
                <a:close/>
                <a:moveTo>
                  <a:pt x="1335565" y="1042800"/>
                </a:moveTo>
                <a:lnTo>
                  <a:pt x="1341023" y="1043603"/>
                </a:lnTo>
                <a:cubicBezTo>
                  <a:pt x="1343591" y="1046172"/>
                  <a:pt x="1347444" y="1050024"/>
                  <a:pt x="1348728" y="1053877"/>
                </a:cubicBezTo>
                <a:cubicBezTo>
                  <a:pt x="1350013" y="1056445"/>
                  <a:pt x="1350013" y="1059014"/>
                  <a:pt x="1352581" y="1062866"/>
                </a:cubicBezTo>
                <a:cubicBezTo>
                  <a:pt x="1353865" y="1065434"/>
                  <a:pt x="1355149" y="1066719"/>
                  <a:pt x="1356433" y="1071856"/>
                </a:cubicBezTo>
                <a:cubicBezTo>
                  <a:pt x="1357718" y="1075708"/>
                  <a:pt x="1359002" y="1078276"/>
                  <a:pt x="1361571" y="1080845"/>
                </a:cubicBezTo>
                <a:cubicBezTo>
                  <a:pt x="1364139" y="1084697"/>
                  <a:pt x="1364139" y="1088550"/>
                  <a:pt x="1365423" y="1092402"/>
                </a:cubicBezTo>
                <a:cubicBezTo>
                  <a:pt x="1365423" y="1096255"/>
                  <a:pt x="1367992" y="1096255"/>
                  <a:pt x="1369276" y="1100108"/>
                </a:cubicBezTo>
                <a:cubicBezTo>
                  <a:pt x="1370561" y="1102676"/>
                  <a:pt x="1370561" y="1106528"/>
                  <a:pt x="1373129" y="1110381"/>
                </a:cubicBezTo>
                <a:cubicBezTo>
                  <a:pt x="1374413" y="1114234"/>
                  <a:pt x="1378266" y="1114234"/>
                  <a:pt x="1380834" y="1116802"/>
                </a:cubicBezTo>
                <a:cubicBezTo>
                  <a:pt x="1383403" y="1120655"/>
                  <a:pt x="1382118" y="1125791"/>
                  <a:pt x="1382118" y="1129644"/>
                </a:cubicBezTo>
                <a:cubicBezTo>
                  <a:pt x="1380834" y="1137349"/>
                  <a:pt x="1384687" y="1142486"/>
                  <a:pt x="1392392" y="1143770"/>
                </a:cubicBezTo>
                <a:cubicBezTo>
                  <a:pt x="1397529" y="1145054"/>
                  <a:pt x="1401382" y="1142486"/>
                  <a:pt x="1405234" y="1142486"/>
                </a:cubicBezTo>
                <a:cubicBezTo>
                  <a:pt x="1409087" y="1141202"/>
                  <a:pt x="1412940" y="1142486"/>
                  <a:pt x="1416793" y="1141202"/>
                </a:cubicBezTo>
                <a:lnTo>
                  <a:pt x="1420646" y="1134781"/>
                </a:lnTo>
                <a:cubicBezTo>
                  <a:pt x="1423214" y="1133497"/>
                  <a:pt x="1427067" y="1136065"/>
                  <a:pt x="1429635" y="1132213"/>
                </a:cubicBezTo>
                <a:lnTo>
                  <a:pt x="1430919" y="1125791"/>
                </a:lnTo>
                <a:lnTo>
                  <a:pt x="1432822" y="1123889"/>
                </a:lnTo>
                <a:lnTo>
                  <a:pt x="1427937" y="1152759"/>
                </a:lnTo>
                <a:cubicBezTo>
                  <a:pt x="1426944" y="1150253"/>
                  <a:pt x="1424467" y="1151506"/>
                  <a:pt x="1423214" y="1152759"/>
                </a:cubicBezTo>
                <a:cubicBezTo>
                  <a:pt x="1420646" y="1155328"/>
                  <a:pt x="1419361" y="1155328"/>
                  <a:pt x="1415509" y="1156612"/>
                </a:cubicBezTo>
                <a:lnTo>
                  <a:pt x="1410372" y="1156612"/>
                </a:lnTo>
                <a:cubicBezTo>
                  <a:pt x="1409087" y="1156612"/>
                  <a:pt x="1409087" y="1157896"/>
                  <a:pt x="1407803" y="1159181"/>
                </a:cubicBezTo>
                <a:cubicBezTo>
                  <a:pt x="1403951" y="1160465"/>
                  <a:pt x="1400098" y="1159181"/>
                  <a:pt x="1396245" y="1159181"/>
                </a:cubicBezTo>
                <a:lnTo>
                  <a:pt x="1389824" y="1159181"/>
                </a:lnTo>
                <a:cubicBezTo>
                  <a:pt x="1387256" y="1157896"/>
                  <a:pt x="1387256" y="1156612"/>
                  <a:pt x="1385971" y="1154044"/>
                </a:cubicBezTo>
                <a:cubicBezTo>
                  <a:pt x="1383403" y="1146339"/>
                  <a:pt x="1376981" y="1142486"/>
                  <a:pt x="1373129" y="1136065"/>
                </a:cubicBezTo>
                <a:cubicBezTo>
                  <a:pt x="1369276" y="1128360"/>
                  <a:pt x="1362855" y="1120655"/>
                  <a:pt x="1361571" y="1112950"/>
                </a:cubicBezTo>
                <a:cubicBezTo>
                  <a:pt x="1360286" y="1107813"/>
                  <a:pt x="1360286" y="1102676"/>
                  <a:pt x="1357718" y="1097539"/>
                </a:cubicBezTo>
                <a:cubicBezTo>
                  <a:pt x="1353865" y="1091119"/>
                  <a:pt x="1347444" y="1084697"/>
                  <a:pt x="1344876" y="1076993"/>
                </a:cubicBezTo>
                <a:lnTo>
                  <a:pt x="1343591" y="1065434"/>
                </a:lnTo>
                <a:cubicBezTo>
                  <a:pt x="1342307" y="1062866"/>
                  <a:pt x="1339738" y="1059014"/>
                  <a:pt x="1338454" y="1055161"/>
                </a:cubicBezTo>
                <a:cubicBezTo>
                  <a:pt x="1337170" y="1053877"/>
                  <a:pt x="1330749" y="1047456"/>
                  <a:pt x="1332033" y="1044888"/>
                </a:cubicBezTo>
                <a:close/>
                <a:moveTo>
                  <a:pt x="1419361" y="1034614"/>
                </a:moveTo>
                <a:cubicBezTo>
                  <a:pt x="1421930" y="1038466"/>
                  <a:pt x="1421930" y="1043603"/>
                  <a:pt x="1424498" y="1047456"/>
                </a:cubicBezTo>
                <a:cubicBezTo>
                  <a:pt x="1425962" y="1051116"/>
                  <a:pt x="1428261" y="1052690"/>
                  <a:pt x="1431200" y="1053177"/>
                </a:cubicBezTo>
                <a:lnTo>
                  <a:pt x="1433627" y="1077251"/>
                </a:lnTo>
                <a:lnTo>
                  <a:pt x="1423214" y="1071856"/>
                </a:lnTo>
                <a:cubicBezTo>
                  <a:pt x="1420646" y="1069287"/>
                  <a:pt x="1419361" y="1066719"/>
                  <a:pt x="1418077" y="1064150"/>
                </a:cubicBezTo>
                <a:cubicBezTo>
                  <a:pt x="1418077" y="1061582"/>
                  <a:pt x="1418077" y="1059014"/>
                  <a:pt x="1418077" y="1056445"/>
                </a:cubicBezTo>
                <a:cubicBezTo>
                  <a:pt x="1416793" y="1052593"/>
                  <a:pt x="1414224" y="1050024"/>
                  <a:pt x="1411656" y="1047456"/>
                </a:cubicBezTo>
                <a:cubicBezTo>
                  <a:pt x="1409087" y="1046172"/>
                  <a:pt x="1409087" y="1043603"/>
                  <a:pt x="1407803" y="1041035"/>
                </a:cubicBezTo>
                <a:cubicBezTo>
                  <a:pt x="1407803" y="1035898"/>
                  <a:pt x="1414224" y="1032046"/>
                  <a:pt x="1419361" y="1034614"/>
                </a:cubicBezTo>
                <a:close/>
                <a:moveTo>
                  <a:pt x="586040" y="1028332"/>
                </a:moveTo>
                <a:cubicBezTo>
                  <a:pt x="588608" y="1030899"/>
                  <a:pt x="589892" y="1034750"/>
                  <a:pt x="591176" y="1037317"/>
                </a:cubicBezTo>
                <a:cubicBezTo>
                  <a:pt x="593743" y="1039884"/>
                  <a:pt x="596311" y="1043735"/>
                  <a:pt x="598879" y="1047586"/>
                </a:cubicBezTo>
                <a:cubicBezTo>
                  <a:pt x="604014" y="1056571"/>
                  <a:pt x="607866" y="1065556"/>
                  <a:pt x="613001" y="1074541"/>
                </a:cubicBezTo>
                <a:lnTo>
                  <a:pt x="618136" y="1079675"/>
                </a:lnTo>
                <a:cubicBezTo>
                  <a:pt x="619420" y="1082242"/>
                  <a:pt x="619420" y="1082242"/>
                  <a:pt x="620704" y="1084809"/>
                </a:cubicBezTo>
                <a:cubicBezTo>
                  <a:pt x="621987" y="1087376"/>
                  <a:pt x="623271" y="1088660"/>
                  <a:pt x="623271" y="1091227"/>
                </a:cubicBezTo>
                <a:cubicBezTo>
                  <a:pt x="624555" y="1095078"/>
                  <a:pt x="623271" y="1098929"/>
                  <a:pt x="623271" y="1102779"/>
                </a:cubicBezTo>
                <a:lnTo>
                  <a:pt x="628406" y="1113048"/>
                </a:lnTo>
                <a:cubicBezTo>
                  <a:pt x="630974" y="1115615"/>
                  <a:pt x="633542" y="1115615"/>
                  <a:pt x="637393" y="1116899"/>
                </a:cubicBezTo>
                <a:cubicBezTo>
                  <a:pt x="638677" y="1118182"/>
                  <a:pt x="639961" y="1120750"/>
                  <a:pt x="642528" y="1120750"/>
                </a:cubicBezTo>
                <a:cubicBezTo>
                  <a:pt x="643812" y="1122033"/>
                  <a:pt x="646380" y="1120750"/>
                  <a:pt x="647664" y="1122033"/>
                </a:cubicBezTo>
                <a:cubicBezTo>
                  <a:pt x="648948" y="1123317"/>
                  <a:pt x="648948" y="1124600"/>
                  <a:pt x="650231" y="1124600"/>
                </a:cubicBezTo>
                <a:cubicBezTo>
                  <a:pt x="652800" y="1127167"/>
                  <a:pt x="654083" y="1129735"/>
                  <a:pt x="657935" y="1131018"/>
                </a:cubicBezTo>
                <a:cubicBezTo>
                  <a:pt x="661786" y="1132302"/>
                  <a:pt x="668206" y="1132302"/>
                  <a:pt x="672057" y="1131018"/>
                </a:cubicBezTo>
                <a:cubicBezTo>
                  <a:pt x="675908" y="1129735"/>
                  <a:pt x="679760" y="1128451"/>
                  <a:pt x="683611" y="1129735"/>
                </a:cubicBezTo>
                <a:cubicBezTo>
                  <a:pt x="686179" y="1131018"/>
                  <a:pt x="687463" y="1133585"/>
                  <a:pt x="690030" y="1134869"/>
                </a:cubicBezTo>
                <a:cubicBezTo>
                  <a:pt x="693882" y="1137436"/>
                  <a:pt x="695165" y="1142570"/>
                  <a:pt x="699017" y="1143854"/>
                </a:cubicBezTo>
                <a:cubicBezTo>
                  <a:pt x="700301" y="1145138"/>
                  <a:pt x="701584" y="1145138"/>
                  <a:pt x="702868" y="1145138"/>
                </a:cubicBezTo>
                <a:cubicBezTo>
                  <a:pt x="708004" y="1146421"/>
                  <a:pt x="710571" y="1147705"/>
                  <a:pt x="713139" y="1150271"/>
                </a:cubicBezTo>
                <a:cubicBezTo>
                  <a:pt x="718274" y="1154123"/>
                  <a:pt x="716991" y="1161824"/>
                  <a:pt x="719558" y="1165674"/>
                </a:cubicBezTo>
                <a:cubicBezTo>
                  <a:pt x="722126" y="1168242"/>
                  <a:pt x="724694" y="1168242"/>
                  <a:pt x="727261" y="1169526"/>
                </a:cubicBezTo>
                <a:cubicBezTo>
                  <a:pt x="729829" y="1170809"/>
                  <a:pt x="729829" y="1174659"/>
                  <a:pt x="733680" y="1175943"/>
                </a:cubicBezTo>
                <a:lnTo>
                  <a:pt x="746519" y="1175943"/>
                </a:lnTo>
                <a:cubicBezTo>
                  <a:pt x="749087" y="1175943"/>
                  <a:pt x="752938" y="1174659"/>
                  <a:pt x="756789" y="1175943"/>
                </a:cubicBezTo>
                <a:lnTo>
                  <a:pt x="760641" y="1179794"/>
                </a:lnTo>
                <a:cubicBezTo>
                  <a:pt x="761925" y="1182361"/>
                  <a:pt x="760641" y="1183645"/>
                  <a:pt x="763208" y="1186212"/>
                </a:cubicBezTo>
                <a:cubicBezTo>
                  <a:pt x="768344" y="1190062"/>
                  <a:pt x="765776" y="1196480"/>
                  <a:pt x="764492" y="1202898"/>
                </a:cubicBezTo>
                <a:cubicBezTo>
                  <a:pt x="763208" y="1205465"/>
                  <a:pt x="763208" y="1208033"/>
                  <a:pt x="763208" y="1210600"/>
                </a:cubicBezTo>
                <a:cubicBezTo>
                  <a:pt x="763208" y="1213167"/>
                  <a:pt x="763208" y="1214450"/>
                  <a:pt x="764492" y="1217018"/>
                </a:cubicBezTo>
                <a:cubicBezTo>
                  <a:pt x="764492" y="1220868"/>
                  <a:pt x="763208" y="1222152"/>
                  <a:pt x="761925" y="1224719"/>
                </a:cubicBezTo>
                <a:cubicBezTo>
                  <a:pt x="758073" y="1232421"/>
                  <a:pt x="752938" y="1237554"/>
                  <a:pt x="749087" y="1243973"/>
                </a:cubicBezTo>
                <a:cubicBezTo>
                  <a:pt x="746519" y="1249107"/>
                  <a:pt x="746519" y="1256809"/>
                  <a:pt x="746519" y="1261942"/>
                </a:cubicBezTo>
                <a:cubicBezTo>
                  <a:pt x="747803" y="1270928"/>
                  <a:pt x="751654" y="1276062"/>
                  <a:pt x="758073" y="1282480"/>
                </a:cubicBezTo>
                <a:cubicBezTo>
                  <a:pt x="763208" y="1287614"/>
                  <a:pt x="763208" y="1294032"/>
                  <a:pt x="765776" y="1300450"/>
                </a:cubicBezTo>
                <a:cubicBezTo>
                  <a:pt x="765776" y="1303017"/>
                  <a:pt x="767060" y="1305584"/>
                  <a:pt x="768344" y="1308151"/>
                </a:cubicBezTo>
                <a:cubicBezTo>
                  <a:pt x="769627" y="1310718"/>
                  <a:pt x="772195" y="1312002"/>
                  <a:pt x="772195" y="1315853"/>
                </a:cubicBezTo>
                <a:cubicBezTo>
                  <a:pt x="772195" y="1317136"/>
                  <a:pt x="772195" y="1318420"/>
                  <a:pt x="772195" y="1320987"/>
                </a:cubicBezTo>
                <a:cubicBezTo>
                  <a:pt x="772195" y="1323554"/>
                  <a:pt x="773479" y="1329972"/>
                  <a:pt x="776046" y="1331256"/>
                </a:cubicBezTo>
                <a:cubicBezTo>
                  <a:pt x="777330" y="1332539"/>
                  <a:pt x="779898" y="1333823"/>
                  <a:pt x="782465" y="1333823"/>
                </a:cubicBezTo>
                <a:cubicBezTo>
                  <a:pt x="785033" y="1335106"/>
                  <a:pt x="788885" y="1336390"/>
                  <a:pt x="791452" y="1338957"/>
                </a:cubicBezTo>
                <a:cubicBezTo>
                  <a:pt x="794020" y="1341524"/>
                  <a:pt x="796588" y="1342808"/>
                  <a:pt x="799155" y="1345375"/>
                </a:cubicBezTo>
                <a:cubicBezTo>
                  <a:pt x="800439" y="1346659"/>
                  <a:pt x="800439" y="1349225"/>
                  <a:pt x="801723" y="1351793"/>
                </a:cubicBezTo>
                <a:cubicBezTo>
                  <a:pt x="803007" y="1354360"/>
                  <a:pt x="803007" y="1358211"/>
                  <a:pt x="803007" y="1362062"/>
                </a:cubicBezTo>
                <a:cubicBezTo>
                  <a:pt x="803007" y="1363345"/>
                  <a:pt x="801723" y="1364628"/>
                  <a:pt x="801723" y="1367196"/>
                </a:cubicBezTo>
                <a:cubicBezTo>
                  <a:pt x="801723" y="1368480"/>
                  <a:pt x="803007" y="1369763"/>
                  <a:pt x="801723" y="1371046"/>
                </a:cubicBezTo>
                <a:lnTo>
                  <a:pt x="801723" y="1376181"/>
                </a:lnTo>
                <a:cubicBezTo>
                  <a:pt x="801723" y="1380031"/>
                  <a:pt x="799155" y="1382599"/>
                  <a:pt x="799155" y="1386449"/>
                </a:cubicBezTo>
                <a:cubicBezTo>
                  <a:pt x="799155" y="1390300"/>
                  <a:pt x="800439" y="1392868"/>
                  <a:pt x="800439" y="1395434"/>
                </a:cubicBezTo>
                <a:cubicBezTo>
                  <a:pt x="799155" y="1398001"/>
                  <a:pt x="797872" y="1399285"/>
                  <a:pt x="799155" y="1403136"/>
                </a:cubicBezTo>
                <a:cubicBezTo>
                  <a:pt x="799155" y="1404419"/>
                  <a:pt x="799155" y="1405703"/>
                  <a:pt x="799155" y="1408270"/>
                </a:cubicBezTo>
                <a:cubicBezTo>
                  <a:pt x="799155" y="1409554"/>
                  <a:pt x="797872" y="1410837"/>
                  <a:pt x="797872" y="1413404"/>
                </a:cubicBezTo>
                <a:lnTo>
                  <a:pt x="796588" y="1418539"/>
                </a:lnTo>
                <a:lnTo>
                  <a:pt x="795304" y="1423673"/>
                </a:lnTo>
                <a:cubicBezTo>
                  <a:pt x="796588" y="1424957"/>
                  <a:pt x="796588" y="1426240"/>
                  <a:pt x="796588" y="1428807"/>
                </a:cubicBezTo>
                <a:cubicBezTo>
                  <a:pt x="796588" y="1430091"/>
                  <a:pt x="795304" y="1431375"/>
                  <a:pt x="795304" y="1433942"/>
                </a:cubicBezTo>
                <a:cubicBezTo>
                  <a:pt x="795304" y="1436509"/>
                  <a:pt x="796588" y="1437792"/>
                  <a:pt x="797872" y="1439076"/>
                </a:cubicBezTo>
                <a:cubicBezTo>
                  <a:pt x="800439" y="1444210"/>
                  <a:pt x="794020" y="1449345"/>
                  <a:pt x="792736" y="1454479"/>
                </a:cubicBezTo>
                <a:cubicBezTo>
                  <a:pt x="791452" y="1458330"/>
                  <a:pt x="790168" y="1462180"/>
                  <a:pt x="790168" y="1466031"/>
                </a:cubicBezTo>
                <a:lnTo>
                  <a:pt x="787732" y="1475775"/>
                </a:lnTo>
                <a:cubicBezTo>
                  <a:pt x="653361" y="1402919"/>
                  <a:pt x="563183" y="1260279"/>
                  <a:pt x="563183" y="1096578"/>
                </a:cubicBezTo>
                <a:lnTo>
                  <a:pt x="569630" y="1032630"/>
                </a:lnTo>
                <a:cubicBezTo>
                  <a:pt x="572113" y="1036233"/>
                  <a:pt x="574535" y="1038748"/>
                  <a:pt x="575770" y="1042452"/>
                </a:cubicBezTo>
                <a:cubicBezTo>
                  <a:pt x="578337" y="1045018"/>
                  <a:pt x="575770" y="1047586"/>
                  <a:pt x="575770" y="1050153"/>
                </a:cubicBezTo>
                <a:cubicBezTo>
                  <a:pt x="574486" y="1054003"/>
                  <a:pt x="579621" y="1056571"/>
                  <a:pt x="580905" y="1057855"/>
                </a:cubicBezTo>
                <a:cubicBezTo>
                  <a:pt x="583473" y="1060421"/>
                  <a:pt x="586040" y="1062988"/>
                  <a:pt x="587324" y="1065556"/>
                </a:cubicBezTo>
                <a:cubicBezTo>
                  <a:pt x="589892" y="1068123"/>
                  <a:pt x="591176" y="1071974"/>
                  <a:pt x="592460" y="1075824"/>
                </a:cubicBezTo>
                <a:lnTo>
                  <a:pt x="596311" y="1079675"/>
                </a:lnTo>
                <a:lnTo>
                  <a:pt x="598879" y="1075824"/>
                </a:lnTo>
                <a:lnTo>
                  <a:pt x="596311" y="1070690"/>
                </a:lnTo>
                <a:cubicBezTo>
                  <a:pt x="595027" y="1069406"/>
                  <a:pt x="593743" y="1066839"/>
                  <a:pt x="592460" y="1064272"/>
                </a:cubicBezTo>
                <a:cubicBezTo>
                  <a:pt x="591176" y="1062988"/>
                  <a:pt x="589892" y="1061705"/>
                  <a:pt x="588608" y="1059138"/>
                </a:cubicBezTo>
                <a:cubicBezTo>
                  <a:pt x="586040" y="1056571"/>
                  <a:pt x="584757" y="1054003"/>
                  <a:pt x="583473" y="1050153"/>
                </a:cubicBezTo>
                <a:cubicBezTo>
                  <a:pt x="582189" y="1046302"/>
                  <a:pt x="579621" y="1043735"/>
                  <a:pt x="579621" y="1039884"/>
                </a:cubicBezTo>
                <a:cubicBezTo>
                  <a:pt x="578337" y="1037317"/>
                  <a:pt x="578337" y="1034750"/>
                  <a:pt x="578337" y="1030899"/>
                </a:cubicBezTo>
                <a:cubicBezTo>
                  <a:pt x="578337" y="1027049"/>
                  <a:pt x="582189" y="1025765"/>
                  <a:pt x="586040" y="1028332"/>
                </a:cubicBezTo>
                <a:close/>
                <a:moveTo>
                  <a:pt x="1769979" y="1006408"/>
                </a:moveTo>
                <a:lnTo>
                  <a:pt x="1769979" y="1206966"/>
                </a:lnTo>
                <a:lnTo>
                  <a:pt x="2103009" y="1206966"/>
                </a:lnTo>
                <a:lnTo>
                  <a:pt x="2103009" y="1378873"/>
                </a:lnTo>
                <a:lnTo>
                  <a:pt x="1769979" y="1378873"/>
                </a:lnTo>
                <a:lnTo>
                  <a:pt x="1769979" y="1579431"/>
                </a:lnTo>
                <a:lnTo>
                  <a:pt x="1341008" y="1292920"/>
                </a:lnTo>
                <a:close/>
                <a:moveTo>
                  <a:pt x="874865" y="879164"/>
                </a:moveTo>
                <a:cubicBezTo>
                  <a:pt x="872278" y="879164"/>
                  <a:pt x="872278" y="884318"/>
                  <a:pt x="872278" y="886895"/>
                </a:cubicBezTo>
                <a:cubicBezTo>
                  <a:pt x="870986" y="893336"/>
                  <a:pt x="861933" y="897201"/>
                  <a:pt x="861933" y="902354"/>
                </a:cubicBezTo>
                <a:cubicBezTo>
                  <a:pt x="863226" y="910085"/>
                  <a:pt x="869692" y="911373"/>
                  <a:pt x="874865" y="911373"/>
                </a:cubicBezTo>
                <a:cubicBezTo>
                  <a:pt x="878745" y="910085"/>
                  <a:pt x="881331" y="910085"/>
                  <a:pt x="885210" y="911373"/>
                </a:cubicBezTo>
                <a:cubicBezTo>
                  <a:pt x="887797" y="911373"/>
                  <a:pt x="889090" y="913949"/>
                  <a:pt x="891677" y="913949"/>
                </a:cubicBezTo>
                <a:cubicBezTo>
                  <a:pt x="894263" y="913949"/>
                  <a:pt x="896849" y="913949"/>
                  <a:pt x="898142" y="911373"/>
                </a:cubicBezTo>
                <a:cubicBezTo>
                  <a:pt x="899435" y="907507"/>
                  <a:pt x="896849" y="906219"/>
                  <a:pt x="894263" y="903643"/>
                </a:cubicBezTo>
                <a:cubicBezTo>
                  <a:pt x="892970" y="902354"/>
                  <a:pt x="891677" y="901066"/>
                  <a:pt x="890383" y="899778"/>
                </a:cubicBezTo>
                <a:cubicBezTo>
                  <a:pt x="889090" y="897201"/>
                  <a:pt x="886504" y="893336"/>
                  <a:pt x="882624" y="894624"/>
                </a:cubicBezTo>
                <a:cubicBezTo>
                  <a:pt x="881331" y="894624"/>
                  <a:pt x="881331" y="895912"/>
                  <a:pt x="880038" y="895912"/>
                </a:cubicBezTo>
                <a:lnTo>
                  <a:pt x="876158" y="894624"/>
                </a:lnTo>
                <a:cubicBezTo>
                  <a:pt x="874865" y="893336"/>
                  <a:pt x="876158" y="892048"/>
                  <a:pt x="876158" y="889471"/>
                </a:cubicBezTo>
                <a:cubicBezTo>
                  <a:pt x="877451" y="888183"/>
                  <a:pt x="877451" y="885606"/>
                  <a:pt x="878745" y="883030"/>
                </a:cubicBezTo>
                <a:lnTo>
                  <a:pt x="877451" y="879164"/>
                </a:lnTo>
                <a:cubicBezTo>
                  <a:pt x="876158" y="879164"/>
                  <a:pt x="876158" y="879164"/>
                  <a:pt x="874865" y="879164"/>
                </a:cubicBezTo>
                <a:close/>
                <a:moveTo>
                  <a:pt x="1125354" y="850902"/>
                </a:moveTo>
                <a:cubicBezTo>
                  <a:pt x="1124056" y="850902"/>
                  <a:pt x="1122757" y="852202"/>
                  <a:pt x="1121459" y="853502"/>
                </a:cubicBezTo>
                <a:cubicBezTo>
                  <a:pt x="1120160" y="854801"/>
                  <a:pt x="1118862" y="856101"/>
                  <a:pt x="1117564" y="856101"/>
                </a:cubicBezTo>
                <a:cubicBezTo>
                  <a:pt x="1116265" y="857401"/>
                  <a:pt x="1114967" y="856101"/>
                  <a:pt x="1113669" y="857401"/>
                </a:cubicBezTo>
                <a:cubicBezTo>
                  <a:pt x="1113669" y="858701"/>
                  <a:pt x="1114967" y="858701"/>
                  <a:pt x="1114967" y="860001"/>
                </a:cubicBezTo>
                <a:cubicBezTo>
                  <a:pt x="1114967" y="862600"/>
                  <a:pt x="1111072" y="861300"/>
                  <a:pt x="1112370" y="863900"/>
                </a:cubicBezTo>
                <a:cubicBezTo>
                  <a:pt x="1112370" y="865199"/>
                  <a:pt x="1113669" y="865199"/>
                  <a:pt x="1114967" y="866499"/>
                </a:cubicBezTo>
                <a:lnTo>
                  <a:pt x="1114967" y="870398"/>
                </a:lnTo>
                <a:cubicBezTo>
                  <a:pt x="1114967" y="871698"/>
                  <a:pt x="1114967" y="872997"/>
                  <a:pt x="1111072" y="874297"/>
                </a:cubicBezTo>
                <a:cubicBezTo>
                  <a:pt x="1111072" y="875597"/>
                  <a:pt x="1111072" y="876896"/>
                  <a:pt x="1111072" y="879496"/>
                </a:cubicBezTo>
                <a:lnTo>
                  <a:pt x="1112370" y="879496"/>
                </a:lnTo>
                <a:cubicBezTo>
                  <a:pt x="1113669" y="879496"/>
                  <a:pt x="1113669" y="879496"/>
                  <a:pt x="1114967" y="879496"/>
                </a:cubicBezTo>
                <a:cubicBezTo>
                  <a:pt x="1116265" y="879496"/>
                  <a:pt x="1117564" y="880795"/>
                  <a:pt x="1118862" y="880795"/>
                </a:cubicBezTo>
                <a:cubicBezTo>
                  <a:pt x="1120160" y="880795"/>
                  <a:pt x="1120160" y="879496"/>
                  <a:pt x="1121459" y="878196"/>
                </a:cubicBezTo>
                <a:cubicBezTo>
                  <a:pt x="1122757" y="878196"/>
                  <a:pt x="1122757" y="876896"/>
                  <a:pt x="1124056" y="876896"/>
                </a:cubicBezTo>
                <a:cubicBezTo>
                  <a:pt x="1125354" y="875597"/>
                  <a:pt x="1125354" y="875597"/>
                  <a:pt x="1127950" y="874297"/>
                </a:cubicBezTo>
                <a:cubicBezTo>
                  <a:pt x="1129249" y="872997"/>
                  <a:pt x="1129249" y="871698"/>
                  <a:pt x="1130547" y="871698"/>
                </a:cubicBezTo>
                <a:cubicBezTo>
                  <a:pt x="1130547" y="869098"/>
                  <a:pt x="1129249" y="867799"/>
                  <a:pt x="1129249" y="861300"/>
                </a:cubicBezTo>
                <a:cubicBezTo>
                  <a:pt x="1129249" y="860001"/>
                  <a:pt x="1131845" y="860001"/>
                  <a:pt x="1131845" y="858701"/>
                </a:cubicBezTo>
                <a:lnTo>
                  <a:pt x="1127950" y="852202"/>
                </a:lnTo>
                <a:cubicBezTo>
                  <a:pt x="1126652" y="852202"/>
                  <a:pt x="1126652" y="850902"/>
                  <a:pt x="1125354" y="850902"/>
                </a:cubicBezTo>
                <a:close/>
                <a:moveTo>
                  <a:pt x="1222389" y="844426"/>
                </a:moveTo>
                <a:cubicBezTo>
                  <a:pt x="1221084" y="845060"/>
                  <a:pt x="1220105" y="846645"/>
                  <a:pt x="1220105" y="848548"/>
                </a:cubicBezTo>
                <a:cubicBezTo>
                  <a:pt x="1220105" y="851084"/>
                  <a:pt x="1221410" y="853620"/>
                  <a:pt x="1224019" y="852352"/>
                </a:cubicBezTo>
                <a:cubicBezTo>
                  <a:pt x="1226628" y="852352"/>
                  <a:pt x="1226628" y="848548"/>
                  <a:pt x="1226628" y="846011"/>
                </a:cubicBezTo>
                <a:cubicBezTo>
                  <a:pt x="1225323" y="844108"/>
                  <a:pt x="1223693" y="843792"/>
                  <a:pt x="1222389" y="844426"/>
                </a:cubicBezTo>
                <a:close/>
                <a:moveTo>
                  <a:pt x="1143190" y="820466"/>
                </a:moveTo>
                <a:cubicBezTo>
                  <a:pt x="1141893" y="821747"/>
                  <a:pt x="1140595" y="821747"/>
                  <a:pt x="1139298" y="821747"/>
                </a:cubicBezTo>
                <a:cubicBezTo>
                  <a:pt x="1138001" y="821747"/>
                  <a:pt x="1138001" y="823028"/>
                  <a:pt x="1138001" y="824309"/>
                </a:cubicBezTo>
                <a:cubicBezTo>
                  <a:pt x="1138001" y="825590"/>
                  <a:pt x="1136703" y="824309"/>
                  <a:pt x="1136703" y="825590"/>
                </a:cubicBezTo>
                <a:cubicBezTo>
                  <a:pt x="1135406" y="826871"/>
                  <a:pt x="1136703" y="826871"/>
                  <a:pt x="1134109" y="829434"/>
                </a:cubicBezTo>
                <a:cubicBezTo>
                  <a:pt x="1132811" y="830715"/>
                  <a:pt x="1134109" y="831996"/>
                  <a:pt x="1134109" y="833277"/>
                </a:cubicBezTo>
                <a:cubicBezTo>
                  <a:pt x="1136703" y="833277"/>
                  <a:pt x="1134109" y="835840"/>
                  <a:pt x="1132811" y="837121"/>
                </a:cubicBezTo>
                <a:cubicBezTo>
                  <a:pt x="1132811" y="838402"/>
                  <a:pt x="1134109" y="838402"/>
                  <a:pt x="1134109" y="839683"/>
                </a:cubicBezTo>
                <a:cubicBezTo>
                  <a:pt x="1134109" y="840964"/>
                  <a:pt x="1134109" y="840964"/>
                  <a:pt x="1135406" y="843526"/>
                </a:cubicBezTo>
                <a:cubicBezTo>
                  <a:pt x="1136703" y="844807"/>
                  <a:pt x="1138001" y="844807"/>
                  <a:pt x="1138001" y="848651"/>
                </a:cubicBezTo>
                <a:cubicBezTo>
                  <a:pt x="1138001" y="849932"/>
                  <a:pt x="1139298" y="851213"/>
                  <a:pt x="1140595" y="851213"/>
                </a:cubicBezTo>
                <a:lnTo>
                  <a:pt x="1145785" y="852494"/>
                </a:lnTo>
                <a:cubicBezTo>
                  <a:pt x="1147083" y="853775"/>
                  <a:pt x="1141893" y="856337"/>
                  <a:pt x="1144488" y="857618"/>
                </a:cubicBezTo>
                <a:cubicBezTo>
                  <a:pt x="1145785" y="857618"/>
                  <a:pt x="1147083" y="856337"/>
                  <a:pt x="1148380" y="857618"/>
                </a:cubicBezTo>
                <a:cubicBezTo>
                  <a:pt x="1149677" y="862743"/>
                  <a:pt x="1141893" y="861462"/>
                  <a:pt x="1140595" y="864025"/>
                </a:cubicBezTo>
                <a:cubicBezTo>
                  <a:pt x="1139298" y="865306"/>
                  <a:pt x="1140595" y="865306"/>
                  <a:pt x="1140595" y="866587"/>
                </a:cubicBezTo>
                <a:cubicBezTo>
                  <a:pt x="1140595" y="867868"/>
                  <a:pt x="1139298" y="867868"/>
                  <a:pt x="1139298" y="870430"/>
                </a:cubicBezTo>
                <a:cubicBezTo>
                  <a:pt x="1139298" y="871711"/>
                  <a:pt x="1140595" y="871711"/>
                  <a:pt x="1139298" y="872992"/>
                </a:cubicBezTo>
                <a:cubicBezTo>
                  <a:pt x="1139298" y="874273"/>
                  <a:pt x="1138001" y="874273"/>
                  <a:pt x="1136703" y="875554"/>
                </a:cubicBezTo>
                <a:cubicBezTo>
                  <a:pt x="1140595" y="878117"/>
                  <a:pt x="1140595" y="879398"/>
                  <a:pt x="1141893" y="879398"/>
                </a:cubicBezTo>
                <a:cubicBezTo>
                  <a:pt x="1143190" y="879398"/>
                  <a:pt x="1144488" y="879398"/>
                  <a:pt x="1148380" y="880679"/>
                </a:cubicBezTo>
                <a:lnTo>
                  <a:pt x="1141893" y="881960"/>
                </a:lnTo>
                <a:cubicBezTo>
                  <a:pt x="1140595" y="881960"/>
                  <a:pt x="1139298" y="881960"/>
                  <a:pt x="1138001" y="883241"/>
                </a:cubicBezTo>
                <a:cubicBezTo>
                  <a:pt x="1138001" y="884522"/>
                  <a:pt x="1136703" y="885803"/>
                  <a:pt x="1135406" y="887084"/>
                </a:cubicBezTo>
                <a:cubicBezTo>
                  <a:pt x="1134109" y="888366"/>
                  <a:pt x="1132811" y="888366"/>
                  <a:pt x="1131513" y="889647"/>
                </a:cubicBezTo>
                <a:cubicBezTo>
                  <a:pt x="1131513" y="890928"/>
                  <a:pt x="1131513" y="892209"/>
                  <a:pt x="1132811" y="892209"/>
                </a:cubicBezTo>
                <a:cubicBezTo>
                  <a:pt x="1135406" y="892209"/>
                  <a:pt x="1135406" y="890928"/>
                  <a:pt x="1136703" y="889647"/>
                </a:cubicBezTo>
                <a:cubicBezTo>
                  <a:pt x="1138001" y="889647"/>
                  <a:pt x="1139298" y="888366"/>
                  <a:pt x="1141893" y="888366"/>
                </a:cubicBezTo>
                <a:cubicBezTo>
                  <a:pt x="1143190" y="888366"/>
                  <a:pt x="1144488" y="888366"/>
                  <a:pt x="1145785" y="887084"/>
                </a:cubicBezTo>
                <a:cubicBezTo>
                  <a:pt x="1147083" y="885803"/>
                  <a:pt x="1148380" y="887084"/>
                  <a:pt x="1149677" y="887084"/>
                </a:cubicBezTo>
                <a:cubicBezTo>
                  <a:pt x="1152272" y="887084"/>
                  <a:pt x="1153569" y="885803"/>
                  <a:pt x="1154867" y="884522"/>
                </a:cubicBezTo>
                <a:cubicBezTo>
                  <a:pt x="1157462" y="884522"/>
                  <a:pt x="1158759" y="885803"/>
                  <a:pt x="1160057" y="885803"/>
                </a:cubicBezTo>
                <a:lnTo>
                  <a:pt x="1165246" y="885803"/>
                </a:lnTo>
                <a:lnTo>
                  <a:pt x="1166544" y="879398"/>
                </a:lnTo>
                <a:cubicBezTo>
                  <a:pt x="1169138" y="876836"/>
                  <a:pt x="1170436" y="876836"/>
                  <a:pt x="1170436" y="875554"/>
                </a:cubicBezTo>
                <a:cubicBezTo>
                  <a:pt x="1171733" y="875554"/>
                  <a:pt x="1171733" y="874273"/>
                  <a:pt x="1171733" y="872992"/>
                </a:cubicBezTo>
                <a:cubicBezTo>
                  <a:pt x="1171733" y="870430"/>
                  <a:pt x="1171733" y="867868"/>
                  <a:pt x="1167841" y="867868"/>
                </a:cubicBezTo>
                <a:cubicBezTo>
                  <a:pt x="1166544" y="867868"/>
                  <a:pt x="1165246" y="869149"/>
                  <a:pt x="1163949" y="865306"/>
                </a:cubicBezTo>
                <a:cubicBezTo>
                  <a:pt x="1163949" y="864025"/>
                  <a:pt x="1163949" y="864025"/>
                  <a:pt x="1163949" y="862743"/>
                </a:cubicBezTo>
                <a:cubicBezTo>
                  <a:pt x="1161354" y="858900"/>
                  <a:pt x="1160057" y="858900"/>
                  <a:pt x="1157462" y="855056"/>
                </a:cubicBezTo>
                <a:cubicBezTo>
                  <a:pt x="1156165" y="853775"/>
                  <a:pt x="1156165" y="852494"/>
                  <a:pt x="1154867" y="851213"/>
                </a:cubicBezTo>
                <a:cubicBezTo>
                  <a:pt x="1154867" y="849932"/>
                  <a:pt x="1153569" y="848651"/>
                  <a:pt x="1152272" y="848651"/>
                </a:cubicBezTo>
                <a:cubicBezTo>
                  <a:pt x="1152272" y="847370"/>
                  <a:pt x="1152272" y="846089"/>
                  <a:pt x="1150975" y="846089"/>
                </a:cubicBezTo>
                <a:cubicBezTo>
                  <a:pt x="1150975" y="844807"/>
                  <a:pt x="1149677" y="844807"/>
                  <a:pt x="1148380" y="843526"/>
                </a:cubicBezTo>
                <a:cubicBezTo>
                  <a:pt x="1148380" y="842245"/>
                  <a:pt x="1148380" y="842245"/>
                  <a:pt x="1149677" y="840964"/>
                </a:cubicBezTo>
                <a:cubicBezTo>
                  <a:pt x="1149677" y="839683"/>
                  <a:pt x="1149677" y="839683"/>
                  <a:pt x="1149677" y="838402"/>
                </a:cubicBezTo>
                <a:cubicBezTo>
                  <a:pt x="1149677" y="837121"/>
                  <a:pt x="1150975" y="837121"/>
                  <a:pt x="1153569" y="833277"/>
                </a:cubicBezTo>
                <a:cubicBezTo>
                  <a:pt x="1154867" y="831996"/>
                  <a:pt x="1154867" y="829434"/>
                  <a:pt x="1153569" y="828153"/>
                </a:cubicBezTo>
                <a:cubicBezTo>
                  <a:pt x="1152272" y="828153"/>
                  <a:pt x="1152272" y="828153"/>
                  <a:pt x="1150975" y="828153"/>
                </a:cubicBezTo>
                <a:cubicBezTo>
                  <a:pt x="1149677" y="826871"/>
                  <a:pt x="1144488" y="828153"/>
                  <a:pt x="1145785" y="823028"/>
                </a:cubicBezTo>
                <a:cubicBezTo>
                  <a:pt x="1145785" y="820466"/>
                  <a:pt x="1144488" y="820466"/>
                  <a:pt x="1143190" y="820466"/>
                </a:cubicBezTo>
                <a:close/>
                <a:moveTo>
                  <a:pt x="835030" y="783181"/>
                </a:moveTo>
                <a:cubicBezTo>
                  <a:pt x="833806" y="781877"/>
                  <a:pt x="832584" y="785790"/>
                  <a:pt x="833806" y="785790"/>
                </a:cubicBezTo>
                <a:cubicBezTo>
                  <a:pt x="836252" y="788399"/>
                  <a:pt x="837475" y="784486"/>
                  <a:pt x="835030" y="783181"/>
                </a:cubicBezTo>
                <a:close/>
                <a:moveTo>
                  <a:pt x="724721" y="765209"/>
                </a:moveTo>
                <a:cubicBezTo>
                  <a:pt x="723437" y="765209"/>
                  <a:pt x="723437" y="766477"/>
                  <a:pt x="722152" y="766477"/>
                </a:cubicBezTo>
                <a:cubicBezTo>
                  <a:pt x="720867" y="769014"/>
                  <a:pt x="723437" y="770282"/>
                  <a:pt x="723437" y="771550"/>
                </a:cubicBezTo>
                <a:lnTo>
                  <a:pt x="720867" y="775354"/>
                </a:lnTo>
                <a:cubicBezTo>
                  <a:pt x="715729" y="777891"/>
                  <a:pt x="724721" y="782963"/>
                  <a:pt x="727291" y="780427"/>
                </a:cubicBezTo>
                <a:cubicBezTo>
                  <a:pt x="731145" y="777891"/>
                  <a:pt x="727291" y="771550"/>
                  <a:pt x="732429" y="771550"/>
                </a:cubicBezTo>
                <a:cubicBezTo>
                  <a:pt x="733714" y="771550"/>
                  <a:pt x="733714" y="776623"/>
                  <a:pt x="734998" y="777891"/>
                </a:cubicBezTo>
                <a:lnTo>
                  <a:pt x="742707" y="779159"/>
                </a:lnTo>
                <a:lnTo>
                  <a:pt x="740137" y="774086"/>
                </a:lnTo>
                <a:cubicBezTo>
                  <a:pt x="738852" y="774086"/>
                  <a:pt x="737568" y="772818"/>
                  <a:pt x="736283" y="771550"/>
                </a:cubicBezTo>
                <a:lnTo>
                  <a:pt x="729860" y="765209"/>
                </a:lnTo>
                <a:close/>
                <a:moveTo>
                  <a:pt x="1080541" y="753287"/>
                </a:moveTo>
                <a:lnTo>
                  <a:pt x="1079249" y="754592"/>
                </a:lnTo>
                <a:cubicBezTo>
                  <a:pt x="1077956" y="755897"/>
                  <a:pt x="1076663" y="754592"/>
                  <a:pt x="1075371" y="755897"/>
                </a:cubicBezTo>
                <a:cubicBezTo>
                  <a:pt x="1074078" y="755897"/>
                  <a:pt x="1074078" y="757201"/>
                  <a:pt x="1072785" y="757201"/>
                </a:cubicBezTo>
                <a:cubicBezTo>
                  <a:pt x="1071493" y="757201"/>
                  <a:pt x="1071493" y="755897"/>
                  <a:pt x="1067615" y="755897"/>
                </a:cubicBezTo>
                <a:cubicBezTo>
                  <a:pt x="1066322" y="754592"/>
                  <a:pt x="1066322" y="753287"/>
                  <a:pt x="1065029" y="754592"/>
                </a:cubicBezTo>
                <a:lnTo>
                  <a:pt x="1061151" y="757201"/>
                </a:lnTo>
                <a:lnTo>
                  <a:pt x="1057273" y="761114"/>
                </a:lnTo>
                <a:cubicBezTo>
                  <a:pt x="1055981" y="761114"/>
                  <a:pt x="1055981" y="762418"/>
                  <a:pt x="1053395" y="761114"/>
                </a:cubicBezTo>
                <a:lnTo>
                  <a:pt x="1052103" y="757201"/>
                </a:lnTo>
                <a:cubicBezTo>
                  <a:pt x="1050810" y="757201"/>
                  <a:pt x="1049517" y="757201"/>
                  <a:pt x="1048225" y="757201"/>
                </a:cubicBezTo>
                <a:cubicBezTo>
                  <a:pt x="1046932" y="758505"/>
                  <a:pt x="1046932" y="759810"/>
                  <a:pt x="1048225" y="761114"/>
                </a:cubicBezTo>
                <a:cubicBezTo>
                  <a:pt x="1047255" y="764376"/>
                  <a:pt x="1046932" y="764376"/>
                  <a:pt x="1046932" y="765028"/>
                </a:cubicBezTo>
                <a:cubicBezTo>
                  <a:pt x="1045639" y="767636"/>
                  <a:pt x="1049517" y="767636"/>
                  <a:pt x="1052103" y="770245"/>
                </a:cubicBezTo>
                <a:cubicBezTo>
                  <a:pt x="1052103" y="771549"/>
                  <a:pt x="1050810" y="771549"/>
                  <a:pt x="1049517" y="774159"/>
                </a:cubicBezTo>
                <a:cubicBezTo>
                  <a:pt x="1050810" y="775463"/>
                  <a:pt x="1053395" y="774159"/>
                  <a:pt x="1054688" y="772854"/>
                </a:cubicBezTo>
                <a:cubicBezTo>
                  <a:pt x="1055981" y="772854"/>
                  <a:pt x="1055981" y="772854"/>
                  <a:pt x="1057273" y="774159"/>
                </a:cubicBezTo>
                <a:cubicBezTo>
                  <a:pt x="1058566" y="774159"/>
                  <a:pt x="1057273" y="775463"/>
                  <a:pt x="1058566" y="775463"/>
                </a:cubicBezTo>
                <a:cubicBezTo>
                  <a:pt x="1062444" y="776767"/>
                  <a:pt x="1065029" y="778072"/>
                  <a:pt x="1067615" y="776767"/>
                </a:cubicBezTo>
                <a:cubicBezTo>
                  <a:pt x="1070200" y="776767"/>
                  <a:pt x="1071493" y="774159"/>
                  <a:pt x="1076663" y="774159"/>
                </a:cubicBezTo>
                <a:cubicBezTo>
                  <a:pt x="1079249" y="775463"/>
                  <a:pt x="1081834" y="774159"/>
                  <a:pt x="1083127" y="772854"/>
                </a:cubicBezTo>
                <a:cubicBezTo>
                  <a:pt x="1085712" y="771549"/>
                  <a:pt x="1088297" y="770245"/>
                  <a:pt x="1092175" y="765028"/>
                </a:cubicBezTo>
                <a:cubicBezTo>
                  <a:pt x="1093468" y="763723"/>
                  <a:pt x="1093468" y="761114"/>
                  <a:pt x="1092175" y="759810"/>
                </a:cubicBezTo>
                <a:cubicBezTo>
                  <a:pt x="1090883" y="757201"/>
                  <a:pt x="1087005" y="761114"/>
                  <a:pt x="1085712" y="757201"/>
                </a:cubicBezTo>
                <a:cubicBezTo>
                  <a:pt x="1084419" y="755897"/>
                  <a:pt x="1084419" y="754592"/>
                  <a:pt x="1080541" y="753287"/>
                </a:cubicBezTo>
                <a:close/>
                <a:moveTo>
                  <a:pt x="774894" y="735678"/>
                </a:moveTo>
                <a:cubicBezTo>
                  <a:pt x="771167" y="735678"/>
                  <a:pt x="771167" y="742132"/>
                  <a:pt x="773652" y="743423"/>
                </a:cubicBezTo>
                <a:cubicBezTo>
                  <a:pt x="778621" y="746005"/>
                  <a:pt x="779863" y="735678"/>
                  <a:pt x="774894" y="735678"/>
                </a:cubicBezTo>
                <a:close/>
                <a:moveTo>
                  <a:pt x="1060679" y="666562"/>
                </a:moveTo>
                <a:cubicBezTo>
                  <a:pt x="1131042" y="674596"/>
                  <a:pt x="1195785" y="701162"/>
                  <a:pt x="1250573" y="740911"/>
                </a:cubicBezTo>
                <a:cubicBezTo>
                  <a:pt x="1251422" y="743780"/>
                  <a:pt x="1248221" y="741987"/>
                  <a:pt x="1245989" y="743102"/>
                </a:cubicBezTo>
                <a:cubicBezTo>
                  <a:pt x="1243421" y="744387"/>
                  <a:pt x="1245989" y="745671"/>
                  <a:pt x="1245989" y="746955"/>
                </a:cubicBezTo>
                <a:cubicBezTo>
                  <a:pt x="1245989" y="752092"/>
                  <a:pt x="1240852" y="748239"/>
                  <a:pt x="1238284" y="748239"/>
                </a:cubicBezTo>
                <a:cubicBezTo>
                  <a:pt x="1230578" y="748239"/>
                  <a:pt x="1240852" y="757229"/>
                  <a:pt x="1239568" y="758513"/>
                </a:cubicBezTo>
                <a:cubicBezTo>
                  <a:pt x="1235715" y="762365"/>
                  <a:pt x="1231863" y="754661"/>
                  <a:pt x="1228010" y="759797"/>
                </a:cubicBezTo>
                <a:cubicBezTo>
                  <a:pt x="1226726" y="762365"/>
                  <a:pt x="1225441" y="766218"/>
                  <a:pt x="1222873" y="768787"/>
                </a:cubicBezTo>
                <a:cubicBezTo>
                  <a:pt x="1222231" y="770071"/>
                  <a:pt x="1220625" y="770713"/>
                  <a:pt x="1219823" y="771355"/>
                </a:cubicBezTo>
                <a:lnTo>
                  <a:pt x="1221589" y="773923"/>
                </a:lnTo>
                <a:cubicBezTo>
                  <a:pt x="1222873" y="775207"/>
                  <a:pt x="1225441" y="776492"/>
                  <a:pt x="1222873" y="777776"/>
                </a:cubicBezTo>
                <a:cubicBezTo>
                  <a:pt x="1220304" y="777776"/>
                  <a:pt x="1216451" y="776492"/>
                  <a:pt x="1213883" y="776492"/>
                </a:cubicBezTo>
                <a:cubicBezTo>
                  <a:pt x="1212599" y="775207"/>
                  <a:pt x="1210031" y="775207"/>
                  <a:pt x="1208746" y="776492"/>
                </a:cubicBezTo>
                <a:cubicBezTo>
                  <a:pt x="1207462" y="779060"/>
                  <a:pt x="1210031" y="780344"/>
                  <a:pt x="1208746" y="781628"/>
                </a:cubicBezTo>
                <a:cubicBezTo>
                  <a:pt x="1208746" y="786765"/>
                  <a:pt x="1199756" y="781628"/>
                  <a:pt x="1198473" y="786765"/>
                </a:cubicBezTo>
                <a:lnTo>
                  <a:pt x="1198473" y="791902"/>
                </a:lnTo>
                <a:cubicBezTo>
                  <a:pt x="1197188" y="794470"/>
                  <a:pt x="1193335" y="793186"/>
                  <a:pt x="1190767" y="798323"/>
                </a:cubicBezTo>
                <a:cubicBezTo>
                  <a:pt x="1189483" y="799607"/>
                  <a:pt x="1189483" y="798323"/>
                  <a:pt x="1188198" y="799607"/>
                </a:cubicBezTo>
                <a:cubicBezTo>
                  <a:pt x="1188198" y="799928"/>
                  <a:pt x="1188118" y="800089"/>
                  <a:pt x="1188399" y="800570"/>
                </a:cubicBezTo>
                <a:lnTo>
                  <a:pt x="1190767" y="803459"/>
                </a:lnTo>
                <a:cubicBezTo>
                  <a:pt x="1192051" y="806028"/>
                  <a:pt x="1190767" y="804744"/>
                  <a:pt x="1189483" y="807312"/>
                </a:cubicBezTo>
                <a:cubicBezTo>
                  <a:pt x="1186914" y="809881"/>
                  <a:pt x="1193335" y="808596"/>
                  <a:pt x="1194620" y="809881"/>
                </a:cubicBezTo>
                <a:cubicBezTo>
                  <a:pt x="1198473" y="813733"/>
                  <a:pt x="1188198" y="813733"/>
                  <a:pt x="1189483" y="817586"/>
                </a:cubicBezTo>
                <a:cubicBezTo>
                  <a:pt x="1190767" y="820154"/>
                  <a:pt x="1197188" y="816301"/>
                  <a:pt x="1194620" y="821438"/>
                </a:cubicBezTo>
                <a:cubicBezTo>
                  <a:pt x="1193335" y="822723"/>
                  <a:pt x="1192051" y="822723"/>
                  <a:pt x="1192051" y="824007"/>
                </a:cubicBezTo>
                <a:cubicBezTo>
                  <a:pt x="1192051" y="827859"/>
                  <a:pt x="1194620" y="825291"/>
                  <a:pt x="1195904" y="825291"/>
                </a:cubicBezTo>
                <a:cubicBezTo>
                  <a:pt x="1198473" y="826575"/>
                  <a:pt x="1195904" y="831712"/>
                  <a:pt x="1199756" y="830427"/>
                </a:cubicBezTo>
                <a:cubicBezTo>
                  <a:pt x="1203609" y="830427"/>
                  <a:pt x="1202325" y="825291"/>
                  <a:pt x="1206178" y="825291"/>
                </a:cubicBezTo>
                <a:cubicBezTo>
                  <a:pt x="1207462" y="825291"/>
                  <a:pt x="1208746" y="826575"/>
                  <a:pt x="1210031" y="825291"/>
                </a:cubicBezTo>
                <a:lnTo>
                  <a:pt x="1212599" y="821438"/>
                </a:lnTo>
                <a:cubicBezTo>
                  <a:pt x="1215168" y="820154"/>
                  <a:pt x="1216451" y="822723"/>
                  <a:pt x="1217736" y="822723"/>
                </a:cubicBezTo>
                <a:cubicBezTo>
                  <a:pt x="1220304" y="822723"/>
                  <a:pt x="1221589" y="820154"/>
                  <a:pt x="1222873" y="822723"/>
                </a:cubicBezTo>
                <a:cubicBezTo>
                  <a:pt x="1222873" y="826575"/>
                  <a:pt x="1219020" y="829144"/>
                  <a:pt x="1221589" y="831712"/>
                </a:cubicBezTo>
                <a:lnTo>
                  <a:pt x="1231863" y="836849"/>
                </a:lnTo>
                <a:lnTo>
                  <a:pt x="1232665" y="840059"/>
                </a:lnTo>
                <a:cubicBezTo>
                  <a:pt x="1231863" y="840701"/>
                  <a:pt x="1230578" y="841343"/>
                  <a:pt x="1230578" y="843270"/>
                </a:cubicBezTo>
                <a:cubicBezTo>
                  <a:pt x="1229294" y="848406"/>
                  <a:pt x="1235715" y="850975"/>
                  <a:pt x="1238284" y="845838"/>
                </a:cubicBezTo>
                <a:cubicBezTo>
                  <a:pt x="1239568" y="841986"/>
                  <a:pt x="1238284" y="839417"/>
                  <a:pt x="1244705" y="840701"/>
                </a:cubicBezTo>
                <a:cubicBezTo>
                  <a:pt x="1248558" y="841986"/>
                  <a:pt x="1249842" y="839417"/>
                  <a:pt x="1248558" y="835564"/>
                </a:cubicBezTo>
                <a:cubicBezTo>
                  <a:pt x="1247274" y="830427"/>
                  <a:pt x="1244705" y="826575"/>
                  <a:pt x="1249842" y="824007"/>
                </a:cubicBezTo>
                <a:cubicBezTo>
                  <a:pt x="1252410" y="822723"/>
                  <a:pt x="1256263" y="822723"/>
                  <a:pt x="1257547" y="820154"/>
                </a:cubicBezTo>
                <a:cubicBezTo>
                  <a:pt x="1260116" y="816301"/>
                  <a:pt x="1258832" y="812449"/>
                  <a:pt x="1256263" y="809881"/>
                </a:cubicBezTo>
                <a:cubicBezTo>
                  <a:pt x="1253694" y="807312"/>
                  <a:pt x="1251126" y="804744"/>
                  <a:pt x="1251126" y="802175"/>
                </a:cubicBezTo>
                <a:cubicBezTo>
                  <a:pt x="1251126" y="799607"/>
                  <a:pt x="1253694" y="797039"/>
                  <a:pt x="1253694" y="794470"/>
                </a:cubicBezTo>
                <a:cubicBezTo>
                  <a:pt x="1253694" y="791902"/>
                  <a:pt x="1252410" y="788049"/>
                  <a:pt x="1254979" y="785481"/>
                </a:cubicBezTo>
                <a:cubicBezTo>
                  <a:pt x="1256263" y="784197"/>
                  <a:pt x="1258832" y="785481"/>
                  <a:pt x="1258832" y="781628"/>
                </a:cubicBezTo>
                <a:cubicBezTo>
                  <a:pt x="1260116" y="780344"/>
                  <a:pt x="1258832" y="779060"/>
                  <a:pt x="1261400" y="777776"/>
                </a:cubicBezTo>
                <a:cubicBezTo>
                  <a:pt x="1265253" y="775207"/>
                  <a:pt x="1267821" y="777776"/>
                  <a:pt x="1270390" y="772639"/>
                </a:cubicBezTo>
                <a:cubicBezTo>
                  <a:pt x="1271674" y="770071"/>
                  <a:pt x="1274242" y="766218"/>
                  <a:pt x="1274242" y="762365"/>
                </a:cubicBezTo>
                <a:lnTo>
                  <a:pt x="1275695" y="761639"/>
                </a:lnTo>
                <a:lnTo>
                  <a:pt x="1286268" y="770363"/>
                </a:lnTo>
                <a:cubicBezTo>
                  <a:pt x="1279379" y="775207"/>
                  <a:pt x="1276811" y="776492"/>
                  <a:pt x="1275527" y="779060"/>
                </a:cubicBezTo>
                <a:cubicBezTo>
                  <a:pt x="1274242" y="780344"/>
                  <a:pt x="1274242" y="781628"/>
                  <a:pt x="1274242" y="782913"/>
                </a:cubicBezTo>
                <a:cubicBezTo>
                  <a:pt x="1272958" y="786765"/>
                  <a:pt x="1275527" y="789333"/>
                  <a:pt x="1275527" y="793186"/>
                </a:cubicBezTo>
                <a:cubicBezTo>
                  <a:pt x="1276811" y="795755"/>
                  <a:pt x="1278095" y="797039"/>
                  <a:pt x="1278095" y="799607"/>
                </a:cubicBezTo>
                <a:cubicBezTo>
                  <a:pt x="1280664" y="802175"/>
                  <a:pt x="1279379" y="806028"/>
                  <a:pt x="1281948" y="808596"/>
                </a:cubicBezTo>
                <a:cubicBezTo>
                  <a:pt x="1284517" y="809881"/>
                  <a:pt x="1287085" y="809881"/>
                  <a:pt x="1289653" y="808596"/>
                </a:cubicBezTo>
                <a:cubicBezTo>
                  <a:pt x="1292222" y="806028"/>
                  <a:pt x="1294790" y="803459"/>
                  <a:pt x="1298643" y="803459"/>
                </a:cubicBezTo>
                <a:lnTo>
                  <a:pt x="1303780" y="806028"/>
                </a:lnTo>
                <a:cubicBezTo>
                  <a:pt x="1306348" y="807312"/>
                  <a:pt x="1307633" y="806028"/>
                  <a:pt x="1310201" y="806028"/>
                </a:cubicBezTo>
                <a:cubicBezTo>
                  <a:pt x="1312770" y="807312"/>
                  <a:pt x="1316622" y="811165"/>
                  <a:pt x="1311485" y="812449"/>
                </a:cubicBezTo>
                <a:cubicBezTo>
                  <a:pt x="1308917" y="813733"/>
                  <a:pt x="1306348" y="812449"/>
                  <a:pt x="1303780" y="812449"/>
                </a:cubicBezTo>
                <a:cubicBezTo>
                  <a:pt x="1299927" y="812449"/>
                  <a:pt x="1299927" y="815018"/>
                  <a:pt x="1297359" y="815018"/>
                </a:cubicBezTo>
                <a:cubicBezTo>
                  <a:pt x="1293506" y="816301"/>
                  <a:pt x="1290937" y="812449"/>
                  <a:pt x="1287085" y="815018"/>
                </a:cubicBezTo>
                <a:cubicBezTo>
                  <a:pt x="1279379" y="820154"/>
                  <a:pt x="1290937" y="826575"/>
                  <a:pt x="1285800" y="831712"/>
                </a:cubicBezTo>
                <a:cubicBezTo>
                  <a:pt x="1283232" y="835564"/>
                  <a:pt x="1280664" y="830427"/>
                  <a:pt x="1279379" y="829144"/>
                </a:cubicBezTo>
                <a:lnTo>
                  <a:pt x="1271674" y="832996"/>
                </a:lnTo>
                <a:cubicBezTo>
                  <a:pt x="1270390" y="836849"/>
                  <a:pt x="1272958" y="839417"/>
                  <a:pt x="1271674" y="843270"/>
                </a:cubicBezTo>
                <a:cubicBezTo>
                  <a:pt x="1271674" y="844553"/>
                  <a:pt x="1270390" y="844553"/>
                  <a:pt x="1269105" y="845838"/>
                </a:cubicBezTo>
                <a:cubicBezTo>
                  <a:pt x="1269105" y="848406"/>
                  <a:pt x="1270390" y="848406"/>
                  <a:pt x="1270390" y="849690"/>
                </a:cubicBezTo>
                <a:cubicBezTo>
                  <a:pt x="1269105" y="852259"/>
                  <a:pt x="1267821" y="850975"/>
                  <a:pt x="1266537" y="852259"/>
                </a:cubicBezTo>
                <a:cubicBezTo>
                  <a:pt x="1262684" y="852259"/>
                  <a:pt x="1263969" y="854827"/>
                  <a:pt x="1262684" y="856112"/>
                </a:cubicBezTo>
                <a:cubicBezTo>
                  <a:pt x="1260116" y="859964"/>
                  <a:pt x="1256263" y="858680"/>
                  <a:pt x="1252410" y="858680"/>
                </a:cubicBezTo>
                <a:cubicBezTo>
                  <a:pt x="1247274" y="858680"/>
                  <a:pt x="1244705" y="859964"/>
                  <a:pt x="1239568" y="862532"/>
                </a:cubicBezTo>
                <a:cubicBezTo>
                  <a:pt x="1234431" y="863817"/>
                  <a:pt x="1231863" y="859964"/>
                  <a:pt x="1228010" y="859964"/>
                </a:cubicBezTo>
                <a:cubicBezTo>
                  <a:pt x="1224157" y="858680"/>
                  <a:pt x="1226726" y="861248"/>
                  <a:pt x="1224157" y="862532"/>
                </a:cubicBezTo>
                <a:cubicBezTo>
                  <a:pt x="1221589" y="863817"/>
                  <a:pt x="1220304" y="862532"/>
                  <a:pt x="1219020" y="861248"/>
                </a:cubicBezTo>
                <a:cubicBezTo>
                  <a:pt x="1217736" y="861248"/>
                  <a:pt x="1216451" y="859964"/>
                  <a:pt x="1215168" y="858680"/>
                </a:cubicBezTo>
                <a:cubicBezTo>
                  <a:pt x="1211315" y="854827"/>
                  <a:pt x="1216451" y="853543"/>
                  <a:pt x="1215168" y="850975"/>
                </a:cubicBezTo>
                <a:cubicBezTo>
                  <a:pt x="1215168" y="847122"/>
                  <a:pt x="1213883" y="847122"/>
                  <a:pt x="1215168" y="844553"/>
                </a:cubicBezTo>
                <a:cubicBezTo>
                  <a:pt x="1215168" y="843270"/>
                  <a:pt x="1215168" y="841986"/>
                  <a:pt x="1215168" y="840701"/>
                </a:cubicBezTo>
                <a:cubicBezTo>
                  <a:pt x="1215168" y="839417"/>
                  <a:pt x="1215168" y="838133"/>
                  <a:pt x="1215168" y="835564"/>
                </a:cubicBezTo>
                <a:cubicBezTo>
                  <a:pt x="1216451" y="834280"/>
                  <a:pt x="1217736" y="827859"/>
                  <a:pt x="1213883" y="830427"/>
                </a:cubicBezTo>
                <a:cubicBezTo>
                  <a:pt x="1211315" y="830427"/>
                  <a:pt x="1212599" y="832996"/>
                  <a:pt x="1211315" y="832996"/>
                </a:cubicBezTo>
                <a:cubicBezTo>
                  <a:pt x="1210031" y="834280"/>
                  <a:pt x="1208746" y="832996"/>
                  <a:pt x="1207462" y="832996"/>
                </a:cubicBezTo>
                <a:cubicBezTo>
                  <a:pt x="1204893" y="835564"/>
                  <a:pt x="1211315" y="836849"/>
                  <a:pt x="1211315" y="838133"/>
                </a:cubicBezTo>
                <a:cubicBezTo>
                  <a:pt x="1208746" y="839417"/>
                  <a:pt x="1199756" y="839417"/>
                  <a:pt x="1202325" y="844553"/>
                </a:cubicBezTo>
                <a:cubicBezTo>
                  <a:pt x="1203609" y="845838"/>
                  <a:pt x="1204893" y="845838"/>
                  <a:pt x="1206178" y="847122"/>
                </a:cubicBezTo>
                <a:cubicBezTo>
                  <a:pt x="1206178" y="849690"/>
                  <a:pt x="1204893" y="849690"/>
                  <a:pt x="1204893" y="850975"/>
                </a:cubicBezTo>
                <a:cubicBezTo>
                  <a:pt x="1203609" y="854827"/>
                  <a:pt x="1208746" y="857396"/>
                  <a:pt x="1210031" y="859964"/>
                </a:cubicBezTo>
                <a:cubicBezTo>
                  <a:pt x="1211315" y="866385"/>
                  <a:pt x="1206178" y="865101"/>
                  <a:pt x="1199756" y="867669"/>
                </a:cubicBezTo>
                <a:cubicBezTo>
                  <a:pt x="1198473" y="868953"/>
                  <a:pt x="1197188" y="867669"/>
                  <a:pt x="1195904" y="867669"/>
                </a:cubicBezTo>
                <a:cubicBezTo>
                  <a:pt x="1192051" y="867669"/>
                  <a:pt x="1189483" y="868953"/>
                  <a:pt x="1186914" y="871522"/>
                </a:cubicBezTo>
                <a:cubicBezTo>
                  <a:pt x="1185630" y="875374"/>
                  <a:pt x="1186914" y="877943"/>
                  <a:pt x="1185630" y="880511"/>
                </a:cubicBezTo>
                <a:cubicBezTo>
                  <a:pt x="1183061" y="884364"/>
                  <a:pt x="1177925" y="884364"/>
                  <a:pt x="1174072" y="883080"/>
                </a:cubicBezTo>
                <a:cubicBezTo>
                  <a:pt x="1171503" y="883080"/>
                  <a:pt x="1168935" y="883080"/>
                  <a:pt x="1168935" y="886932"/>
                </a:cubicBezTo>
                <a:cubicBezTo>
                  <a:pt x="1168935" y="889500"/>
                  <a:pt x="1171503" y="890784"/>
                  <a:pt x="1170219" y="893353"/>
                </a:cubicBezTo>
                <a:cubicBezTo>
                  <a:pt x="1170219" y="895921"/>
                  <a:pt x="1166366" y="895921"/>
                  <a:pt x="1163798" y="895921"/>
                </a:cubicBezTo>
                <a:cubicBezTo>
                  <a:pt x="1161230" y="895921"/>
                  <a:pt x="1159945" y="893353"/>
                  <a:pt x="1157377" y="893353"/>
                </a:cubicBezTo>
                <a:lnTo>
                  <a:pt x="1154326" y="894477"/>
                </a:lnTo>
                <a:cubicBezTo>
                  <a:pt x="1154487" y="895600"/>
                  <a:pt x="1155451" y="897206"/>
                  <a:pt x="1156093" y="898490"/>
                </a:cubicBezTo>
                <a:cubicBezTo>
                  <a:pt x="1157377" y="902343"/>
                  <a:pt x="1152240" y="901058"/>
                  <a:pt x="1149671" y="901058"/>
                </a:cubicBezTo>
                <a:cubicBezTo>
                  <a:pt x="1145819" y="902343"/>
                  <a:pt x="1138113" y="899774"/>
                  <a:pt x="1138113" y="904911"/>
                </a:cubicBezTo>
                <a:cubicBezTo>
                  <a:pt x="1138113" y="908763"/>
                  <a:pt x="1143250" y="908763"/>
                  <a:pt x="1147103" y="910047"/>
                </a:cubicBezTo>
                <a:cubicBezTo>
                  <a:pt x="1150955" y="911332"/>
                  <a:pt x="1148387" y="916469"/>
                  <a:pt x="1152240" y="919037"/>
                </a:cubicBezTo>
                <a:cubicBezTo>
                  <a:pt x="1156093" y="921605"/>
                  <a:pt x="1163798" y="921605"/>
                  <a:pt x="1159945" y="928026"/>
                </a:cubicBezTo>
                <a:cubicBezTo>
                  <a:pt x="1158661" y="930595"/>
                  <a:pt x="1157377" y="930595"/>
                  <a:pt x="1156093" y="933163"/>
                </a:cubicBezTo>
                <a:cubicBezTo>
                  <a:pt x="1156093" y="935731"/>
                  <a:pt x="1156093" y="938300"/>
                  <a:pt x="1154808" y="940868"/>
                </a:cubicBezTo>
                <a:cubicBezTo>
                  <a:pt x="1152240" y="944721"/>
                  <a:pt x="1145819" y="944721"/>
                  <a:pt x="1141966" y="944721"/>
                </a:cubicBezTo>
                <a:cubicBezTo>
                  <a:pt x="1139397" y="944721"/>
                  <a:pt x="1135545" y="944721"/>
                  <a:pt x="1132976" y="943437"/>
                </a:cubicBezTo>
                <a:cubicBezTo>
                  <a:pt x="1131692" y="943437"/>
                  <a:pt x="1130407" y="943437"/>
                  <a:pt x="1129124" y="942152"/>
                </a:cubicBezTo>
                <a:cubicBezTo>
                  <a:pt x="1127839" y="942152"/>
                  <a:pt x="1126555" y="939584"/>
                  <a:pt x="1122702" y="940868"/>
                </a:cubicBezTo>
                <a:cubicBezTo>
                  <a:pt x="1121418" y="942152"/>
                  <a:pt x="1121418" y="942152"/>
                  <a:pt x="1120134" y="942152"/>
                </a:cubicBezTo>
                <a:cubicBezTo>
                  <a:pt x="1116281" y="943437"/>
                  <a:pt x="1113712" y="944721"/>
                  <a:pt x="1114997" y="948573"/>
                </a:cubicBezTo>
                <a:cubicBezTo>
                  <a:pt x="1114997" y="953710"/>
                  <a:pt x="1118850" y="957563"/>
                  <a:pt x="1116281" y="962699"/>
                </a:cubicBezTo>
                <a:cubicBezTo>
                  <a:pt x="1113712" y="965268"/>
                  <a:pt x="1112429" y="967836"/>
                  <a:pt x="1113712" y="970405"/>
                </a:cubicBezTo>
                <a:cubicBezTo>
                  <a:pt x="1113712" y="975541"/>
                  <a:pt x="1116281" y="981962"/>
                  <a:pt x="1120134" y="984531"/>
                </a:cubicBezTo>
                <a:lnTo>
                  <a:pt x="1126555" y="985815"/>
                </a:lnTo>
                <a:cubicBezTo>
                  <a:pt x="1129124" y="988383"/>
                  <a:pt x="1131692" y="989668"/>
                  <a:pt x="1135545" y="989668"/>
                </a:cubicBezTo>
                <a:cubicBezTo>
                  <a:pt x="1138113" y="989668"/>
                  <a:pt x="1139397" y="988383"/>
                  <a:pt x="1141966" y="988383"/>
                </a:cubicBezTo>
                <a:cubicBezTo>
                  <a:pt x="1144535" y="988383"/>
                  <a:pt x="1145819" y="990951"/>
                  <a:pt x="1148387" y="989668"/>
                </a:cubicBezTo>
                <a:cubicBezTo>
                  <a:pt x="1150955" y="989668"/>
                  <a:pt x="1152240" y="988383"/>
                  <a:pt x="1153524" y="985815"/>
                </a:cubicBezTo>
                <a:cubicBezTo>
                  <a:pt x="1153524" y="983246"/>
                  <a:pt x="1154808" y="983246"/>
                  <a:pt x="1157377" y="981962"/>
                </a:cubicBezTo>
                <a:cubicBezTo>
                  <a:pt x="1159945" y="980678"/>
                  <a:pt x="1162514" y="978109"/>
                  <a:pt x="1162514" y="975541"/>
                </a:cubicBezTo>
                <a:cubicBezTo>
                  <a:pt x="1163798" y="972973"/>
                  <a:pt x="1162514" y="970405"/>
                  <a:pt x="1163798" y="966552"/>
                </a:cubicBezTo>
                <a:cubicBezTo>
                  <a:pt x="1166366" y="963983"/>
                  <a:pt x="1167650" y="958847"/>
                  <a:pt x="1171503" y="957563"/>
                </a:cubicBezTo>
                <a:lnTo>
                  <a:pt x="1179209" y="953710"/>
                </a:lnTo>
                <a:cubicBezTo>
                  <a:pt x="1180493" y="949857"/>
                  <a:pt x="1177925" y="946005"/>
                  <a:pt x="1180493" y="943437"/>
                </a:cubicBezTo>
                <a:cubicBezTo>
                  <a:pt x="1181778" y="942152"/>
                  <a:pt x="1184346" y="942152"/>
                  <a:pt x="1186914" y="942152"/>
                </a:cubicBezTo>
                <a:lnTo>
                  <a:pt x="1193335" y="943437"/>
                </a:lnTo>
                <a:cubicBezTo>
                  <a:pt x="1194620" y="944721"/>
                  <a:pt x="1195904" y="943437"/>
                  <a:pt x="1198473" y="942152"/>
                </a:cubicBezTo>
                <a:lnTo>
                  <a:pt x="1203609" y="937015"/>
                </a:lnTo>
                <a:cubicBezTo>
                  <a:pt x="1204893" y="935731"/>
                  <a:pt x="1206178" y="935731"/>
                  <a:pt x="1208746" y="935731"/>
                </a:cubicBezTo>
                <a:cubicBezTo>
                  <a:pt x="1212599" y="935731"/>
                  <a:pt x="1215168" y="939584"/>
                  <a:pt x="1216451" y="942152"/>
                </a:cubicBezTo>
                <a:cubicBezTo>
                  <a:pt x="1216451" y="944721"/>
                  <a:pt x="1217736" y="946005"/>
                  <a:pt x="1219020" y="948573"/>
                </a:cubicBezTo>
                <a:cubicBezTo>
                  <a:pt x="1219020" y="949857"/>
                  <a:pt x="1220304" y="951141"/>
                  <a:pt x="1221589" y="952426"/>
                </a:cubicBezTo>
                <a:cubicBezTo>
                  <a:pt x="1224157" y="954994"/>
                  <a:pt x="1228010" y="957563"/>
                  <a:pt x="1230578" y="958847"/>
                </a:cubicBezTo>
                <a:cubicBezTo>
                  <a:pt x="1235715" y="960131"/>
                  <a:pt x="1238284" y="961415"/>
                  <a:pt x="1240852" y="966552"/>
                </a:cubicBezTo>
                <a:cubicBezTo>
                  <a:pt x="1242136" y="969120"/>
                  <a:pt x="1243421" y="971689"/>
                  <a:pt x="1243421" y="975541"/>
                </a:cubicBezTo>
                <a:lnTo>
                  <a:pt x="1242136" y="980678"/>
                </a:lnTo>
                <a:cubicBezTo>
                  <a:pt x="1240852" y="981962"/>
                  <a:pt x="1239568" y="981962"/>
                  <a:pt x="1238284" y="981962"/>
                </a:cubicBezTo>
                <a:cubicBezTo>
                  <a:pt x="1235715" y="981962"/>
                  <a:pt x="1234431" y="980678"/>
                  <a:pt x="1231863" y="980678"/>
                </a:cubicBezTo>
                <a:cubicBezTo>
                  <a:pt x="1228010" y="981962"/>
                  <a:pt x="1228010" y="984531"/>
                  <a:pt x="1230578" y="987099"/>
                </a:cubicBezTo>
                <a:cubicBezTo>
                  <a:pt x="1231863" y="988383"/>
                  <a:pt x="1233147" y="988383"/>
                  <a:pt x="1234431" y="988383"/>
                </a:cubicBezTo>
                <a:cubicBezTo>
                  <a:pt x="1235715" y="989668"/>
                  <a:pt x="1236999" y="989668"/>
                  <a:pt x="1238284" y="988383"/>
                </a:cubicBezTo>
                <a:cubicBezTo>
                  <a:pt x="1239568" y="987099"/>
                  <a:pt x="1239568" y="985815"/>
                  <a:pt x="1240852" y="984531"/>
                </a:cubicBezTo>
                <a:cubicBezTo>
                  <a:pt x="1242136" y="983246"/>
                  <a:pt x="1243421" y="983246"/>
                  <a:pt x="1244705" y="980678"/>
                </a:cubicBezTo>
                <a:cubicBezTo>
                  <a:pt x="1245989" y="979394"/>
                  <a:pt x="1245989" y="979394"/>
                  <a:pt x="1248558" y="975541"/>
                </a:cubicBezTo>
                <a:cubicBezTo>
                  <a:pt x="1249842" y="972973"/>
                  <a:pt x="1249842" y="972973"/>
                  <a:pt x="1248558" y="970405"/>
                </a:cubicBezTo>
                <a:cubicBezTo>
                  <a:pt x="1247274" y="969120"/>
                  <a:pt x="1247274" y="966552"/>
                  <a:pt x="1248558" y="965268"/>
                </a:cubicBezTo>
                <a:cubicBezTo>
                  <a:pt x="1249842" y="962699"/>
                  <a:pt x="1253694" y="967836"/>
                  <a:pt x="1254979" y="966552"/>
                </a:cubicBezTo>
                <a:cubicBezTo>
                  <a:pt x="1257547" y="965268"/>
                  <a:pt x="1252410" y="961415"/>
                  <a:pt x="1251126" y="960131"/>
                </a:cubicBezTo>
                <a:cubicBezTo>
                  <a:pt x="1249842" y="960131"/>
                  <a:pt x="1248558" y="960131"/>
                  <a:pt x="1245989" y="958847"/>
                </a:cubicBezTo>
                <a:cubicBezTo>
                  <a:pt x="1244705" y="957563"/>
                  <a:pt x="1244705" y="956278"/>
                  <a:pt x="1243421" y="954994"/>
                </a:cubicBezTo>
                <a:cubicBezTo>
                  <a:pt x="1239568" y="952426"/>
                  <a:pt x="1235715" y="951141"/>
                  <a:pt x="1233147" y="948573"/>
                </a:cubicBezTo>
                <a:cubicBezTo>
                  <a:pt x="1231863" y="946005"/>
                  <a:pt x="1230578" y="944721"/>
                  <a:pt x="1229294" y="942152"/>
                </a:cubicBezTo>
                <a:cubicBezTo>
                  <a:pt x="1228010" y="939584"/>
                  <a:pt x="1226726" y="938300"/>
                  <a:pt x="1225441" y="937015"/>
                </a:cubicBezTo>
                <a:cubicBezTo>
                  <a:pt x="1224157" y="933163"/>
                  <a:pt x="1224157" y="929311"/>
                  <a:pt x="1228010" y="929311"/>
                </a:cubicBezTo>
                <a:cubicBezTo>
                  <a:pt x="1230578" y="930595"/>
                  <a:pt x="1231863" y="931878"/>
                  <a:pt x="1233147" y="933163"/>
                </a:cubicBezTo>
                <a:cubicBezTo>
                  <a:pt x="1234431" y="935731"/>
                  <a:pt x="1235715" y="938300"/>
                  <a:pt x="1238284" y="939584"/>
                </a:cubicBezTo>
                <a:cubicBezTo>
                  <a:pt x="1240852" y="943437"/>
                  <a:pt x="1244705" y="946005"/>
                  <a:pt x="1248558" y="947289"/>
                </a:cubicBezTo>
                <a:cubicBezTo>
                  <a:pt x="1251126" y="948573"/>
                  <a:pt x="1254979" y="949857"/>
                  <a:pt x="1257547" y="951141"/>
                </a:cubicBezTo>
                <a:cubicBezTo>
                  <a:pt x="1258832" y="952426"/>
                  <a:pt x="1260116" y="953710"/>
                  <a:pt x="1261400" y="956278"/>
                </a:cubicBezTo>
                <a:cubicBezTo>
                  <a:pt x="1261400" y="958847"/>
                  <a:pt x="1261400" y="961415"/>
                  <a:pt x="1261400" y="965268"/>
                </a:cubicBezTo>
                <a:cubicBezTo>
                  <a:pt x="1262684" y="967836"/>
                  <a:pt x="1263969" y="970405"/>
                  <a:pt x="1266537" y="972973"/>
                </a:cubicBezTo>
                <a:cubicBezTo>
                  <a:pt x="1267821" y="974257"/>
                  <a:pt x="1267821" y="974257"/>
                  <a:pt x="1269105" y="975541"/>
                </a:cubicBezTo>
                <a:cubicBezTo>
                  <a:pt x="1270390" y="976825"/>
                  <a:pt x="1270390" y="976825"/>
                  <a:pt x="1271674" y="978109"/>
                </a:cubicBezTo>
                <a:lnTo>
                  <a:pt x="1276811" y="980678"/>
                </a:lnTo>
                <a:cubicBezTo>
                  <a:pt x="1278088" y="983233"/>
                  <a:pt x="1274281" y="981976"/>
                  <a:pt x="1274242" y="981962"/>
                </a:cubicBezTo>
                <a:cubicBezTo>
                  <a:pt x="1271674" y="981962"/>
                  <a:pt x="1271674" y="984531"/>
                  <a:pt x="1272958" y="985815"/>
                </a:cubicBezTo>
                <a:cubicBezTo>
                  <a:pt x="1272958" y="988383"/>
                  <a:pt x="1275527" y="989668"/>
                  <a:pt x="1278095" y="989668"/>
                </a:cubicBezTo>
                <a:cubicBezTo>
                  <a:pt x="1280664" y="989668"/>
                  <a:pt x="1280664" y="988383"/>
                  <a:pt x="1280664" y="987099"/>
                </a:cubicBezTo>
                <a:cubicBezTo>
                  <a:pt x="1280664" y="983246"/>
                  <a:pt x="1281948" y="983246"/>
                  <a:pt x="1284517" y="983246"/>
                </a:cubicBezTo>
                <a:lnTo>
                  <a:pt x="1285800" y="978109"/>
                </a:lnTo>
                <a:cubicBezTo>
                  <a:pt x="1285800" y="976825"/>
                  <a:pt x="1284517" y="975541"/>
                  <a:pt x="1283232" y="974257"/>
                </a:cubicBezTo>
                <a:cubicBezTo>
                  <a:pt x="1281948" y="972973"/>
                  <a:pt x="1280664" y="971689"/>
                  <a:pt x="1280664" y="969120"/>
                </a:cubicBezTo>
                <a:lnTo>
                  <a:pt x="1285800" y="967836"/>
                </a:lnTo>
                <a:cubicBezTo>
                  <a:pt x="1287085" y="966552"/>
                  <a:pt x="1287085" y="966552"/>
                  <a:pt x="1288369" y="966552"/>
                </a:cubicBezTo>
                <a:cubicBezTo>
                  <a:pt x="1288369" y="965268"/>
                  <a:pt x="1288369" y="963983"/>
                  <a:pt x="1288369" y="962699"/>
                </a:cubicBezTo>
                <a:cubicBezTo>
                  <a:pt x="1289653" y="961415"/>
                  <a:pt x="1290937" y="961415"/>
                  <a:pt x="1292222" y="961415"/>
                </a:cubicBezTo>
                <a:cubicBezTo>
                  <a:pt x="1293506" y="961415"/>
                  <a:pt x="1293506" y="961415"/>
                  <a:pt x="1294790" y="961415"/>
                </a:cubicBezTo>
                <a:cubicBezTo>
                  <a:pt x="1297359" y="962699"/>
                  <a:pt x="1297359" y="962699"/>
                  <a:pt x="1298643" y="965268"/>
                </a:cubicBezTo>
                <a:cubicBezTo>
                  <a:pt x="1299927" y="967836"/>
                  <a:pt x="1301212" y="970405"/>
                  <a:pt x="1301212" y="972973"/>
                </a:cubicBezTo>
                <a:cubicBezTo>
                  <a:pt x="1301212" y="978109"/>
                  <a:pt x="1299927" y="981962"/>
                  <a:pt x="1303780" y="987099"/>
                </a:cubicBezTo>
                <a:cubicBezTo>
                  <a:pt x="1305064" y="988383"/>
                  <a:pt x="1307633" y="988383"/>
                  <a:pt x="1308917" y="989668"/>
                </a:cubicBezTo>
                <a:lnTo>
                  <a:pt x="1314054" y="996088"/>
                </a:lnTo>
                <a:cubicBezTo>
                  <a:pt x="1317907" y="998657"/>
                  <a:pt x="1319190" y="993520"/>
                  <a:pt x="1323043" y="993520"/>
                </a:cubicBezTo>
                <a:cubicBezTo>
                  <a:pt x="1326896" y="990951"/>
                  <a:pt x="1328180" y="994804"/>
                  <a:pt x="1330749" y="996088"/>
                </a:cubicBezTo>
                <a:cubicBezTo>
                  <a:pt x="1334602" y="997372"/>
                  <a:pt x="1341023" y="996088"/>
                  <a:pt x="1342307" y="994804"/>
                </a:cubicBezTo>
                <a:cubicBezTo>
                  <a:pt x="1343591" y="993520"/>
                  <a:pt x="1346160" y="988383"/>
                  <a:pt x="1348728" y="992236"/>
                </a:cubicBezTo>
                <a:cubicBezTo>
                  <a:pt x="1353865" y="997372"/>
                  <a:pt x="1342307" y="1007646"/>
                  <a:pt x="1343591" y="1014067"/>
                </a:cubicBezTo>
                <a:cubicBezTo>
                  <a:pt x="1343591" y="1016635"/>
                  <a:pt x="1346160" y="1020488"/>
                  <a:pt x="1342307" y="1023056"/>
                </a:cubicBezTo>
                <a:cubicBezTo>
                  <a:pt x="1338454" y="1024340"/>
                  <a:pt x="1333318" y="1023056"/>
                  <a:pt x="1329465" y="1024340"/>
                </a:cubicBezTo>
                <a:cubicBezTo>
                  <a:pt x="1326896" y="1024340"/>
                  <a:pt x="1324328" y="1025625"/>
                  <a:pt x="1321759" y="1026909"/>
                </a:cubicBezTo>
                <a:cubicBezTo>
                  <a:pt x="1317907" y="1029477"/>
                  <a:pt x="1315338" y="1028193"/>
                  <a:pt x="1311485" y="1026909"/>
                </a:cubicBezTo>
                <a:cubicBezTo>
                  <a:pt x="1310201" y="1025625"/>
                  <a:pt x="1308917" y="1025625"/>
                  <a:pt x="1307633" y="1025625"/>
                </a:cubicBezTo>
                <a:cubicBezTo>
                  <a:pt x="1306348" y="1025625"/>
                  <a:pt x="1306348" y="1026909"/>
                  <a:pt x="1305064" y="1026909"/>
                </a:cubicBezTo>
                <a:cubicBezTo>
                  <a:pt x="1303780" y="1028193"/>
                  <a:pt x="1303780" y="1026909"/>
                  <a:pt x="1301212" y="1026909"/>
                </a:cubicBezTo>
                <a:cubicBezTo>
                  <a:pt x="1296075" y="1026909"/>
                  <a:pt x="1290937" y="1028193"/>
                  <a:pt x="1285800" y="1024340"/>
                </a:cubicBezTo>
                <a:cubicBezTo>
                  <a:pt x="1281948" y="1020488"/>
                  <a:pt x="1278095" y="1016635"/>
                  <a:pt x="1272958" y="1016635"/>
                </a:cubicBezTo>
                <a:cubicBezTo>
                  <a:pt x="1269105" y="1017920"/>
                  <a:pt x="1265253" y="1019203"/>
                  <a:pt x="1263969" y="1024340"/>
                </a:cubicBezTo>
                <a:cubicBezTo>
                  <a:pt x="1263969" y="1026909"/>
                  <a:pt x="1265253" y="1030762"/>
                  <a:pt x="1261400" y="1032046"/>
                </a:cubicBezTo>
                <a:cubicBezTo>
                  <a:pt x="1257547" y="1034614"/>
                  <a:pt x="1245989" y="1030762"/>
                  <a:pt x="1243421" y="1026909"/>
                </a:cubicBezTo>
                <a:cubicBezTo>
                  <a:pt x="1239568" y="1023056"/>
                  <a:pt x="1235715" y="1020488"/>
                  <a:pt x="1229294" y="1019203"/>
                </a:cubicBezTo>
                <a:cubicBezTo>
                  <a:pt x="1224157" y="1017920"/>
                  <a:pt x="1217736" y="1015351"/>
                  <a:pt x="1215168" y="1010214"/>
                </a:cubicBezTo>
                <a:cubicBezTo>
                  <a:pt x="1212599" y="1003794"/>
                  <a:pt x="1221589" y="992236"/>
                  <a:pt x="1213883" y="987099"/>
                </a:cubicBezTo>
                <a:cubicBezTo>
                  <a:pt x="1208746" y="985815"/>
                  <a:pt x="1202325" y="985815"/>
                  <a:pt x="1198473" y="988383"/>
                </a:cubicBezTo>
                <a:cubicBezTo>
                  <a:pt x="1192051" y="989668"/>
                  <a:pt x="1185630" y="990951"/>
                  <a:pt x="1179209" y="989668"/>
                </a:cubicBezTo>
                <a:cubicBezTo>
                  <a:pt x="1172788" y="989668"/>
                  <a:pt x="1168935" y="990951"/>
                  <a:pt x="1163798" y="994804"/>
                </a:cubicBezTo>
                <a:cubicBezTo>
                  <a:pt x="1157377" y="998657"/>
                  <a:pt x="1153524" y="1002509"/>
                  <a:pt x="1147103" y="999941"/>
                </a:cubicBezTo>
                <a:cubicBezTo>
                  <a:pt x="1143250" y="998657"/>
                  <a:pt x="1143250" y="999941"/>
                  <a:pt x="1139397" y="999941"/>
                </a:cubicBezTo>
                <a:cubicBezTo>
                  <a:pt x="1136829" y="999941"/>
                  <a:pt x="1135545" y="996088"/>
                  <a:pt x="1132976" y="996088"/>
                </a:cubicBezTo>
                <a:cubicBezTo>
                  <a:pt x="1125271" y="997372"/>
                  <a:pt x="1129124" y="1003794"/>
                  <a:pt x="1127839" y="1007646"/>
                </a:cubicBezTo>
                <a:cubicBezTo>
                  <a:pt x="1126555" y="1011499"/>
                  <a:pt x="1120134" y="1011499"/>
                  <a:pt x="1117565" y="1014067"/>
                </a:cubicBezTo>
                <a:cubicBezTo>
                  <a:pt x="1112429" y="1019203"/>
                  <a:pt x="1111144" y="1028193"/>
                  <a:pt x="1111144" y="1034614"/>
                </a:cubicBezTo>
                <a:cubicBezTo>
                  <a:pt x="1111144" y="1041035"/>
                  <a:pt x="1108576" y="1046172"/>
                  <a:pt x="1104723" y="1050024"/>
                </a:cubicBezTo>
                <a:cubicBezTo>
                  <a:pt x="1098302" y="1055161"/>
                  <a:pt x="1093165" y="1056445"/>
                  <a:pt x="1090596" y="1062866"/>
                </a:cubicBezTo>
                <a:cubicBezTo>
                  <a:pt x="1088028" y="1068003"/>
                  <a:pt x="1088028" y="1071856"/>
                  <a:pt x="1082891" y="1075708"/>
                </a:cubicBezTo>
                <a:cubicBezTo>
                  <a:pt x="1080322" y="1078276"/>
                  <a:pt x="1079038" y="1079560"/>
                  <a:pt x="1077754" y="1082129"/>
                </a:cubicBezTo>
                <a:cubicBezTo>
                  <a:pt x="1077754" y="1088550"/>
                  <a:pt x="1073901" y="1092402"/>
                  <a:pt x="1076470" y="1097539"/>
                </a:cubicBezTo>
                <a:cubicBezTo>
                  <a:pt x="1079038" y="1100108"/>
                  <a:pt x="1077754" y="1103960"/>
                  <a:pt x="1079038" y="1106528"/>
                </a:cubicBezTo>
                <a:cubicBezTo>
                  <a:pt x="1079038" y="1109097"/>
                  <a:pt x="1080322" y="1111665"/>
                  <a:pt x="1080322" y="1115518"/>
                </a:cubicBezTo>
                <a:cubicBezTo>
                  <a:pt x="1080322" y="1119371"/>
                  <a:pt x="1077754" y="1121939"/>
                  <a:pt x="1076470" y="1125791"/>
                </a:cubicBezTo>
                <a:lnTo>
                  <a:pt x="1075186" y="1141202"/>
                </a:lnTo>
                <a:cubicBezTo>
                  <a:pt x="1075186" y="1148907"/>
                  <a:pt x="1082891" y="1152759"/>
                  <a:pt x="1085459" y="1157896"/>
                </a:cubicBezTo>
                <a:cubicBezTo>
                  <a:pt x="1091881" y="1166885"/>
                  <a:pt x="1094449" y="1184864"/>
                  <a:pt x="1104723" y="1191285"/>
                </a:cubicBezTo>
                <a:cubicBezTo>
                  <a:pt x="1112429" y="1195138"/>
                  <a:pt x="1122702" y="1201559"/>
                  <a:pt x="1131692" y="1197706"/>
                </a:cubicBezTo>
                <a:cubicBezTo>
                  <a:pt x="1136829" y="1196422"/>
                  <a:pt x="1140682" y="1195138"/>
                  <a:pt x="1147103" y="1195138"/>
                </a:cubicBezTo>
                <a:lnTo>
                  <a:pt x="1152240" y="1193853"/>
                </a:lnTo>
                <a:lnTo>
                  <a:pt x="1157377" y="1196422"/>
                </a:lnTo>
                <a:cubicBezTo>
                  <a:pt x="1163798" y="1197706"/>
                  <a:pt x="1168935" y="1193853"/>
                  <a:pt x="1174072" y="1192570"/>
                </a:cubicBezTo>
                <a:lnTo>
                  <a:pt x="1181778" y="1191285"/>
                </a:lnTo>
                <a:cubicBezTo>
                  <a:pt x="1185630" y="1191285"/>
                  <a:pt x="1185630" y="1192570"/>
                  <a:pt x="1188198" y="1193853"/>
                </a:cubicBezTo>
                <a:cubicBezTo>
                  <a:pt x="1192051" y="1196422"/>
                  <a:pt x="1194620" y="1198990"/>
                  <a:pt x="1198473" y="1200275"/>
                </a:cubicBezTo>
                <a:cubicBezTo>
                  <a:pt x="1213883" y="1205412"/>
                  <a:pt x="1210031" y="1222106"/>
                  <a:pt x="1207462" y="1234948"/>
                </a:cubicBezTo>
                <a:cubicBezTo>
                  <a:pt x="1206178" y="1240084"/>
                  <a:pt x="1208746" y="1247790"/>
                  <a:pt x="1212599" y="1252926"/>
                </a:cubicBezTo>
                <a:cubicBezTo>
                  <a:pt x="1216451" y="1258063"/>
                  <a:pt x="1221589" y="1261916"/>
                  <a:pt x="1224157" y="1267052"/>
                </a:cubicBezTo>
                <a:cubicBezTo>
                  <a:pt x="1226726" y="1269621"/>
                  <a:pt x="1228010" y="1273473"/>
                  <a:pt x="1228010" y="1276042"/>
                </a:cubicBezTo>
                <a:cubicBezTo>
                  <a:pt x="1228010" y="1278610"/>
                  <a:pt x="1228010" y="1279895"/>
                  <a:pt x="1229294" y="1281178"/>
                </a:cubicBezTo>
                <a:cubicBezTo>
                  <a:pt x="1229294" y="1287600"/>
                  <a:pt x="1225441" y="1291452"/>
                  <a:pt x="1229294" y="1296589"/>
                </a:cubicBezTo>
                <a:cubicBezTo>
                  <a:pt x="1235715" y="1305578"/>
                  <a:pt x="1225441" y="1317136"/>
                  <a:pt x="1222873" y="1326125"/>
                </a:cubicBezTo>
                <a:cubicBezTo>
                  <a:pt x="1221589" y="1332546"/>
                  <a:pt x="1219020" y="1341535"/>
                  <a:pt x="1222873" y="1346672"/>
                </a:cubicBezTo>
                <a:cubicBezTo>
                  <a:pt x="1224157" y="1347957"/>
                  <a:pt x="1226726" y="1349241"/>
                  <a:pt x="1228010" y="1350525"/>
                </a:cubicBezTo>
                <a:cubicBezTo>
                  <a:pt x="1230578" y="1354377"/>
                  <a:pt x="1230578" y="1358230"/>
                  <a:pt x="1231863" y="1360798"/>
                </a:cubicBezTo>
                <a:cubicBezTo>
                  <a:pt x="1233147" y="1363367"/>
                  <a:pt x="1233147" y="1367220"/>
                  <a:pt x="1233147" y="1369788"/>
                </a:cubicBezTo>
                <a:cubicBezTo>
                  <a:pt x="1234431" y="1373640"/>
                  <a:pt x="1236999" y="1374925"/>
                  <a:pt x="1238284" y="1378777"/>
                </a:cubicBezTo>
                <a:cubicBezTo>
                  <a:pt x="1239568" y="1389051"/>
                  <a:pt x="1236999" y="1398040"/>
                  <a:pt x="1240852" y="1407029"/>
                </a:cubicBezTo>
                <a:cubicBezTo>
                  <a:pt x="1243421" y="1412166"/>
                  <a:pt x="1245989" y="1417303"/>
                  <a:pt x="1248558" y="1422440"/>
                </a:cubicBezTo>
                <a:cubicBezTo>
                  <a:pt x="1251126" y="1425008"/>
                  <a:pt x="1252410" y="1427576"/>
                  <a:pt x="1252410" y="1431429"/>
                </a:cubicBezTo>
                <a:cubicBezTo>
                  <a:pt x="1253694" y="1436566"/>
                  <a:pt x="1251126" y="1442986"/>
                  <a:pt x="1251126" y="1448123"/>
                </a:cubicBezTo>
                <a:lnTo>
                  <a:pt x="1252893" y="1450331"/>
                </a:lnTo>
                <a:cubicBezTo>
                  <a:pt x="1181930" y="1502527"/>
                  <a:pt x="1094187" y="1532774"/>
                  <a:pt x="999379" y="1532774"/>
                </a:cubicBezTo>
                <a:cubicBezTo>
                  <a:pt x="942720" y="1532774"/>
                  <a:pt x="888583" y="1521971"/>
                  <a:pt x="839242" y="1501491"/>
                </a:cubicBezTo>
                <a:cubicBezTo>
                  <a:pt x="842403" y="1500292"/>
                  <a:pt x="844299" y="1496331"/>
                  <a:pt x="841522" y="1491702"/>
                </a:cubicBezTo>
                <a:cubicBezTo>
                  <a:pt x="842485" y="1488815"/>
                  <a:pt x="844089" y="1489136"/>
                  <a:pt x="845373" y="1489136"/>
                </a:cubicBezTo>
                <a:lnTo>
                  <a:pt x="854360" y="1485284"/>
                </a:lnTo>
                <a:cubicBezTo>
                  <a:pt x="858211" y="1485284"/>
                  <a:pt x="860779" y="1485284"/>
                  <a:pt x="863346" y="1484001"/>
                </a:cubicBezTo>
                <a:cubicBezTo>
                  <a:pt x="865914" y="1482717"/>
                  <a:pt x="867198" y="1480151"/>
                  <a:pt x="868482" y="1477583"/>
                </a:cubicBezTo>
                <a:cubicBezTo>
                  <a:pt x="869766" y="1476299"/>
                  <a:pt x="871049" y="1475016"/>
                  <a:pt x="869766" y="1472449"/>
                </a:cubicBezTo>
                <a:lnTo>
                  <a:pt x="865914" y="1468598"/>
                </a:lnTo>
                <a:cubicBezTo>
                  <a:pt x="865914" y="1466031"/>
                  <a:pt x="867198" y="1464748"/>
                  <a:pt x="867198" y="1463464"/>
                </a:cubicBezTo>
                <a:cubicBezTo>
                  <a:pt x="865914" y="1460896"/>
                  <a:pt x="862063" y="1460896"/>
                  <a:pt x="860779" y="1458330"/>
                </a:cubicBezTo>
                <a:cubicBezTo>
                  <a:pt x="859495" y="1455763"/>
                  <a:pt x="858211" y="1453195"/>
                  <a:pt x="858211" y="1450628"/>
                </a:cubicBezTo>
                <a:lnTo>
                  <a:pt x="863346" y="1449345"/>
                </a:lnTo>
                <a:cubicBezTo>
                  <a:pt x="864630" y="1451912"/>
                  <a:pt x="864630" y="1455763"/>
                  <a:pt x="867198" y="1457046"/>
                </a:cubicBezTo>
                <a:cubicBezTo>
                  <a:pt x="868482" y="1459613"/>
                  <a:pt x="871049" y="1460896"/>
                  <a:pt x="873617" y="1459613"/>
                </a:cubicBezTo>
                <a:cubicBezTo>
                  <a:pt x="874901" y="1459613"/>
                  <a:pt x="876185" y="1458330"/>
                  <a:pt x="877469" y="1459613"/>
                </a:cubicBezTo>
                <a:cubicBezTo>
                  <a:pt x="878752" y="1459613"/>
                  <a:pt x="880036" y="1459613"/>
                  <a:pt x="881320" y="1459613"/>
                </a:cubicBezTo>
                <a:cubicBezTo>
                  <a:pt x="882604" y="1459613"/>
                  <a:pt x="886456" y="1454479"/>
                  <a:pt x="889023" y="1450628"/>
                </a:cubicBezTo>
                <a:cubicBezTo>
                  <a:pt x="890307" y="1448061"/>
                  <a:pt x="891591" y="1446777"/>
                  <a:pt x="891591" y="1445494"/>
                </a:cubicBezTo>
                <a:cubicBezTo>
                  <a:pt x="891591" y="1442927"/>
                  <a:pt x="890307" y="1442927"/>
                  <a:pt x="890307" y="1441643"/>
                </a:cubicBezTo>
                <a:lnTo>
                  <a:pt x="894159" y="1436509"/>
                </a:lnTo>
                <a:cubicBezTo>
                  <a:pt x="895442" y="1435225"/>
                  <a:pt x="896726" y="1432658"/>
                  <a:pt x="901862" y="1431375"/>
                </a:cubicBezTo>
                <a:lnTo>
                  <a:pt x="904429" y="1426240"/>
                </a:lnTo>
                <a:cubicBezTo>
                  <a:pt x="905713" y="1423673"/>
                  <a:pt x="906997" y="1422389"/>
                  <a:pt x="909564" y="1419822"/>
                </a:cubicBezTo>
                <a:cubicBezTo>
                  <a:pt x="915983" y="1413404"/>
                  <a:pt x="909564" y="1406987"/>
                  <a:pt x="910848" y="1399285"/>
                </a:cubicBezTo>
                <a:cubicBezTo>
                  <a:pt x="910848" y="1395434"/>
                  <a:pt x="915983" y="1392868"/>
                  <a:pt x="919835" y="1390300"/>
                </a:cubicBezTo>
                <a:cubicBezTo>
                  <a:pt x="921119" y="1389016"/>
                  <a:pt x="923686" y="1387733"/>
                  <a:pt x="926254" y="1385166"/>
                </a:cubicBezTo>
                <a:cubicBezTo>
                  <a:pt x="927538" y="1385166"/>
                  <a:pt x="927538" y="1383882"/>
                  <a:pt x="928821" y="1382599"/>
                </a:cubicBezTo>
                <a:cubicBezTo>
                  <a:pt x="932673" y="1381315"/>
                  <a:pt x="937808" y="1378748"/>
                  <a:pt x="941660" y="1377465"/>
                </a:cubicBezTo>
                <a:cubicBezTo>
                  <a:pt x="944227" y="1376181"/>
                  <a:pt x="948079" y="1376181"/>
                  <a:pt x="949363" y="1372330"/>
                </a:cubicBezTo>
                <a:lnTo>
                  <a:pt x="949363" y="1367196"/>
                </a:lnTo>
                <a:cubicBezTo>
                  <a:pt x="949363" y="1364628"/>
                  <a:pt x="950647" y="1363345"/>
                  <a:pt x="951930" y="1362062"/>
                </a:cubicBezTo>
                <a:lnTo>
                  <a:pt x="957066" y="1355644"/>
                </a:lnTo>
                <a:cubicBezTo>
                  <a:pt x="958350" y="1353077"/>
                  <a:pt x="958350" y="1351793"/>
                  <a:pt x="958350" y="1347942"/>
                </a:cubicBezTo>
                <a:cubicBezTo>
                  <a:pt x="957066" y="1346659"/>
                  <a:pt x="958350" y="1345375"/>
                  <a:pt x="959633" y="1342808"/>
                </a:cubicBezTo>
                <a:cubicBezTo>
                  <a:pt x="960917" y="1340241"/>
                  <a:pt x="960917" y="1336390"/>
                  <a:pt x="960917" y="1333823"/>
                </a:cubicBezTo>
                <a:cubicBezTo>
                  <a:pt x="960917" y="1329972"/>
                  <a:pt x="958350" y="1327405"/>
                  <a:pt x="958350" y="1323554"/>
                </a:cubicBezTo>
                <a:cubicBezTo>
                  <a:pt x="958350" y="1320987"/>
                  <a:pt x="958350" y="1319704"/>
                  <a:pt x="959633" y="1317136"/>
                </a:cubicBezTo>
                <a:cubicBezTo>
                  <a:pt x="960917" y="1315853"/>
                  <a:pt x="962201" y="1313286"/>
                  <a:pt x="963485" y="1312002"/>
                </a:cubicBezTo>
                <a:cubicBezTo>
                  <a:pt x="964769" y="1312002"/>
                  <a:pt x="966053" y="1312002"/>
                  <a:pt x="968620" y="1310718"/>
                </a:cubicBezTo>
                <a:cubicBezTo>
                  <a:pt x="969904" y="1308151"/>
                  <a:pt x="971188" y="1305584"/>
                  <a:pt x="972472" y="1301733"/>
                </a:cubicBezTo>
                <a:cubicBezTo>
                  <a:pt x="973756" y="1300450"/>
                  <a:pt x="973756" y="1299166"/>
                  <a:pt x="975039" y="1297883"/>
                </a:cubicBezTo>
                <a:cubicBezTo>
                  <a:pt x="975039" y="1296599"/>
                  <a:pt x="976323" y="1295316"/>
                  <a:pt x="977607" y="1295316"/>
                </a:cubicBezTo>
                <a:cubicBezTo>
                  <a:pt x="980175" y="1294032"/>
                  <a:pt x="981459" y="1291465"/>
                  <a:pt x="982742" y="1290181"/>
                </a:cubicBezTo>
                <a:cubicBezTo>
                  <a:pt x="984026" y="1286330"/>
                  <a:pt x="985310" y="1281197"/>
                  <a:pt x="984026" y="1276062"/>
                </a:cubicBezTo>
                <a:lnTo>
                  <a:pt x="981459" y="1270928"/>
                </a:lnTo>
                <a:cubicBezTo>
                  <a:pt x="980175" y="1268360"/>
                  <a:pt x="977607" y="1267077"/>
                  <a:pt x="976323" y="1265794"/>
                </a:cubicBezTo>
                <a:cubicBezTo>
                  <a:pt x="972472" y="1263226"/>
                  <a:pt x="968620" y="1259376"/>
                  <a:pt x="964769" y="1256809"/>
                </a:cubicBezTo>
                <a:cubicBezTo>
                  <a:pt x="960917" y="1254241"/>
                  <a:pt x="957066" y="1252957"/>
                  <a:pt x="953214" y="1251674"/>
                </a:cubicBezTo>
                <a:cubicBezTo>
                  <a:pt x="950647" y="1251674"/>
                  <a:pt x="946795" y="1251674"/>
                  <a:pt x="944227" y="1251674"/>
                </a:cubicBezTo>
                <a:cubicBezTo>
                  <a:pt x="940376" y="1250391"/>
                  <a:pt x="936524" y="1249107"/>
                  <a:pt x="933957" y="1245256"/>
                </a:cubicBezTo>
                <a:cubicBezTo>
                  <a:pt x="932673" y="1242689"/>
                  <a:pt x="931389" y="1242689"/>
                  <a:pt x="928821" y="1241406"/>
                </a:cubicBezTo>
                <a:cubicBezTo>
                  <a:pt x="926254" y="1240122"/>
                  <a:pt x="924970" y="1237554"/>
                  <a:pt x="922402" y="1237554"/>
                </a:cubicBezTo>
                <a:cubicBezTo>
                  <a:pt x="919835" y="1237554"/>
                  <a:pt x="918551" y="1237554"/>
                  <a:pt x="915983" y="1237554"/>
                </a:cubicBezTo>
                <a:cubicBezTo>
                  <a:pt x="913416" y="1236271"/>
                  <a:pt x="912132" y="1233704"/>
                  <a:pt x="909564" y="1232421"/>
                </a:cubicBezTo>
                <a:cubicBezTo>
                  <a:pt x="905713" y="1229853"/>
                  <a:pt x="903145" y="1226003"/>
                  <a:pt x="901862" y="1222152"/>
                </a:cubicBezTo>
                <a:cubicBezTo>
                  <a:pt x="900578" y="1219585"/>
                  <a:pt x="899294" y="1215734"/>
                  <a:pt x="898010" y="1213167"/>
                </a:cubicBezTo>
                <a:cubicBezTo>
                  <a:pt x="896726" y="1208033"/>
                  <a:pt x="894159" y="1199047"/>
                  <a:pt x="887739" y="1197764"/>
                </a:cubicBezTo>
                <a:cubicBezTo>
                  <a:pt x="885172" y="1196480"/>
                  <a:pt x="882604" y="1193913"/>
                  <a:pt x="880036" y="1192630"/>
                </a:cubicBezTo>
                <a:cubicBezTo>
                  <a:pt x="876185" y="1191346"/>
                  <a:pt x="872333" y="1190062"/>
                  <a:pt x="868482" y="1188779"/>
                </a:cubicBezTo>
                <a:cubicBezTo>
                  <a:pt x="860779" y="1186212"/>
                  <a:pt x="853076" y="1179794"/>
                  <a:pt x="847941" y="1173376"/>
                </a:cubicBezTo>
                <a:cubicBezTo>
                  <a:pt x="846657" y="1170809"/>
                  <a:pt x="844089" y="1166958"/>
                  <a:pt x="841522" y="1165674"/>
                </a:cubicBezTo>
                <a:cubicBezTo>
                  <a:pt x="838954" y="1164391"/>
                  <a:pt x="835103" y="1164391"/>
                  <a:pt x="831251" y="1163107"/>
                </a:cubicBezTo>
                <a:cubicBezTo>
                  <a:pt x="827400" y="1161824"/>
                  <a:pt x="822264" y="1161824"/>
                  <a:pt x="818413" y="1161824"/>
                </a:cubicBezTo>
                <a:cubicBezTo>
                  <a:pt x="814561" y="1161824"/>
                  <a:pt x="809426" y="1163107"/>
                  <a:pt x="805575" y="1161824"/>
                </a:cubicBezTo>
                <a:cubicBezTo>
                  <a:pt x="803007" y="1161824"/>
                  <a:pt x="800439" y="1161824"/>
                  <a:pt x="795304" y="1168242"/>
                </a:cubicBezTo>
                <a:cubicBezTo>
                  <a:pt x="796588" y="1169526"/>
                  <a:pt x="796588" y="1170809"/>
                  <a:pt x="795304" y="1174659"/>
                </a:cubicBezTo>
                <a:cubicBezTo>
                  <a:pt x="792736" y="1175943"/>
                  <a:pt x="791452" y="1173376"/>
                  <a:pt x="790168" y="1170809"/>
                </a:cubicBezTo>
                <a:lnTo>
                  <a:pt x="788885" y="1164391"/>
                </a:lnTo>
                <a:cubicBezTo>
                  <a:pt x="786317" y="1161824"/>
                  <a:pt x="785033" y="1161824"/>
                  <a:pt x="782465" y="1163107"/>
                </a:cubicBezTo>
                <a:cubicBezTo>
                  <a:pt x="779898" y="1164391"/>
                  <a:pt x="777330" y="1165674"/>
                  <a:pt x="776046" y="1168242"/>
                </a:cubicBezTo>
                <a:cubicBezTo>
                  <a:pt x="774763" y="1170809"/>
                  <a:pt x="774763" y="1174659"/>
                  <a:pt x="772195" y="1175943"/>
                </a:cubicBezTo>
                <a:lnTo>
                  <a:pt x="765776" y="1175943"/>
                </a:lnTo>
                <a:cubicBezTo>
                  <a:pt x="763208" y="1174659"/>
                  <a:pt x="760641" y="1172092"/>
                  <a:pt x="758073" y="1170809"/>
                </a:cubicBezTo>
                <a:cubicBezTo>
                  <a:pt x="754222" y="1169526"/>
                  <a:pt x="750370" y="1172092"/>
                  <a:pt x="746519" y="1172092"/>
                </a:cubicBezTo>
                <a:cubicBezTo>
                  <a:pt x="743951" y="1172092"/>
                  <a:pt x="740100" y="1172092"/>
                  <a:pt x="737532" y="1169526"/>
                </a:cubicBezTo>
                <a:cubicBezTo>
                  <a:pt x="736248" y="1166958"/>
                  <a:pt x="736248" y="1163107"/>
                  <a:pt x="736248" y="1160540"/>
                </a:cubicBezTo>
                <a:cubicBezTo>
                  <a:pt x="734964" y="1157973"/>
                  <a:pt x="733680" y="1156689"/>
                  <a:pt x="732397" y="1154123"/>
                </a:cubicBezTo>
                <a:lnTo>
                  <a:pt x="731113" y="1146421"/>
                </a:lnTo>
                <a:cubicBezTo>
                  <a:pt x="731113" y="1141286"/>
                  <a:pt x="732397" y="1137436"/>
                  <a:pt x="729829" y="1132302"/>
                </a:cubicBezTo>
                <a:lnTo>
                  <a:pt x="725977" y="1128451"/>
                </a:lnTo>
                <a:cubicBezTo>
                  <a:pt x="722126" y="1127167"/>
                  <a:pt x="719558" y="1128451"/>
                  <a:pt x="716991" y="1128451"/>
                </a:cubicBezTo>
                <a:cubicBezTo>
                  <a:pt x="714423" y="1129735"/>
                  <a:pt x="711855" y="1129735"/>
                  <a:pt x="709288" y="1129735"/>
                </a:cubicBezTo>
                <a:cubicBezTo>
                  <a:pt x="706720" y="1129735"/>
                  <a:pt x="704152" y="1128451"/>
                  <a:pt x="705436" y="1125883"/>
                </a:cubicBezTo>
                <a:cubicBezTo>
                  <a:pt x="708004" y="1123317"/>
                  <a:pt x="710571" y="1120750"/>
                  <a:pt x="710571" y="1118182"/>
                </a:cubicBezTo>
                <a:cubicBezTo>
                  <a:pt x="711855" y="1115615"/>
                  <a:pt x="710571" y="1115615"/>
                  <a:pt x="710571" y="1111764"/>
                </a:cubicBezTo>
                <a:cubicBezTo>
                  <a:pt x="711855" y="1111764"/>
                  <a:pt x="713139" y="1111764"/>
                  <a:pt x="714423" y="1111764"/>
                </a:cubicBezTo>
                <a:lnTo>
                  <a:pt x="714423" y="1106630"/>
                </a:lnTo>
                <a:lnTo>
                  <a:pt x="715707" y="1101496"/>
                </a:lnTo>
                <a:cubicBezTo>
                  <a:pt x="715707" y="1098929"/>
                  <a:pt x="716991" y="1096362"/>
                  <a:pt x="715707" y="1093794"/>
                </a:cubicBezTo>
                <a:lnTo>
                  <a:pt x="710571" y="1091227"/>
                </a:lnTo>
                <a:cubicBezTo>
                  <a:pt x="706720" y="1091227"/>
                  <a:pt x="702868" y="1093794"/>
                  <a:pt x="700301" y="1096362"/>
                </a:cubicBezTo>
                <a:cubicBezTo>
                  <a:pt x="697733" y="1098929"/>
                  <a:pt x="696449" y="1102779"/>
                  <a:pt x="695165" y="1105347"/>
                </a:cubicBezTo>
                <a:cubicBezTo>
                  <a:pt x="692598" y="1109197"/>
                  <a:pt x="686179" y="1110481"/>
                  <a:pt x="682327" y="1111764"/>
                </a:cubicBezTo>
                <a:cubicBezTo>
                  <a:pt x="679760" y="1111764"/>
                  <a:pt x="677192" y="1113048"/>
                  <a:pt x="674625" y="1113048"/>
                </a:cubicBezTo>
                <a:cubicBezTo>
                  <a:pt x="672057" y="1111764"/>
                  <a:pt x="672057" y="1107914"/>
                  <a:pt x="670773" y="1105347"/>
                </a:cubicBezTo>
                <a:cubicBezTo>
                  <a:pt x="669489" y="1104063"/>
                  <a:pt x="668206" y="1101496"/>
                  <a:pt x="666922" y="1100212"/>
                </a:cubicBezTo>
                <a:cubicBezTo>
                  <a:pt x="663070" y="1096362"/>
                  <a:pt x="661786" y="1088660"/>
                  <a:pt x="661786" y="1083526"/>
                </a:cubicBezTo>
                <a:cubicBezTo>
                  <a:pt x="661786" y="1079675"/>
                  <a:pt x="661786" y="1075824"/>
                  <a:pt x="663070" y="1073257"/>
                </a:cubicBezTo>
                <a:cubicBezTo>
                  <a:pt x="663070" y="1070690"/>
                  <a:pt x="664354" y="1069406"/>
                  <a:pt x="664354" y="1066839"/>
                </a:cubicBezTo>
                <a:cubicBezTo>
                  <a:pt x="664354" y="1064272"/>
                  <a:pt x="664354" y="1061705"/>
                  <a:pt x="664354" y="1057855"/>
                </a:cubicBezTo>
                <a:cubicBezTo>
                  <a:pt x="665638" y="1054003"/>
                  <a:pt x="666922" y="1051436"/>
                  <a:pt x="670773" y="1045018"/>
                </a:cubicBezTo>
                <a:lnTo>
                  <a:pt x="677192" y="1041168"/>
                </a:lnTo>
                <a:cubicBezTo>
                  <a:pt x="681044" y="1039884"/>
                  <a:pt x="686179" y="1036034"/>
                  <a:pt x="690030" y="1037317"/>
                </a:cubicBezTo>
                <a:cubicBezTo>
                  <a:pt x="695165" y="1037317"/>
                  <a:pt x="699017" y="1042452"/>
                  <a:pt x="704152" y="1041168"/>
                </a:cubicBezTo>
                <a:lnTo>
                  <a:pt x="705436" y="1036034"/>
                </a:lnTo>
                <a:lnTo>
                  <a:pt x="714423" y="1032183"/>
                </a:lnTo>
                <a:cubicBezTo>
                  <a:pt x="720842" y="1032183"/>
                  <a:pt x="725977" y="1033467"/>
                  <a:pt x="731113" y="1038600"/>
                </a:cubicBezTo>
                <a:cubicBezTo>
                  <a:pt x="736248" y="1043735"/>
                  <a:pt x="734964" y="1048869"/>
                  <a:pt x="737532" y="1055287"/>
                </a:cubicBezTo>
                <a:cubicBezTo>
                  <a:pt x="738816" y="1059138"/>
                  <a:pt x="741384" y="1064272"/>
                  <a:pt x="746519" y="1065556"/>
                </a:cubicBezTo>
                <a:cubicBezTo>
                  <a:pt x="751654" y="1066839"/>
                  <a:pt x="751654" y="1060421"/>
                  <a:pt x="751654" y="1056571"/>
                </a:cubicBezTo>
                <a:cubicBezTo>
                  <a:pt x="750370" y="1051436"/>
                  <a:pt x="747803" y="1047586"/>
                  <a:pt x="746519" y="1042452"/>
                </a:cubicBezTo>
                <a:cubicBezTo>
                  <a:pt x="743951" y="1037317"/>
                  <a:pt x="743951" y="1032183"/>
                  <a:pt x="746519" y="1027049"/>
                </a:cubicBezTo>
                <a:cubicBezTo>
                  <a:pt x="749087" y="1021914"/>
                  <a:pt x="754222" y="1018064"/>
                  <a:pt x="758073" y="1014212"/>
                </a:cubicBezTo>
                <a:cubicBezTo>
                  <a:pt x="760641" y="1010362"/>
                  <a:pt x="764492" y="1009079"/>
                  <a:pt x="767060" y="1005228"/>
                </a:cubicBezTo>
                <a:cubicBezTo>
                  <a:pt x="768344" y="1002661"/>
                  <a:pt x="769627" y="1000093"/>
                  <a:pt x="769627" y="997526"/>
                </a:cubicBezTo>
                <a:cubicBezTo>
                  <a:pt x="769627" y="996243"/>
                  <a:pt x="768344" y="994959"/>
                  <a:pt x="768344" y="993676"/>
                </a:cubicBezTo>
                <a:cubicBezTo>
                  <a:pt x="768344" y="991108"/>
                  <a:pt x="768344" y="989825"/>
                  <a:pt x="768344" y="988541"/>
                </a:cubicBezTo>
                <a:cubicBezTo>
                  <a:pt x="768344" y="984691"/>
                  <a:pt x="767060" y="980840"/>
                  <a:pt x="768344" y="976989"/>
                </a:cubicBezTo>
                <a:cubicBezTo>
                  <a:pt x="768344" y="975705"/>
                  <a:pt x="770911" y="970571"/>
                  <a:pt x="772195" y="973138"/>
                </a:cubicBezTo>
                <a:cubicBezTo>
                  <a:pt x="773479" y="974422"/>
                  <a:pt x="773479" y="975705"/>
                  <a:pt x="772195" y="976989"/>
                </a:cubicBezTo>
                <a:cubicBezTo>
                  <a:pt x="772195" y="978273"/>
                  <a:pt x="772195" y="979556"/>
                  <a:pt x="773479" y="980840"/>
                </a:cubicBezTo>
                <a:cubicBezTo>
                  <a:pt x="774763" y="982123"/>
                  <a:pt x="777330" y="983407"/>
                  <a:pt x="778614" y="980840"/>
                </a:cubicBezTo>
                <a:lnTo>
                  <a:pt x="778614" y="974422"/>
                </a:lnTo>
                <a:cubicBezTo>
                  <a:pt x="778614" y="973138"/>
                  <a:pt x="778614" y="973138"/>
                  <a:pt x="778614" y="971855"/>
                </a:cubicBezTo>
                <a:cubicBezTo>
                  <a:pt x="779898" y="969288"/>
                  <a:pt x="782465" y="968004"/>
                  <a:pt x="783749" y="966720"/>
                </a:cubicBezTo>
                <a:cubicBezTo>
                  <a:pt x="783749" y="965437"/>
                  <a:pt x="783749" y="964153"/>
                  <a:pt x="785033" y="962870"/>
                </a:cubicBezTo>
                <a:cubicBezTo>
                  <a:pt x="785033" y="961586"/>
                  <a:pt x="786317" y="960303"/>
                  <a:pt x="787601" y="959019"/>
                </a:cubicBezTo>
                <a:cubicBezTo>
                  <a:pt x="791452" y="953885"/>
                  <a:pt x="795304" y="948750"/>
                  <a:pt x="799155" y="943616"/>
                </a:cubicBezTo>
                <a:cubicBezTo>
                  <a:pt x="801723" y="941049"/>
                  <a:pt x="808142" y="935915"/>
                  <a:pt x="811994" y="935915"/>
                </a:cubicBezTo>
                <a:cubicBezTo>
                  <a:pt x="814561" y="934631"/>
                  <a:pt x="817129" y="935915"/>
                  <a:pt x="818413" y="933347"/>
                </a:cubicBezTo>
                <a:cubicBezTo>
                  <a:pt x="819697" y="930781"/>
                  <a:pt x="818413" y="930781"/>
                  <a:pt x="820981" y="929497"/>
                </a:cubicBezTo>
                <a:cubicBezTo>
                  <a:pt x="822264" y="928213"/>
                  <a:pt x="829967" y="925646"/>
                  <a:pt x="829967" y="929497"/>
                </a:cubicBezTo>
                <a:cubicBezTo>
                  <a:pt x="828684" y="930781"/>
                  <a:pt x="827400" y="932064"/>
                  <a:pt x="826116" y="933347"/>
                </a:cubicBezTo>
                <a:cubicBezTo>
                  <a:pt x="824832" y="934631"/>
                  <a:pt x="823548" y="935915"/>
                  <a:pt x="824832" y="938482"/>
                </a:cubicBezTo>
                <a:cubicBezTo>
                  <a:pt x="826116" y="939765"/>
                  <a:pt x="828684" y="941049"/>
                  <a:pt x="831251" y="941049"/>
                </a:cubicBezTo>
                <a:cubicBezTo>
                  <a:pt x="833819" y="941049"/>
                  <a:pt x="835103" y="939765"/>
                  <a:pt x="837670" y="937198"/>
                </a:cubicBezTo>
                <a:cubicBezTo>
                  <a:pt x="838954" y="935915"/>
                  <a:pt x="838954" y="933347"/>
                  <a:pt x="841522" y="932064"/>
                </a:cubicBezTo>
                <a:lnTo>
                  <a:pt x="847941" y="928213"/>
                </a:lnTo>
                <a:cubicBezTo>
                  <a:pt x="850508" y="924363"/>
                  <a:pt x="838954" y="925646"/>
                  <a:pt x="837670" y="925646"/>
                </a:cubicBezTo>
                <a:lnTo>
                  <a:pt x="831251" y="917944"/>
                </a:lnTo>
                <a:cubicBezTo>
                  <a:pt x="829967" y="914094"/>
                  <a:pt x="831251" y="911527"/>
                  <a:pt x="828684" y="910243"/>
                </a:cubicBezTo>
                <a:cubicBezTo>
                  <a:pt x="827400" y="908960"/>
                  <a:pt x="826116" y="908960"/>
                  <a:pt x="826116" y="905109"/>
                </a:cubicBezTo>
                <a:cubicBezTo>
                  <a:pt x="827400" y="903825"/>
                  <a:pt x="828684" y="905109"/>
                  <a:pt x="829967" y="903825"/>
                </a:cubicBezTo>
                <a:cubicBezTo>
                  <a:pt x="831251" y="902541"/>
                  <a:pt x="832535" y="901258"/>
                  <a:pt x="831251" y="898691"/>
                </a:cubicBezTo>
                <a:cubicBezTo>
                  <a:pt x="829967" y="894840"/>
                  <a:pt x="826116" y="894840"/>
                  <a:pt x="822264" y="896124"/>
                </a:cubicBezTo>
                <a:lnTo>
                  <a:pt x="818413" y="897408"/>
                </a:lnTo>
                <a:cubicBezTo>
                  <a:pt x="815845" y="898691"/>
                  <a:pt x="811994" y="901258"/>
                  <a:pt x="809426" y="903825"/>
                </a:cubicBezTo>
                <a:cubicBezTo>
                  <a:pt x="809426" y="905109"/>
                  <a:pt x="808142" y="906393"/>
                  <a:pt x="806858" y="906393"/>
                </a:cubicBezTo>
                <a:lnTo>
                  <a:pt x="808142" y="901258"/>
                </a:lnTo>
                <a:cubicBezTo>
                  <a:pt x="809426" y="899975"/>
                  <a:pt x="810710" y="897408"/>
                  <a:pt x="811994" y="896124"/>
                </a:cubicBezTo>
                <a:cubicBezTo>
                  <a:pt x="815845" y="892273"/>
                  <a:pt x="819697" y="889706"/>
                  <a:pt x="823548" y="889706"/>
                </a:cubicBezTo>
                <a:cubicBezTo>
                  <a:pt x="826116" y="888422"/>
                  <a:pt x="827400" y="888422"/>
                  <a:pt x="828684" y="888422"/>
                </a:cubicBezTo>
                <a:cubicBezTo>
                  <a:pt x="833819" y="888422"/>
                  <a:pt x="837670" y="889706"/>
                  <a:pt x="841522" y="888422"/>
                </a:cubicBezTo>
                <a:cubicBezTo>
                  <a:pt x="845373" y="888422"/>
                  <a:pt x="849224" y="889706"/>
                  <a:pt x="851792" y="888422"/>
                </a:cubicBezTo>
                <a:cubicBezTo>
                  <a:pt x="853076" y="888422"/>
                  <a:pt x="854360" y="887139"/>
                  <a:pt x="855643" y="887139"/>
                </a:cubicBezTo>
                <a:cubicBezTo>
                  <a:pt x="858211" y="885855"/>
                  <a:pt x="859495" y="884572"/>
                  <a:pt x="860779" y="883288"/>
                </a:cubicBezTo>
                <a:cubicBezTo>
                  <a:pt x="863346" y="882005"/>
                  <a:pt x="862063" y="879437"/>
                  <a:pt x="863346" y="878154"/>
                </a:cubicBezTo>
                <a:cubicBezTo>
                  <a:pt x="867198" y="873020"/>
                  <a:pt x="873617" y="879437"/>
                  <a:pt x="877469" y="875587"/>
                </a:cubicBezTo>
                <a:cubicBezTo>
                  <a:pt x="880036" y="874303"/>
                  <a:pt x="881320" y="870452"/>
                  <a:pt x="881320" y="867885"/>
                </a:cubicBezTo>
                <a:cubicBezTo>
                  <a:pt x="880036" y="865318"/>
                  <a:pt x="878752" y="865318"/>
                  <a:pt x="877469" y="864034"/>
                </a:cubicBezTo>
                <a:cubicBezTo>
                  <a:pt x="874901" y="864034"/>
                  <a:pt x="874901" y="862751"/>
                  <a:pt x="872333" y="862751"/>
                </a:cubicBezTo>
                <a:cubicBezTo>
                  <a:pt x="871049" y="862751"/>
                  <a:pt x="869766" y="864034"/>
                  <a:pt x="868482" y="864034"/>
                </a:cubicBezTo>
                <a:cubicBezTo>
                  <a:pt x="864630" y="866602"/>
                  <a:pt x="862063" y="867885"/>
                  <a:pt x="859495" y="867885"/>
                </a:cubicBezTo>
                <a:cubicBezTo>
                  <a:pt x="856927" y="867885"/>
                  <a:pt x="854360" y="865318"/>
                  <a:pt x="855643" y="862751"/>
                </a:cubicBezTo>
                <a:cubicBezTo>
                  <a:pt x="855643" y="860184"/>
                  <a:pt x="859495" y="860184"/>
                  <a:pt x="860779" y="857617"/>
                </a:cubicBezTo>
                <a:cubicBezTo>
                  <a:pt x="863346" y="856333"/>
                  <a:pt x="864630" y="853766"/>
                  <a:pt x="862063" y="852482"/>
                </a:cubicBezTo>
                <a:cubicBezTo>
                  <a:pt x="859495" y="851199"/>
                  <a:pt x="855643" y="851199"/>
                  <a:pt x="853076" y="851199"/>
                </a:cubicBezTo>
                <a:cubicBezTo>
                  <a:pt x="847941" y="849915"/>
                  <a:pt x="849224" y="847348"/>
                  <a:pt x="849224" y="844781"/>
                </a:cubicBezTo>
                <a:cubicBezTo>
                  <a:pt x="849224" y="843497"/>
                  <a:pt x="849224" y="842214"/>
                  <a:pt x="849224" y="840930"/>
                </a:cubicBezTo>
                <a:cubicBezTo>
                  <a:pt x="847941" y="838363"/>
                  <a:pt x="846657" y="837079"/>
                  <a:pt x="846657" y="835796"/>
                </a:cubicBezTo>
                <a:cubicBezTo>
                  <a:pt x="846657" y="833229"/>
                  <a:pt x="846657" y="831945"/>
                  <a:pt x="845373" y="829378"/>
                </a:cubicBezTo>
                <a:cubicBezTo>
                  <a:pt x="845373" y="826811"/>
                  <a:pt x="845373" y="825527"/>
                  <a:pt x="844089" y="824244"/>
                </a:cubicBezTo>
                <a:cubicBezTo>
                  <a:pt x="842805" y="821676"/>
                  <a:pt x="838954" y="820393"/>
                  <a:pt x="837670" y="817826"/>
                </a:cubicBezTo>
                <a:cubicBezTo>
                  <a:pt x="835103" y="815258"/>
                  <a:pt x="836386" y="813975"/>
                  <a:pt x="835103" y="811408"/>
                </a:cubicBezTo>
                <a:cubicBezTo>
                  <a:pt x="833819" y="808841"/>
                  <a:pt x="831251" y="806273"/>
                  <a:pt x="828684" y="808841"/>
                </a:cubicBezTo>
                <a:cubicBezTo>
                  <a:pt x="827400" y="810125"/>
                  <a:pt x="826116" y="812692"/>
                  <a:pt x="824832" y="813975"/>
                </a:cubicBezTo>
                <a:cubicBezTo>
                  <a:pt x="822264" y="817826"/>
                  <a:pt x="817129" y="817826"/>
                  <a:pt x="813278" y="816542"/>
                </a:cubicBezTo>
                <a:cubicBezTo>
                  <a:pt x="809426" y="815258"/>
                  <a:pt x="806858" y="811408"/>
                  <a:pt x="805575" y="807557"/>
                </a:cubicBezTo>
                <a:cubicBezTo>
                  <a:pt x="805575" y="803707"/>
                  <a:pt x="805575" y="799856"/>
                  <a:pt x="801723" y="797289"/>
                </a:cubicBezTo>
                <a:cubicBezTo>
                  <a:pt x="799155" y="794722"/>
                  <a:pt x="795304" y="793438"/>
                  <a:pt x="791452" y="790870"/>
                </a:cubicBezTo>
                <a:cubicBezTo>
                  <a:pt x="790168" y="788304"/>
                  <a:pt x="787601" y="785737"/>
                  <a:pt x="785033" y="784453"/>
                </a:cubicBezTo>
                <a:cubicBezTo>
                  <a:pt x="781182" y="784453"/>
                  <a:pt x="777330" y="785737"/>
                  <a:pt x="774763" y="788304"/>
                </a:cubicBezTo>
                <a:cubicBezTo>
                  <a:pt x="772195" y="789587"/>
                  <a:pt x="768344" y="788304"/>
                  <a:pt x="765776" y="789587"/>
                </a:cubicBezTo>
                <a:cubicBezTo>
                  <a:pt x="760641" y="790870"/>
                  <a:pt x="764492" y="797289"/>
                  <a:pt x="763208" y="801139"/>
                </a:cubicBezTo>
                <a:cubicBezTo>
                  <a:pt x="763208" y="802423"/>
                  <a:pt x="761925" y="802423"/>
                  <a:pt x="761925" y="803707"/>
                </a:cubicBezTo>
                <a:cubicBezTo>
                  <a:pt x="763208" y="804990"/>
                  <a:pt x="763208" y="804990"/>
                  <a:pt x="764492" y="806273"/>
                </a:cubicBezTo>
                <a:lnTo>
                  <a:pt x="761925" y="811408"/>
                </a:lnTo>
                <a:lnTo>
                  <a:pt x="756789" y="816542"/>
                </a:lnTo>
                <a:cubicBezTo>
                  <a:pt x="756789" y="820393"/>
                  <a:pt x="761925" y="820393"/>
                  <a:pt x="763208" y="822960"/>
                </a:cubicBezTo>
                <a:cubicBezTo>
                  <a:pt x="764492" y="824244"/>
                  <a:pt x="764492" y="825527"/>
                  <a:pt x="765776" y="828094"/>
                </a:cubicBezTo>
                <a:lnTo>
                  <a:pt x="768344" y="834513"/>
                </a:lnTo>
                <a:lnTo>
                  <a:pt x="768344" y="842214"/>
                </a:lnTo>
                <a:lnTo>
                  <a:pt x="764492" y="848632"/>
                </a:lnTo>
                <a:cubicBezTo>
                  <a:pt x="761925" y="849915"/>
                  <a:pt x="759357" y="851199"/>
                  <a:pt x="758073" y="853766"/>
                </a:cubicBezTo>
                <a:cubicBezTo>
                  <a:pt x="755506" y="856333"/>
                  <a:pt x="756789" y="860184"/>
                  <a:pt x="758073" y="862751"/>
                </a:cubicBezTo>
                <a:lnTo>
                  <a:pt x="756789" y="870452"/>
                </a:lnTo>
                <a:cubicBezTo>
                  <a:pt x="754222" y="873020"/>
                  <a:pt x="750370" y="874303"/>
                  <a:pt x="747803" y="873020"/>
                </a:cubicBezTo>
                <a:cubicBezTo>
                  <a:pt x="745235" y="873020"/>
                  <a:pt x="742667" y="867885"/>
                  <a:pt x="742667" y="864034"/>
                </a:cubicBezTo>
                <a:lnTo>
                  <a:pt x="740100" y="851199"/>
                </a:lnTo>
                <a:cubicBezTo>
                  <a:pt x="737532" y="848632"/>
                  <a:pt x="732397" y="848632"/>
                  <a:pt x="728545" y="847348"/>
                </a:cubicBezTo>
                <a:cubicBezTo>
                  <a:pt x="723410" y="847348"/>
                  <a:pt x="719558" y="843497"/>
                  <a:pt x="715707" y="840930"/>
                </a:cubicBezTo>
                <a:cubicBezTo>
                  <a:pt x="713139" y="839646"/>
                  <a:pt x="711855" y="837079"/>
                  <a:pt x="709288" y="837079"/>
                </a:cubicBezTo>
                <a:cubicBezTo>
                  <a:pt x="706720" y="835796"/>
                  <a:pt x="702868" y="834513"/>
                  <a:pt x="700301" y="834513"/>
                </a:cubicBezTo>
                <a:cubicBezTo>
                  <a:pt x="693882" y="833229"/>
                  <a:pt x="686179" y="828094"/>
                  <a:pt x="684895" y="821676"/>
                </a:cubicBezTo>
                <a:cubicBezTo>
                  <a:pt x="683611" y="817826"/>
                  <a:pt x="681044" y="815258"/>
                  <a:pt x="678476" y="811408"/>
                </a:cubicBezTo>
                <a:lnTo>
                  <a:pt x="680631" y="800639"/>
                </a:lnTo>
                <a:lnTo>
                  <a:pt x="687957" y="791759"/>
                </a:lnTo>
                <a:cubicBezTo>
                  <a:pt x="690227" y="790498"/>
                  <a:pt x="691504" y="788209"/>
                  <a:pt x="693882" y="787020"/>
                </a:cubicBezTo>
                <a:lnTo>
                  <a:pt x="694661" y="785073"/>
                </a:lnTo>
                <a:lnTo>
                  <a:pt x="705598" y="776049"/>
                </a:lnTo>
                <a:cubicBezTo>
                  <a:pt x="707144" y="775327"/>
                  <a:pt x="708858" y="774755"/>
                  <a:pt x="710571" y="774184"/>
                </a:cubicBezTo>
                <a:cubicBezTo>
                  <a:pt x="711855" y="772901"/>
                  <a:pt x="713139" y="772901"/>
                  <a:pt x="713139" y="771617"/>
                </a:cubicBezTo>
                <a:lnTo>
                  <a:pt x="712768" y="770133"/>
                </a:lnTo>
                <a:lnTo>
                  <a:pt x="730336" y="755638"/>
                </a:lnTo>
                <a:lnTo>
                  <a:pt x="737532" y="752363"/>
                </a:lnTo>
                <a:cubicBezTo>
                  <a:pt x="741384" y="751080"/>
                  <a:pt x="743951" y="749796"/>
                  <a:pt x="747803" y="749796"/>
                </a:cubicBezTo>
                <a:cubicBezTo>
                  <a:pt x="750370" y="748513"/>
                  <a:pt x="751654" y="747229"/>
                  <a:pt x="750370" y="744662"/>
                </a:cubicBezTo>
                <a:cubicBezTo>
                  <a:pt x="750370" y="742664"/>
                  <a:pt x="749679" y="741703"/>
                  <a:pt x="748668" y="740513"/>
                </a:cubicBezTo>
                <a:cubicBezTo>
                  <a:pt x="757366" y="733451"/>
                  <a:pt x="766760" y="727349"/>
                  <a:pt x="777261" y="723065"/>
                </a:cubicBezTo>
                <a:cubicBezTo>
                  <a:pt x="783363" y="727046"/>
                  <a:pt x="787824" y="733460"/>
                  <a:pt x="788700" y="740472"/>
                </a:cubicBezTo>
                <a:cubicBezTo>
                  <a:pt x="789983" y="745610"/>
                  <a:pt x="787416" y="750749"/>
                  <a:pt x="786132" y="754603"/>
                </a:cubicBezTo>
                <a:lnTo>
                  <a:pt x="786132" y="762310"/>
                </a:lnTo>
                <a:cubicBezTo>
                  <a:pt x="786132" y="764880"/>
                  <a:pt x="783564" y="767449"/>
                  <a:pt x="780997" y="768734"/>
                </a:cubicBezTo>
                <a:lnTo>
                  <a:pt x="770726" y="770019"/>
                </a:lnTo>
                <a:cubicBezTo>
                  <a:pt x="768159" y="770019"/>
                  <a:pt x="764307" y="768734"/>
                  <a:pt x="761740" y="770019"/>
                </a:cubicBezTo>
                <a:cubicBezTo>
                  <a:pt x="759172" y="772588"/>
                  <a:pt x="761740" y="777727"/>
                  <a:pt x="764307" y="779011"/>
                </a:cubicBezTo>
                <a:cubicBezTo>
                  <a:pt x="769443" y="782865"/>
                  <a:pt x="778429" y="775157"/>
                  <a:pt x="783564" y="779011"/>
                </a:cubicBezTo>
                <a:cubicBezTo>
                  <a:pt x="786132" y="780296"/>
                  <a:pt x="787416" y="782865"/>
                  <a:pt x="789983" y="784150"/>
                </a:cubicBezTo>
                <a:cubicBezTo>
                  <a:pt x="792551" y="785434"/>
                  <a:pt x="793835" y="786719"/>
                  <a:pt x="795119" y="786719"/>
                </a:cubicBezTo>
                <a:cubicBezTo>
                  <a:pt x="798970" y="788004"/>
                  <a:pt x="801538" y="786719"/>
                  <a:pt x="805389" y="786719"/>
                </a:cubicBezTo>
                <a:cubicBezTo>
                  <a:pt x="807957" y="786719"/>
                  <a:pt x="811808" y="786719"/>
                  <a:pt x="814376" y="788004"/>
                </a:cubicBezTo>
                <a:cubicBezTo>
                  <a:pt x="815660" y="789288"/>
                  <a:pt x="818227" y="789288"/>
                  <a:pt x="820795" y="790573"/>
                </a:cubicBezTo>
                <a:cubicBezTo>
                  <a:pt x="822079" y="790573"/>
                  <a:pt x="823362" y="790573"/>
                  <a:pt x="823362" y="788004"/>
                </a:cubicBezTo>
                <a:lnTo>
                  <a:pt x="819511" y="785434"/>
                </a:lnTo>
                <a:cubicBezTo>
                  <a:pt x="816943" y="784150"/>
                  <a:pt x="809240" y="782865"/>
                  <a:pt x="810524" y="779011"/>
                </a:cubicBezTo>
                <a:cubicBezTo>
                  <a:pt x="811808" y="776442"/>
                  <a:pt x="814376" y="777727"/>
                  <a:pt x="816943" y="777727"/>
                </a:cubicBezTo>
                <a:cubicBezTo>
                  <a:pt x="819511" y="777727"/>
                  <a:pt x="820795" y="776442"/>
                  <a:pt x="823362" y="776442"/>
                </a:cubicBezTo>
                <a:cubicBezTo>
                  <a:pt x="825930" y="775157"/>
                  <a:pt x="828498" y="775157"/>
                  <a:pt x="828498" y="772588"/>
                </a:cubicBezTo>
                <a:lnTo>
                  <a:pt x="824646" y="766165"/>
                </a:lnTo>
                <a:cubicBezTo>
                  <a:pt x="820795" y="764880"/>
                  <a:pt x="814376" y="759741"/>
                  <a:pt x="816943" y="754603"/>
                </a:cubicBezTo>
                <a:cubicBezTo>
                  <a:pt x="818227" y="752033"/>
                  <a:pt x="825930" y="754603"/>
                  <a:pt x="828498" y="755887"/>
                </a:cubicBezTo>
                <a:cubicBezTo>
                  <a:pt x="831065" y="758456"/>
                  <a:pt x="834917" y="762310"/>
                  <a:pt x="838768" y="762310"/>
                </a:cubicBezTo>
                <a:cubicBezTo>
                  <a:pt x="843903" y="762310"/>
                  <a:pt x="847755" y="757172"/>
                  <a:pt x="849039" y="752033"/>
                </a:cubicBezTo>
                <a:cubicBezTo>
                  <a:pt x="851606" y="746895"/>
                  <a:pt x="847755" y="744325"/>
                  <a:pt x="842620" y="744325"/>
                </a:cubicBezTo>
                <a:cubicBezTo>
                  <a:pt x="838768" y="744325"/>
                  <a:pt x="834917" y="744325"/>
                  <a:pt x="829781" y="741756"/>
                </a:cubicBezTo>
                <a:cubicBezTo>
                  <a:pt x="825930" y="740472"/>
                  <a:pt x="822079" y="739187"/>
                  <a:pt x="818227" y="736618"/>
                </a:cubicBezTo>
                <a:cubicBezTo>
                  <a:pt x="814376" y="731479"/>
                  <a:pt x="813092" y="725055"/>
                  <a:pt x="810524" y="719917"/>
                </a:cubicBezTo>
                <a:cubicBezTo>
                  <a:pt x="809240" y="716063"/>
                  <a:pt x="806673" y="712209"/>
                  <a:pt x="804105" y="709640"/>
                </a:cubicBezTo>
                <a:lnTo>
                  <a:pt x="802798" y="709204"/>
                </a:lnTo>
                <a:cubicBezTo>
                  <a:pt x="825545" y="695518"/>
                  <a:pt x="850387" y="685600"/>
                  <a:pt x="876810" y="680004"/>
                </a:cubicBezTo>
                <a:cubicBezTo>
                  <a:pt x="879309" y="684035"/>
                  <a:pt x="881965" y="688245"/>
                  <a:pt x="879970" y="693231"/>
                </a:cubicBezTo>
                <a:cubicBezTo>
                  <a:pt x="878687" y="694514"/>
                  <a:pt x="877404" y="694514"/>
                  <a:pt x="877404" y="695797"/>
                </a:cubicBezTo>
                <a:cubicBezTo>
                  <a:pt x="877404" y="699646"/>
                  <a:pt x="879970" y="699646"/>
                  <a:pt x="882537" y="699646"/>
                </a:cubicBezTo>
                <a:cubicBezTo>
                  <a:pt x="887670" y="699646"/>
                  <a:pt x="895369" y="699646"/>
                  <a:pt x="897936" y="704778"/>
                </a:cubicBezTo>
                <a:lnTo>
                  <a:pt x="896652" y="709910"/>
                </a:lnTo>
                <a:lnTo>
                  <a:pt x="890236" y="708627"/>
                </a:lnTo>
                <a:lnTo>
                  <a:pt x="881254" y="709910"/>
                </a:lnTo>
                <a:cubicBezTo>
                  <a:pt x="879970" y="712476"/>
                  <a:pt x="882537" y="712476"/>
                  <a:pt x="883820" y="713760"/>
                </a:cubicBezTo>
                <a:cubicBezTo>
                  <a:pt x="885104" y="713760"/>
                  <a:pt x="885104" y="715042"/>
                  <a:pt x="886386" y="716326"/>
                </a:cubicBezTo>
                <a:cubicBezTo>
                  <a:pt x="886364" y="716333"/>
                  <a:pt x="881254" y="717612"/>
                  <a:pt x="881254" y="718892"/>
                </a:cubicBezTo>
                <a:cubicBezTo>
                  <a:pt x="881254" y="721458"/>
                  <a:pt x="883820" y="721458"/>
                  <a:pt x="883820" y="724024"/>
                </a:cubicBezTo>
                <a:cubicBezTo>
                  <a:pt x="885104" y="725307"/>
                  <a:pt x="882537" y="725307"/>
                  <a:pt x="882537" y="727873"/>
                </a:cubicBezTo>
                <a:lnTo>
                  <a:pt x="887670" y="730439"/>
                </a:lnTo>
                <a:cubicBezTo>
                  <a:pt x="895369" y="729156"/>
                  <a:pt x="887670" y="720175"/>
                  <a:pt x="890236" y="717608"/>
                </a:cubicBezTo>
                <a:cubicBezTo>
                  <a:pt x="894086" y="713760"/>
                  <a:pt x="905635" y="718892"/>
                  <a:pt x="908201" y="720175"/>
                </a:cubicBezTo>
                <a:cubicBezTo>
                  <a:pt x="912051" y="721458"/>
                  <a:pt x="912051" y="725307"/>
                  <a:pt x="909485" y="727873"/>
                </a:cubicBezTo>
                <a:cubicBezTo>
                  <a:pt x="906918" y="730439"/>
                  <a:pt x="904352" y="730439"/>
                  <a:pt x="903068" y="734288"/>
                </a:cubicBezTo>
                <a:cubicBezTo>
                  <a:pt x="903068" y="736854"/>
                  <a:pt x="901785" y="738138"/>
                  <a:pt x="900502" y="739420"/>
                </a:cubicBezTo>
                <a:cubicBezTo>
                  <a:pt x="896652" y="740704"/>
                  <a:pt x="894086" y="739420"/>
                  <a:pt x="891520" y="740704"/>
                </a:cubicBezTo>
                <a:cubicBezTo>
                  <a:pt x="890236" y="740704"/>
                  <a:pt x="888953" y="741987"/>
                  <a:pt x="887670" y="743270"/>
                </a:cubicBezTo>
                <a:cubicBezTo>
                  <a:pt x="887670" y="745836"/>
                  <a:pt x="888953" y="745836"/>
                  <a:pt x="890236" y="747119"/>
                </a:cubicBezTo>
                <a:lnTo>
                  <a:pt x="890236" y="753534"/>
                </a:lnTo>
                <a:cubicBezTo>
                  <a:pt x="888953" y="754817"/>
                  <a:pt x="888953" y="754817"/>
                  <a:pt x="888953" y="756100"/>
                </a:cubicBezTo>
                <a:cubicBezTo>
                  <a:pt x="888953" y="759949"/>
                  <a:pt x="892803" y="761232"/>
                  <a:pt x="894086" y="763798"/>
                </a:cubicBezTo>
                <a:cubicBezTo>
                  <a:pt x="894086" y="765081"/>
                  <a:pt x="894086" y="766364"/>
                  <a:pt x="895369" y="767647"/>
                </a:cubicBezTo>
                <a:cubicBezTo>
                  <a:pt x="896652" y="770213"/>
                  <a:pt x="896652" y="768930"/>
                  <a:pt x="899219" y="770213"/>
                </a:cubicBezTo>
                <a:cubicBezTo>
                  <a:pt x="900502" y="770213"/>
                  <a:pt x="901785" y="770213"/>
                  <a:pt x="900502" y="772780"/>
                </a:cubicBezTo>
                <a:cubicBezTo>
                  <a:pt x="900502" y="774062"/>
                  <a:pt x="897936" y="772780"/>
                  <a:pt x="897936" y="775346"/>
                </a:cubicBezTo>
                <a:lnTo>
                  <a:pt x="903068" y="780478"/>
                </a:lnTo>
                <a:lnTo>
                  <a:pt x="904352" y="784327"/>
                </a:lnTo>
                <a:cubicBezTo>
                  <a:pt x="905635" y="788176"/>
                  <a:pt x="908201" y="786893"/>
                  <a:pt x="910768" y="788176"/>
                </a:cubicBezTo>
                <a:cubicBezTo>
                  <a:pt x="913334" y="788176"/>
                  <a:pt x="913334" y="792025"/>
                  <a:pt x="914617" y="793308"/>
                </a:cubicBezTo>
                <a:cubicBezTo>
                  <a:pt x="915901" y="797157"/>
                  <a:pt x="918467" y="799723"/>
                  <a:pt x="922317" y="799723"/>
                </a:cubicBezTo>
                <a:cubicBezTo>
                  <a:pt x="924883" y="799723"/>
                  <a:pt x="924883" y="798440"/>
                  <a:pt x="927449" y="799723"/>
                </a:cubicBezTo>
                <a:cubicBezTo>
                  <a:pt x="930016" y="801006"/>
                  <a:pt x="931299" y="802289"/>
                  <a:pt x="933866" y="804855"/>
                </a:cubicBezTo>
                <a:lnTo>
                  <a:pt x="938999" y="807421"/>
                </a:lnTo>
                <a:cubicBezTo>
                  <a:pt x="940282" y="806139"/>
                  <a:pt x="940282" y="804855"/>
                  <a:pt x="940282" y="803573"/>
                </a:cubicBezTo>
                <a:cubicBezTo>
                  <a:pt x="941565" y="802289"/>
                  <a:pt x="942848" y="801006"/>
                  <a:pt x="944132" y="799723"/>
                </a:cubicBezTo>
                <a:lnTo>
                  <a:pt x="944132" y="794591"/>
                </a:lnTo>
                <a:cubicBezTo>
                  <a:pt x="945415" y="792025"/>
                  <a:pt x="946698" y="790742"/>
                  <a:pt x="946698" y="789459"/>
                </a:cubicBezTo>
                <a:cubicBezTo>
                  <a:pt x="947981" y="786893"/>
                  <a:pt x="947981" y="785610"/>
                  <a:pt x="949264" y="783044"/>
                </a:cubicBezTo>
                <a:cubicBezTo>
                  <a:pt x="950548" y="781761"/>
                  <a:pt x="950548" y="781761"/>
                  <a:pt x="951831" y="779194"/>
                </a:cubicBezTo>
                <a:cubicBezTo>
                  <a:pt x="951831" y="776628"/>
                  <a:pt x="949264" y="772780"/>
                  <a:pt x="950548" y="770213"/>
                </a:cubicBezTo>
                <a:lnTo>
                  <a:pt x="958247" y="766364"/>
                </a:lnTo>
                <a:lnTo>
                  <a:pt x="962097" y="762515"/>
                </a:lnTo>
                <a:cubicBezTo>
                  <a:pt x="964663" y="758666"/>
                  <a:pt x="964663" y="757383"/>
                  <a:pt x="968513" y="757383"/>
                </a:cubicBezTo>
                <a:cubicBezTo>
                  <a:pt x="972363" y="757383"/>
                  <a:pt x="974929" y="758666"/>
                  <a:pt x="978779" y="756100"/>
                </a:cubicBezTo>
                <a:cubicBezTo>
                  <a:pt x="982628" y="754817"/>
                  <a:pt x="983911" y="752251"/>
                  <a:pt x="986478" y="749685"/>
                </a:cubicBezTo>
                <a:cubicBezTo>
                  <a:pt x="986478" y="748402"/>
                  <a:pt x="987761" y="747119"/>
                  <a:pt x="989044" y="745836"/>
                </a:cubicBezTo>
                <a:cubicBezTo>
                  <a:pt x="990328" y="744553"/>
                  <a:pt x="992894" y="744553"/>
                  <a:pt x="995460" y="743270"/>
                </a:cubicBezTo>
                <a:cubicBezTo>
                  <a:pt x="996744" y="741987"/>
                  <a:pt x="996744" y="740704"/>
                  <a:pt x="998027" y="739420"/>
                </a:cubicBezTo>
                <a:cubicBezTo>
                  <a:pt x="1000593" y="735572"/>
                  <a:pt x="1007010" y="736854"/>
                  <a:pt x="1010859" y="736854"/>
                </a:cubicBezTo>
                <a:cubicBezTo>
                  <a:pt x="1017275" y="736854"/>
                  <a:pt x="1023691" y="734288"/>
                  <a:pt x="1030107" y="731722"/>
                </a:cubicBezTo>
                <a:lnTo>
                  <a:pt x="1036523" y="726590"/>
                </a:lnTo>
                <a:cubicBezTo>
                  <a:pt x="1037807" y="725307"/>
                  <a:pt x="1040373" y="725307"/>
                  <a:pt x="1042940" y="724024"/>
                </a:cubicBezTo>
                <a:cubicBezTo>
                  <a:pt x="1045506" y="722741"/>
                  <a:pt x="1048072" y="721458"/>
                  <a:pt x="1046790" y="718892"/>
                </a:cubicBezTo>
                <a:cubicBezTo>
                  <a:pt x="1045506" y="715042"/>
                  <a:pt x="1039090" y="717608"/>
                  <a:pt x="1036523" y="716326"/>
                </a:cubicBezTo>
                <a:cubicBezTo>
                  <a:pt x="1033957" y="713760"/>
                  <a:pt x="1035240" y="711194"/>
                  <a:pt x="1033957" y="708627"/>
                </a:cubicBezTo>
                <a:lnTo>
                  <a:pt x="1028824" y="708627"/>
                </a:lnTo>
                <a:cubicBezTo>
                  <a:pt x="1028824" y="706061"/>
                  <a:pt x="1028824" y="706061"/>
                  <a:pt x="1027541" y="704778"/>
                </a:cubicBezTo>
                <a:cubicBezTo>
                  <a:pt x="1027541" y="703495"/>
                  <a:pt x="1024975" y="703495"/>
                  <a:pt x="1024975" y="702212"/>
                </a:cubicBezTo>
                <a:lnTo>
                  <a:pt x="1028824" y="699646"/>
                </a:lnTo>
                <a:lnTo>
                  <a:pt x="1039090" y="702212"/>
                </a:lnTo>
                <a:cubicBezTo>
                  <a:pt x="1040373" y="703495"/>
                  <a:pt x="1042940" y="704778"/>
                  <a:pt x="1044223" y="707344"/>
                </a:cubicBezTo>
                <a:cubicBezTo>
                  <a:pt x="1045506" y="708627"/>
                  <a:pt x="1046790" y="709910"/>
                  <a:pt x="1048072" y="711194"/>
                </a:cubicBezTo>
                <a:cubicBezTo>
                  <a:pt x="1050639" y="711194"/>
                  <a:pt x="1051922" y="711194"/>
                  <a:pt x="1051922" y="708627"/>
                </a:cubicBezTo>
                <a:cubicBezTo>
                  <a:pt x="1051922" y="707344"/>
                  <a:pt x="1050639" y="706061"/>
                  <a:pt x="1049356" y="704778"/>
                </a:cubicBezTo>
                <a:cubicBezTo>
                  <a:pt x="1049356" y="702212"/>
                  <a:pt x="1049356" y="700929"/>
                  <a:pt x="1050639" y="699646"/>
                </a:cubicBezTo>
                <a:cubicBezTo>
                  <a:pt x="1051922" y="697080"/>
                  <a:pt x="1051922" y="693231"/>
                  <a:pt x="1049356" y="690665"/>
                </a:cubicBezTo>
                <a:cubicBezTo>
                  <a:pt x="1048072" y="689382"/>
                  <a:pt x="1045506" y="689382"/>
                  <a:pt x="1046790" y="686816"/>
                </a:cubicBezTo>
                <a:lnTo>
                  <a:pt x="1058338" y="686816"/>
                </a:lnTo>
                <a:cubicBezTo>
                  <a:pt x="1059622" y="685533"/>
                  <a:pt x="1060905" y="685533"/>
                  <a:pt x="1060905" y="684250"/>
                </a:cubicBezTo>
                <a:cubicBezTo>
                  <a:pt x="1060905" y="681684"/>
                  <a:pt x="1059622" y="681684"/>
                  <a:pt x="1057055" y="681684"/>
                </a:cubicBezTo>
                <a:lnTo>
                  <a:pt x="1050639" y="677834"/>
                </a:lnTo>
                <a:cubicBezTo>
                  <a:pt x="1050158" y="673986"/>
                  <a:pt x="1056413" y="673986"/>
                  <a:pt x="1058338" y="673986"/>
                </a:cubicBezTo>
                <a:cubicBezTo>
                  <a:pt x="1059622" y="673986"/>
                  <a:pt x="1064754" y="676552"/>
                  <a:pt x="1064754" y="673986"/>
                </a:cubicBezTo>
                <a:cubicBezTo>
                  <a:pt x="1066038" y="671420"/>
                  <a:pt x="1058338" y="671420"/>
                  <a:pt x="1059622" y="667570"/>
                </a:cubicBezTo>
                <a:close/>
                <a:moveTo>
                  <a:pt x="1065059" y="644628"/>
                </a:moveTo>
                <a:lnTo>
                  <a:pt x="1073323" y="646832"/>
                </a:lnTo>
                <a:lnTo>
                  <a:pt x="1068398" y="646336"/>
                </a:lnTo>
                <a:cubicBezTo>
                  <a:pt x="1068086" y="645834"/>
                  <a:pt x="1067679" y="645759"/>
                  <a:pt x="1067321" y="645759"/>
                </a:cubicBezTo>
                <a:close/>
                <a:moveTo>
                  <a:pt x="999379" y="639378"/>
                </a:moveTo>
                <a:cubicBezTo>
                  <a:pt x="998987" y="639378"/>
                  <a:pt x="998595" y="639379"/>
                  <a:pt x="998203" y="639497"/>
                </a:cubicBezTo>
                <a:cubicBezTo>
                  <a:pt x="971578" y="639464"/>
                  <a:pt x="945496" y="641848"/>
                  <a:pt x="920379" y="647342"/>
                </a:cubicBezTo>
                <a:cubicBezTo>
                  <a:pt x="899534" y="649819"/>
                  <a:pt x="879362" y="654810"/>
                  <a:pt x="860441" y="663193"/>
                </a:cubicBezTo>
                <a:lnTo>
                  <a:pt x="858109" y="661862"/>
                </a:lnTo>
                <a:lnTo>
                  <a:pt x="842130" y="668877"/>
                </a:lnTo>
                <a:cubicBezTo>
                  <a:pt x="825571" y="673228"/>
                  <a:pt x="809995" y="679980"/>
                  <a:pt x="795747" y="689240"/>
                </a:cubicBezTo>
                <a:lnTo>
                  <a:pt x="781029" y="695701"/>
                </a:lnTo>
                <a:lnTo>
                  <a:pt x="782872" y="696228"/>
                </a:lnTo>
                <a:cubicBezTo>
                  <a:pt x="768415" y="701624"/>
                  <a:pt x="755385" y="709559"/>
                  <a:pt x="742864" y="718195"/>
                </a:cubicBezTo>
                <a:lnTo>
                  <a:pt x="742177" y="718057"/>
                </a:lnTo>
                <a:lnTo>
                  <a:pt x="737755" y="721706"/>
                </a:lnTo>
                <a:lnTo>
                  <a:pt x="738227" y="722021"/>
                </a:lnTo>
                <a:lnTo>
                  <a:pt x="724694" y="733187"/>
                </a:lnTo>
                <a:lnTo>
                  <a:pt x="724694" y="733110"/>
                </a:lnTo>
                <a:cubicBezTo>
                  <a:pt x="725977" y="731826"/>
                  <a:pt x="725977" y="730543"/>
                  <a:pt x="727261" y="730543"/>
                </a:cubicBezTo>
                <a:lnTo>
                  <a:pt x="727400" y="730249"/>
                </a:lnTo>
                <a:lnTo>
                  <a:pt x="713121" y="742030"/>
                </a:lnTo>
                <a:cubicBezTo>
                  <a:pt x="713116" y="742059"/>
                  <a:pt x="713127" y="742078"/>
                  <a:pt x="713139" y="742095"/>
                </a:cubicBezTo>
                <a:lnTo>
                  <a:pt x="713482" y="742438"/>
                </a:lnTo>
                <a:cubicBezTo>
                  <a:pt x="608487" y="824638"/>
                  <a:pt x="542179" y="952865"/>
                  <a:pt x="542179" y="1096578"/>
                </a:cubicBezTo>
                <a:cubicBezTo>
                  <a:pt x="542179" y="1349083"/>
                  <a:pt x="746874" y="1553778"/>
                  <a:pt x="999379" y="1553778"/>
                </a:cubicBezTo>
                <a:cubicBezTo>
                  <a:pt x="1162388" y="1553778"/>
                  <a:pt x="1305472" y="1468470"/>
                  <a:pt x="1385427" y="1339435"/>
                </a:cubicBezTo>
                <a:lnTo>
                  <a:pt x="1785689" y="1613205"/>
                </a:lnTo>
                <a:lnTo>
                  <a:pt x="1785689" y="1387583"/>
                </a:lnTo>
                <a:lnTo>
                  <a:pt x="2115709" y="1387583"/>
                </a:lnTo>
                <a:lnTo>
                  <a:pt x="2115709" y="1194193"/>
                </a:lnTo>
                <a:lnTo>
                  <a:pt x="1785689" y="1194193"/>
                </a:lnTo>
                <a:lnTo>
                  <a:pt x="1785689" y="968571"/>
                </a:lnTo>
                <a:lnTo>
                  <a:pt x="1442834" y="1203076"/>
                </a:lnTo>
                <a:cubicBezTo>
                  <a:pt x="1452238" y="1169106"/>
                  <a:pt x="1456579" y="1133349"/>
                  <a:pt x="1456579" y="1096578"/>
                </a:cubicBezTo>
                <a:cubicBezTo>
                  <a:pt x="1456579" y="1012997"/>
                  <a:pt x="1434151" y="934654"/>
                  <a:pt x="1393297" y="868220"/>
                </a:cubicBezTo>
                <a:cubicBezTo>
                  <a:pt x="1393106" y="867646"/>
                  <a:pt x="1392810" y="867132"/>
                  <a:pt x="1392448" y="866656"/>
                </a:cubicBezTo>
                <a:cubicBezTo>
                  <a:pt x="1377647" y="837655"/>
                  <a:pt x="1358306" y="811522"/>
                  <a:pt x="1335388" y="788705"/>
                </a:cubicBezTo>
                <a:cubicBezTo>
                  <a:pt x="1335328" y="788596"/>
                  <a:pt x="1335246" y="788507"/>
                  <a:pt x="1335157" y="788425"/>
                </a:cubicBezTo>
                <a:cubicBezTo>
                  <a:pt x="1296816" y="744516"/>
                  <a:pt x="1249305" y="709147"/>
                  <a:pt x="1195456" y="685139"/>
                </a:cubicBezTo>
                <a:cubicBezTo>
                  <a:pt x="1168878" y="668452"/>
                  <a:pt x="1138908" y="657520"/>
                  <a:pt x="1106711" y="653382"/>
                </a:cubicBezTo>
                <a:cubicBezTo>
                  <a:pt x="1100591" y="650570"/>
                  <a:pt x="1094113" y="649156"/>
                  <a:pt x="1087511" y="648263"/>
                </a:cubicBezTo>
                <a:cubicBezTo>
                  <a:pt x="1079872" y="644257"/>
                  <a:pt x="1071681" y="642933"/>
                  <a:pt x="1063417" y="641838"/>
                </a:cubicBezTo>
                <a:lnTo>
                  <a:pt x="1063471" y="641909"/>
                </a:lnTo>
                <a:cubicBezTo>
                  <a:pt x="1064754" y="643193"/>
                  <a:pt x="1063471" y="643193"/>
                  <a:pt x="1064754" y="644475"/>
                </a:cubicBezTo>
                <a:cubicBezTo>
                  <a:pt x="1064754" y="644540"/>
                  <a:pt x="1064758" y="644601"/>
                  <a:pt x="1065059" y="644628"/>
                </a:cubicBezTo>
                <a:lnTo>
                  <a:pt x="999645" y="639378"/>
                </a:lnTo>
                <a:lnTo>
                  <a:pt x="999499" y="639390"/>
                </a:lnTo>
                <a:close/>
                <a:moveTo>
                  <a:pt x="2420008" y="517582"/>
                </a:moveTo>
                <a:lnTo>
                  <a:pt x="2420242" y="517582"/>
                </a:lnTo>
                <a:lnTo>
                  <a:pt x="2420008" y="518739"/>
                </a:lnTo>
                <a:close/>
                <a:moveTo>
                  <a:pt x="311517" y="382148"/>
                </a:moveTo>
                <a:lnTo>
                  <a:pt x="956736" y="425169"/>
                </a:lnTo>
                <a:lnTo>
                  <a:pt x="956736" y="424822"/>
                </a:lnTo>
                <a:lnTo>
                  <a:pt x="2419502" y="521246"/>
                </a:lnTo>
                <a:lnTo>
                  <a:pt x="2419041" y="523529"/>
                </a:lnTo>
                <a:cubicBezTo>
                  <a:pt x="2457627" y="527513"/>
                  <a:pt x="2492277" y="546825"/>
                  <a:pt x="2489692" y="585709"/>
                </a:cubicBezTo>
                <a:lnTo>
                  <a:pt x="2488840" y="670935"/>
                </a:lnTo>
                <a:lnTo>
                  <a:pt x="2487534" y="671173"/>
                </a:lnTo>
                <a:lnTo>
                  <a:pt x="2421648" y="1671080"/>
                </a:lnTo>
                <a:cubicBezTo>
                  <a:pt x="2408325" y="1707656"/>
                  <a:pt x="2386877" y="1726260"/>
                  <a:pt x="2359534" y="1724079"/>
                </a:cubicBezTo>
                <a:lnTo>
                  <a:pt x="145534" y="1736658"/>
                </a:lnTo>
                <a:cubicBezTo>
                  <a:pt x="174077" y="1308592"/>
                  <a:pt x="202622" y="880528"/>
                  <a:pt x="231160" y="452462"/>
                </a:cubicBezTo>
                <a:cubicBezTo>
                  <a:pt x="233930" y="410856"/>
                  <a:pt x="269910" y="379374"/>
                  <a:pt x="311517" y="382148"/>
                </a:cubicBezTo>
                <a:close/>
                <a:moveTo>
                  <a:pt x="1300253" y="0"/>
                </a:moveTo>
                <a:lnTo>
                  <a:pt x="2203833" y="0"/>
                </a:lnTo>
                <a:cubicBezTo>
                  <a:pt x="2251087" y="0"/>
                  <a:pt x="2290930" y="31720"/>
                  <a:pt x="2301543" y="75508"/>
                </a:cubicBezTo>
                <a:lnTo>
                  <a:pt x="2302960" y="75508"/>
                </a:lnTo>
                <a:lnTo>
                  <a:pt x="2302960" y="153340"/>
                </a:lnTo>
                <a:cubicBezTo>
                  <a:pt x="2302960" y="185560"/>
                  <a:pt x="2322135" y="213304"/>
                  <a:pt x="2349730" y="225539"/>
                </a:cubicBezTo>
                <a:lnTo>
                  <a:pt x="2352691" y="225539"/>
                </a:lnTo>
                <a:cubicBezTo>
                  <a:pt x="2390137" y="225539"/>
                  <a:pt x="2420490" y="255892"/>
                  <a:pt x="2420490" y="293337"/>
                </a:cubicBezTo>
                <a:lnTo>
                  <a:pt x="2420490" y="478155"/>
                </a:lnTo>
                <a:lnTo>
                  <a:pt x="2420008" y="478155"/>
                </a:lnTo>
                <a:lnTo>
                  <a:pt x="2418385" y="478044"/>
                </a:lnTo>
                <a:lnTo>
                  <a:pt x="2418385" y="477489"/>
                </a:lnTo>
                <a:lnTo>
                  <a:pt x="955892" y="376628"/>
                </a:lnTo>
                <a:lnTo>
                  <a:pt x="995936" y="380425"/>
                </a:lnTo>
                <a:lnTo>
                  <a:pt x="953777" y="377532"/>
                </a:lnTo>
                <a:lnTo>
                  <a:pt x="953797" y="377981"/>
                </a:lnTo>
                <a:lnTo>
                  <a:pt x="265757" y="332107"/>
                </a:lnTo>
                <a:cubicBezTo>
                  <a:pt x="221689" y="329168"/>
                  <a:pt x="183585" y="362511"/>
                  <a:pt x="180646" y="406578"/>
                </a:cubicBezTo>
                <a:lnTo>
                  <a:pt x="92708" y="1725472"/>
                </a:lnTo>
                <a:lnTo>
                  <a:pt x="75504" y="1725472"/>
                </a:lnTo>
                <a:cubicBezTo>
                  <a:pt x="33806" y="1725472"/>
                  <a:pt x="0" y="1691667"/>
                  <a:pt x="0" y="1649970"/>
                </a:cubicBezTo>
                <a:lnTo>
                  <a:pt x="4" y="307622"/>
                </a:lnTo>
                <a:cubicBezTo>
                  <a:pt x="0" y="265921"/>
                  <a:pt x="33806" y="232116"/>
                  <a:pt x="75504" y="232116"/>
                </a:cubicBezTo>
                <a:lnTo>
                  <a:pt x="996290" y="232116"/>
                </a:lnTo>
                <a:lnTo>
                  <a:pt x="997952" y="231729"/>
                </a:lnTo>
                <a:lnTo>
                  <a:pt x="1163695" y="231729"/>
                </a:lnTo>
                <a:cubicBezTo>
                  <a:pt x="1186126" y="231729"/>
                  <a:pt x="1204309" y="213546"/>
                  <a:pt x="1204309" y="191115"/>
                </a:cubicBezTo>
                <a:lnTo>
                  <a:pt x="1204309" y="71429"/>
                </a:lnTo>
                <a:cubicBezTo>
                  <a:pt x="1215773" y="29676"/>
                  <a:pt x="1254548" y="0"/>
                  <a:pt x="1300253"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111" fontAlgn="base">
              <a:spcBef>
                <a:spcPct val="0"/>
              </a:spcBef>
              <a:spcAft>
                <a:spcPct val="0"/>
              </a:spcAft>
            </a:pPr>
            <a:endParaRPr lang="en-US" sz="1836" spc="-51"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6" name="Group 15"/>
          <p:cNvGrpSpPr/>
          <p:nvPr>
            <p:custDataLst>
              <p:tags r:id="rId11"/>
            </p:custDataLst>
          </p:nvPr>
        </p:nvGrpSpPr>
        <p:grpSpPr>
          <a:xfrm flipH="1">
            <a:off x="6794931" y="1653812"/>
            <a:ext cx="975338" cy="665719"/>
            <a:chOff x="8369398" y="1851899"/>
            <a:chExt cx="756170" cy="516124"/>
          </a:xfrm>
          <a:solidFill>
            <a:schemeClr val="tx1"/>
          </a:solidFill>
        </p:grpSpPr>
        <p:sp>
          <p:nvSpPr>
            <p:cNvPr id="17" name="Rounded Rectangle 307"/>
            <p:cNvSpPr/>
            <p:nvPr/>
          </p:nvSpPr>
          <p:spPr bwMode="auto">
            <a:xfrm rot="1411326">
              <a:off x="8816737" y="2158724"/>
              <a:ext cx="308831" cy="209299"/>
            </a:xfrm>
            <a:custGeom>
              <a:avLst/>
              <a:gdLst/>
              <a:ahLst/>
              <a:cxnLst/>
              <a:rect l="l" t="t" r="r" b="b"/>
              <a:pathLst>
                <a:path w="308831" h="209299">
                  <a:moveTo>
                    <a:pt x="6932" y="0"/>
                  </a:moveTo>
                  <a:lnTo>
                    <a:pt x="62731" y="5004"/>
                  </a:lnTo>
                  <a:cubicBezTo>
                    <a:pt x="73820" y="4021"/>
                    <a:pt x="83149" y="12888"/>
                    <a:pt x="85697" y="24169"/>
                  </a:cubicBezTo>
                  <a:lnTo>
                    <a:pt x="85452" y="33272"/>
                  </a:lnTo>
                  <a:cubicBezTo>
                    <a:pt x="85954" y="32635"/>
                    <a:pt x="86485" y="32624"/>
                    <a:pt x="87017" y="32624"/>
                  </a:cubicBezTo>
                  <a:lnTo>
                    <a:pt x="270296" y="32624"/>
                  </a:lnTo>
                  <a:cubicBezTo>
                    <a:pt x="291578" y="32624"/>
                    <a:pt x="308831" y="49877"/>
                    <a:pt x="308831" y="71159"/>
                  </a:cubicBezTo>
                  <a:lnTo>
                    <a:pt x="308831" y="146071"/>
                  </a:lnTo>
                  <a:cubicBezTo>
                    <a:pt x="308831" y="167353"/>
                    <a:pt x="291578" y="184606"/>
                    <a:pt x="270296" y="184606"/>
                  </a:cubicBezTo>
                  <a:lnTo>
                    <a:pt x="87017" y="184606"/>
                  </a:lnTo>
                  <a:lnTo>
                    <a:pt x="81440" y="182295"/>
                  </a:lnTo>
                  <a:lnTo>
                    <a:pt x="81438" y="182371"/>
                  </a:lnTo>
                  <a:cubicBezTo>
                    <a:pt x="82699" y="196467"/>
                    <a:pt x="69880" y="211811"/>
                    <a:pt x="54012" y="208953"/>
                  </a:cubicBezTo>
                  <a:lnTo>
                    <a:pt x="0" y="208054"/>
                  </a:lnTo>
                  <a:cubicBezTo>
                    <a:pt x="11559" y="178614"/>
                    <a:pt x="19544" y="140965"/>
                    <a:pt x="23432" y="105100"/>
                  </a:cubicBezTo>
                  <a:cubicBezTo>
                    <a:pt x="23221" y="71020"/>
                    <a:pt x="17126" y="34619"/>
                    <a:pt x="693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80"/>
              <a:endParaRPr lang="en-US" sz="1836" dirty="0" err="1">
                <a:ln>
                  <a:solidFill>
                    <a:srgbClr val="FFFFFF">
                      <a:alpha val="0"/>
                    </a:srgbClr>
                  </a:solidFill>
                </a:ln>
                <a:solidFill>
                  <a:srgbClr val="FFFFFF"/>
                </a:solidFill>
              </a:endParaRPr>
            </a:p>
          </p:txBody>
        </p:sp>
        <p:sp>
          <p:nvSpPr>
            <p:cNvPr id="18" name="Oval 247"/>
            <p:cNvSpPr/>
            <p:nvPr/>
          </p:nvSpPr>
          <p:spPr bwMode="auto">
            <a:xfrm>
              <a:off x="8369398" y="1851899"/>
              <a:ext cx="482863" cy="482862"/>
            </a:xfrm>
            <a:custGeom>
              <a:avLst/>
              <a:gdLst/>
              <a:ahLst/>
              <a:cxnLst/>
              <a:rect l="l" t="t" r="r" b="b"/>
              <a:pathLst>
                <a:path w="573170" h="573170">
                  <a:moveTo>
                    <a:pt x="286585" y="47056"/>
                  </a:moveTo>
                  <a:cubicBezTo>
                    <a:pt x="154297" y="47056"/>
                    <a:pt x="47056" y="154297"/>
                    <a:pt x="47056" y="286585"/>
                  </a:cubicBezTo>
                  <a:cubicBezTo>
                    <a:pt x="47056" y="418873"/>
                    <a:pt x="154297" y="526114"/>
                    <a:pt x="286585" y="526114"/>
                  </a:cubicBezTo>
                  <a:cubicBezTo>
                    <a:pt x="418873" y="526114"/>
                    <a:pt x="526114" y="418873"/>
                    <a:pt x="526114" y="286585"/>
                  </a:cubicBezTo>
                  <a:cubicBezTo>
                    <a:pt x="526114" y="154297"/>
                    <a:pt x="418873" y="47056"/>
                    <a:pt x="286585" y="47056"/>
                  </a:cubicBezTo>
                  <a:close/>
                  <a:moveTo>
                    <a:pt x="286585" y="0"/>
                  </a:moveTo>
                  <a:cubicBezTo>
                    <a:pt x="444862" y="0"/>
                    <a:pt x="573170" y="128308"/>
                    <a:pt x="573170" y="286585"/>
                  </a:cubicBezTo>
                  <a:cubicBezTo>
                    <a:pt x="573170" y="444862"/>
                    <a:pt x="444862" y="573170"/>
                    <a:pt x="286585" y="573170"/>
                  </a:cubicBezTo>
                  <a:cubicBezTo>
                    <a:pt x="128308" y="573170"/>
                    <a:pt x="0" y="444862"/>
                    <a:pt x="0" y="286585"/>
                  </a:cubicBezTo>
                  <a:cubicBezTo>
                    <a:pt x="0" y="128308"/>
                    <a:pt x="128308" y="0"/>
                    <a:pt x="28658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80"/>
              <a:endParaRPr lang="en-US" sz="1836" dirty="0" err="1">
                <a:ln>
                  <a:solidFill>
                    <a:srgbClr val="FFFFFF">
                      <a:alpha val="0"/>
                    </a:srgbClr>
                  </a:solidFill>
                </a:ln>
                <a:solidFill>
                  <a:srgbClr val="FFFFFF"/>
                </a:solidFill>
              </a:endParaRPr>
            </a:p>
          </p:txBody>
        </p:sp>
        <p:sp>
          <p:nvSpPr>
            <p:cNvPr id="19" name="Freeform 257"/>
            <p:cNvSpPr>
              <a:spLocks/>
            </p:cNvSpPr>
            <p:nvPr/>
          </p:nvSpPr>
          <p:spPr bwMode="black">
            <a:xfrm>
              <a:off x="8477432" y="1892946"/>
              <a:ext cx="187186" cy="125197"/>
            </a:xfrm>
            <a:custGeom>
              <a:avLst/>
              <a:gdLst>
                <a:gd name="T0" fmla="*/ 39 w 42"/>
                <a:gd name="T1" fmla="*/ 7 h 28"/>
                <a:gd name="T2" fmla="*/ 39 w 42"/>
                <a:gd name="T3" fmla="*/ 7 h 28"/>
                <a:gd name="T4" fmla="*/ 1 w 42"/>
                <a:gd name="T5" fmla="*/ 20 h 28"/>
                <a:gd name="T6" fmla="*/ 3 w 42"/>
                <a:gd name="T7" fmla="*/ 27 h 28"/>
                <a:gd name="T8" fmla="*/ 10 w 42"/>
                <a:gd name="T9" fmla="*/ 24 h 28"/>
                <a:gd name="T10" fmla="*/ 35 w 42"/>
                <a:gd name="T11" fmla="*/ 15 h 28"/>
                <a:gd name="T12" fmla="*/ 41 w 42"/>
                <a:gd name="T13" fmla="*/ 13 h 28"/>
                <a:gd name="T14" fmla="*/ 39 w 42"/>
                <a:gd name="T15" fmla="*/ 7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8">
                  <a:moveTo>
                    <a:pt x="39" y="7"/>
                  </a:moveTo>
                  <a:cubicBezTo>
                    <a:pt x="39" y="7"/>
                    <a:pt x="39" y="7"/>
                    <a:pt x="39" y="7"/>
                  </a:cubicBezTo>
                  <a:cubicBezTo>
                    <a:pt x="25" y="0"/>
                    <a:pt x="8" y="6"/>
                    <a:pt x="1" y="20"/>
                  </a:cubicBezTo>
                  <a:cubicBezTo>
                    <a:pt x="0" y="23"/>
                    <a:pt x="1" y="25"/>
                    <a:pt x="3" y="27"/>
                  </a:cubicBezTo>
                  <a:cubicBezTo>
                    <a:pt x="6" y="28"/>
                    <a:pt x="8" y="27"/>
                    <a:pt x="10" y="24"/>
                  </a:cubicBezTo>
                  <a:cubicBezTo>
                    <a:pt x="14" y="15"/>
                    <a:pt x="25" y="11"/>
                    <a:pt x="35" y="15"/>
                  </a:cubicBezTo>
                  <a:cubicBezTo>
                    <a:pt x="37" y="16"/>
                    <a:pt x="40" y="15"/>
                    <a:pt x="41" y="13"/>
                  </a:cubicBezTo>
                  <a:cubicBezTo>
                    <a:pt x="42" y="11"/>
                    <a:pt x="41" y="8"/>
                    <a:pt x="39"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380"/>
              <a:endParaRPr lang="en-US" sz="1632">
                <a:ln>
                  <a:solidFill>
                    <a:srgbClr val="FFFFFF">
                      <a:alpha val="0"/>
                    </a:srgbClr>
                  </a:solidFill>
                </a:ln>
                <a:solidFill>
                  <a:srgbClr val="FFFFFF"/>
                </a:solidFill>
              </a:endParaRPr>
            </a:p>
          </p:txBody>
        </p:sp>
        <p:grpSp>
          <p:nvGrpSpPr>
            <p:cNvPr id="20" name="Group 19"/>
            <p:cNvGrpSpPr/>
            <p:nvPr/>
          </p:nvGrpSpPr>
          <p:grpSpPr bwMode="black">
            <a:xfrm>
              <a:off x="8459235" y="1994058"/>
              <a:ext cx="303219" cy="246679"/>
              <a:chOff x="5184779" y="225425"/>
              <a:chExt cx="1500184" cy="1220787"/>
            </a:xfrm>
            <a:grpFill/>
          </p:grpSpPr>
          <p:sp>
            <p:nvSpPr>
              <p:cNvPr id="21" name="Freeform 86"/>
              <p:cNvSpPr>
                <a:spLocks noEditPoints="1"/>
              </p:cNvSpPr>
              <p:nvPr/>
            </p:nvSpPr>
            <p:spPr bwMode="black">
              <a:xfrm>
                <a:off x="5184779" y="344490"/>
                <a:ext cx="1095376" cy="1101722"/>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380"/>
                <a:endParaRPr lang="en-US" sz="1632">
                  <a:ln>
                    <a:solidFill>
                      <a:srgbClr val="FFFFFF">
                        <a:alpha val="0"/>
                      </a:srgbClr>
                    </a:solidFill>
                  </a:ln>
                  <a:solidFill>
                    <a:srgbClr val="FFFFFF"/>
                  </a:solidFill>
                </a:endParaRPr>
              </a:p>
            </p:txBody>
          </p:sp>
          <p:sp>
            <p:nvSpPr>
              <p:cNvPr id="22" name="Oval 87"/>
              <p:cNvSpPr>
                <a:spLocks noChangeArrowheads="1"/>
              </p:cNvSpPr>
              <p:nvPr/>
            </p:nvSpPr>
            <p:spPr bwMode="black">
              <a:xfrm>
                <a:off x="5630869" y="812799"/>
                <a:ext cx="203201" cy="20320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380"/>
                <a:endParaRPr lang="en-US" sz="1632">
                  <a:ln>
                    <a:solidFill>
                      <a:srgbClr val="FFFFFF">
                        <a:alpha val="0"/>
                      </a:srgbClr>
                    </a:solidFill>
                  </a:ln>
                  <a:solidFill>
                    <a:srgbClr val="FFFFFF"/>
                  </a:solidFill>
                </a:endParaRPr>
              </a:p>
            </p:txBody>
          </p:sp>
          <p:sp>
            <p:nvSpPr>
              <p:cNvPr id="23" name="Freeform 88"/>
              <p:cNvSpPr>
                <a:spLocks noEditPoints="1"/>
              </p:cNvSpPr>
              <p:nvPr/>
            </p:nvSpPr>
            <p:spPr bwMode="black">
              <a:xfrm>
                <a:off x="6129339" y="225425"/>
                <a:ext cx="555624" cy="598489"/>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380"/>
                <a:endParaRPr lang="en-US" sz="1632">
                  <a:ln>
                    <a:solidFill>
                      <a:srgbClr val="FFFFFF">
                        <a:alpha val="0"/>
                      </a:srgbClr>
                    </a:solidFill>
                  </a:ln>
                  <a:solidFill>
                    <a:srgbClr val="FFFFFF"/>
                  </a:solidFill>
                </a:endParaRPr>
              </a:p>
            </p:txBody>
          </p:sp>
        </p:grpSp>
      </p:grpSp>
      <p:sp>
        <p:nvSpPr>
          <p:cNvPr id="24" name="Rectangle 92166"/>
          <p:cNvSpPr/>
          <p:nvPr>
            <p:custDataLst>
              <p:tags r:id="rId12"/>
            </p:custDataLst>
          </p:nvPr>
        </p:nvSpPr>
        <p:spPr bwMode="auto">
          <a:xfrm flipV="1">
            <a:off x="11077991" y="1618562"/>
            <a:ext cx="634232" cy="739221"/>
          </a:xfrm>
          <a:custGeom>
            <a:avLst/>
            <a:gdLst/>
            <a:ahLst/>
            <a:cxnLst/>
            <a:rect l="l" t="t" r="r" b="b"/>
            <a:pathLst>
              <a:path w="822103" h="1128292">
                <a:moveTo>
                  <a:pt x="698119" y="563492"/>
                </a:moveTo>
                <a:lnTo>
                  <a:pt x="370918" y="284334"/>
                </a:lnTo>
                <a:lnTo>
                  <a:pt x="280941" y="205737"/>
                </a:lnTo>
                <a:lnTo>
                  <a:pt x="128851" y="379847"/>
                </a:lnTo>
                <a:lnTo>
                  <a:pt x="56929" y="317022"/>
                </a:lnTo>
                <a:lnTo>
                  <a:pt x="264169" y="79779"/>
                </a:lnTo>
                <a:cubicBezTo>
                  <a:pt x="269372" y="74505"/>
                  <a:pt x="274695" y="68970"/>
                  <a:pt x="280207" y="63224"/>
                </a:cubicBezTo>
                <a:lnTo>
                  <a:pt x="765173" y="487802"/>
                </a:lnTo>
                <a:lnTo>
                  <a:pt x="702684" y="559339"/>
                </a:lnTo>
                <a:close/>
                <a:moveTo>
                  <a:pt x="574455" y="1110341"/>
                </a:moveTo>
                <a:lnTo>
                  <a:pt x="574455" y="823073"/>
                </a:lnTo>
                <a:lnTo>
                  <a:pt x="803055" y="823073"/>
                </a:lnTo>
                <a:close/>
                <a:moveTo>
                  <a:pt x="0" y="1128292"/>
                </a:moveTo>
                <a:lnTo>
                  <a:pt x="593503" y="1128292"/>
                </a:lnTo>
                <a:lnTo>
                  <a:pt x="822103" y="841025"/>
                </a:lnTo>
                <a:lnTo>
                  <a:pt x="822103" y="0"/>
                </a:lnTo>
                <a:lnTo>
                  <a:pt x="0" y="0"/>
                </a:lnTo>
                <a:close/>
              </a:path>
            </a:pathLst>
          </a:custGeom>
          <a:solidFill>
            <a:schemeClr val="tx1"/>
          </a:solidFill>
          <a:ln w="19050" cap="flat" cmpd="sng" algn="ctr">
            <a:noFill/>
            <a:prstDash val="solid"/>
          </a:ln>
          <a:effectLst/>
        </p:spPr>
        <p:txBody>
          <a:bodyPr rtlCol="0" anchor="ctr"/>
          <a:lstStyle/>
          <a:p>
            <a:pPr algn="ctr" defTabSz="932418"/>
            <a:endParaRPr lang="en-US" sz="1836" kern="0" dirty="0" err="1">
              <a:ln>
                <a:solidFill>
                  <a:srgbClr val="FFFFFF">
                    <a:alpha val="0"/>
                  </a:srgbClr>
                </a:solidFill>
              </a:ln>
              <a:solidFill>
                <a:srgbClr val="FFFFFF"/>
              </a:solidFill>
            </a:endParaRPr>
          </a:p>
        </p:txBody>
      </p:sp>
    </p:spTree>
    <p:extLst>
      <p:ext uri="{BB962C8B-B14F-4D97-AF65-F5344CB8AC3E}">
        <p14:creationId xmlns:p14="http://schemas.microsoft.com/office/powerpoint/2010/main" val="227865620"/>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3383" y="497"/>
          <a:ext cx="161887" cy="161887"/>
        </p:xfrm>
        <a:graphic>
          <a:graphicData uri="http://schemas.openxmlformats.org/presentationml/2006/ole">
            <mc:AlternateContent xmlns:mc="http://schemas.openxmlformats.org/markup-compatibility/2006">
              <mc:Choice xmlns:v="urn:schemas-microsoft-com:vml" Requires="v">
                <p:oleObj spid="_x0000_s8199"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3383" y="497"/>
                        <a:ext cx="161887" cy="1618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Insight Perspectives</a:t>
            </a:r>
          </a:p>
        </p:txBody>
      </p:sp>
      <p:sp>
        <p:nvSpPr>
          <p:cNvPr id="3" name="Rectangle 2"/>
          <p:cNvSpPr/>
          <p:nvPr>
            <p:custDataLst>
              <p:tags r:id="rId4"/>
            </p:custDataLst>
          </p:nvPr>
        </p:nvSpPr>
        <p:spPr bwMode="auto">
          <a:xfrm>
            <a:off x="550562" y="1457482"/>
            <a:ext cx="2327940" cy="1118965"/>
          </a:xfrm>
          <a:prstGeom prst="rect">
            <a:avLst/>
          </a:prstGeom>
          <a:solidFill>
            <a:schemeClr val="accent3"/>
          </a:solidFill>
          <a:ln w="9525" cap="flat" cmpd="sng" algn="ctr">
            <a:noFill/>
            <a:prstDash val="solid"/>
            <a:headEnd type="none" w="med" len="med"/>
            <a:tailEnd type="none" w="med" len="med"/>
          </a:ln>
          <a:effectLst>
            <a:outerShdw blurRad="40005" dist="22860" dir="5400000" algn="ctr" rotWithShape="0">
              <a:srgbClr val="000000">
                <a:alpha val="35000"/>
              </a:srgbClr>
            </a:outerShdw>
          </a:effectLst>
          <a:scene3d>
            <a:camera prst="orthographicFront" fov="0">
              <a:rot lat="0" lon="0" rev="0"/>
            </a:camera>
            <a:lightRig rig="glow" dir="t">
              <a:rot lat="0" lon="0" rev="6360000"/>
            </a:lightRig>
          </a:scene3d>
          <a:sp3d prstMaterial="flat">
            <a:contourClr>
              <a:srgbClr val="008FBA">
                <a:satMod val="300000"/>
              </a:srgbClr>
            </a:contourClr>
          </a:sp3d>
        </p:spPr>
        <p:txBody>
          <a:bodyPr vert="horz" wrap="square" lIns="93247" tIns="46623" rIns="93247" bIns="46623" numCol="1" rtlCol="0" anchor="ctr" anchorCtr="0" compatLnSpc="1">
            <a:prstTxWarp prst="textNoShape">
              <a:avLst/>
            </a:prstTxWarp>
            <a:noAutofit/>
          </a:bodyPr>
          <a:lstStyle/>
          <a:p>
            <a:pPr marL="0" lvl="1" algn="ctr" defTabSz="699348">
              <a:lnSpc>
                <a:spcPct val="90000"/>
              </a:lnSpc>
              <a:spcBef>
                <a:spcPts val="612"/>
              </a:spcBef>
              <a:buSzPct val="90000"/>
            </a:pPr>
            <a:r>
              <a:rPr lang="en-US" sz="2856" dirty="0">
                <a:ln>
                  <a:solidFill>
                    <a:srgbClr val="FFFFFF">
                      <a:alpha val="0"/>
                    </a:srgbClr>
                  </a:solidFill>
                </a:ln>
                <a:solidFill>
                  <a:srgbClr val="FFFFFF"/>
                </a:solidFill>
                <a:latin typeface="Segoe UI Light" pitchFamily="34" charset="0"/>
              </a:rPr>
              <a:t>User</a:t>
            </a:r>
          </a:p>
        </p:txBody>
      </p:sp>
      <p:sp>
        <p:nvSpPr>
          <p:cNvPr id="4" name="Rectangle 3"/>
          <p:cNvSpPr/>
          <p:nvPr>
            <p:custDataLst>
              <p:tags r:id="rId5"/>
            </p:custDataLst>
          </p:nvPr>
        </p:nvSpPr>
        <p:spPr bwMode="auto">
          <a:xfrm>
            <a:off x="2940667" y="1457482"/>
            <a:ext cx="8966293" cy="1118965"/>
          </a:xfrm>
          <a:prstGeom prst="rect">
            <a:avLst/>
          </a:prstGeom>
          <a:solidFill>
            <a:srgbClr val="000000">
              <a:alpha val="20000"/>
            </a:srgbClr>
          </a:solidFill>
          <a:ln w="9525" cap="flat" cmpd="sng" algn="ctr">
            <a:solidFill>
              <a:srgbClr val="FFFFFF">
                <a:alpha val="50000"/>
              </a:srgbClr>
            </a:solidFill>
            <a:prstDash val="solid"/>
            <a:headEnd type="none" w="med" len="med"/>
            <a:tailEnd type="none" w="med" len="med"/>
          </a:ln>
          <a:effectLst/>
        </p:spPr>
        <p:txBody>
          <a:bodyPr vert="horz" wrap="square" lIns="93247" tIns="46623" rIns="93247" bIns="46623" numCol="1" rtlCol="0" anchor="ctr" anchorCtr="0" compatLnSpc="1">
            <a:prstTxWarp prst="textNoShape">
              <a:avLst/>
            </a:prstTxWarp>
            <a:noAutofit/>
          </a:bodyPr>
          <a:lstStyle/>
          <a:p>
            <a:pPr marL="0" lvl="1" defTabSz="932380">
              <a:spcBef>
                <a:spcPts val="306"/>
              </a:spcBef>
              <a:buSzPct val="90000"/>
            </a:pPr>
            <a:r>
              <a:rPr lang="en-US" sz="1836" dirty="0">
                <a:ln>
                  <a:solidFill>
                    <a:srgbClr val="FFFFFF">
                      <a:alpha val="0"/>
                    </a:srgbClr>
                  </a:solidFill>
                </a:ln>
                <a:solidFill>
                  <a:srgbClr val="FFFFFF"/>
                </a:solidFill>
              </a:rPr>
              <a:t>Behavior of an individual, targeted user </a:t>
            </a:r>
          </a:p>
          <a:p>
            <a:pPr marL="357751" lvl="1" indent="-234724" defTabSz="932380">
              <a:spcBef>
                <a:spcPts val="306"/>
              </a:spcBef>
              <a:spcAft>
                <a:spcPts val="306"/>
              </a:spcAft>
              <a:buSzPct val="100000"/>
              <a:buFont typeface="Arial" pitchFamily="34" charset="0"/>
              <a:buChar char="•"/>
            </a:pPr>
            <a:r>
              <a:rPr lang="en-US" sz="1632" dirty="0">
                <a:ln>
                  <a:solidFill>
                    <a:srgbClr val="FFFFFF">
                      <a:alpha val="0"/>
                    </a:srgbClr>
                  </a:solidFill>
                </a:ln>
                <a:solidFill>
                  <a:srgbClr val="FFFFFF"/>
                </a:solidFill>
              </a:rPr>
              <a:t>User behavior, individualized experience</a:t>
            </a:r>
          </a:p>
        </p:txBody>
      </p:sp>
      <p:sp>
        <p:nvSpPr>
          <p:cNvPr id="7" name="Rectangle 6"/>
          <p:cNvSpPr/>
          <p:nvPr>
            <p:custDataLst>
              <p:tags r:id="rId6"/>
            </p:custDataLst>
          </p:nvPr>
        </p:nvSpPr>
        <p:spPr bwMode="auto">
          <a:xfrm>
            <a:off x="550562" y="2707081"/>
            <a:ext cx="2327940" cy="1118965"/>
          </a:xfrm>
          <a:prstGeom prst="rect">
            <a:avLst/>
          </a:prstGeom>
          <a:solidFill>
            <a:schemeClr val="accent1"/>
          </a:solidFill>
          <a:ln w="9525">
            <a:noFill/>
            <a:headEnd type="none" w="med" len="med"/>
            <a:tailEnd type="none" w="med" len="med"/>
          </a:ln>
          <a:effectLst>
            <a:outerShdw blurRad="40005" dist="22860" dir="5400000" algn="ctr" rotWithShape="0">
              <a:srgbClr val="000000">
                <a:alpha val="35000"/>
              </a:srgbClr>
            </a:outerShdw>
          </a:effectLst>
        </p:spPr>
        <p:style>
          <a:lnRef idx="1">
            <a:schemeClr val="accent2"/>
          </a:lnRef>
          <a:fillRef idx="3">
            <a:schemeClr val="accent2"/>
          </a:fillRef>
          <a:effectRef idx="2">
            <a:schemeClr val="accent2"/>
          </a:effectRef>
          <a:fontRef idx="minor">
            <a:schemeClr val="lt1"/>
          </a:fontRef>
        </p:style>
        <p:txBody>
          <a:bodyPr vert="horz" wrap="square" lIns="93247" tIns="46623" rIns="93247" bIns="46623" numCol="1" rtlCol="0" anchor="ctr" anchorCtr="0" compatLnSpc="1">
            <a:prstTxWarp prst="textNoShape">
              <a:avLst/>
            </a:prstTxWarp>
            <a:noAutofit/>
          </a:bodyPr>
          <a:lstStyle/>
          <a:p>
            <a:pPr marL="0" lvl="1" algn="ctr" defTabSz="699348"/>
            <a:r>
              <a:rPr lang="en-US" sz="2856" dirty="0">
                <a:ln>
                  <a:solidFill>
                    <a:srgbClr val="FFFFFF">
                      <a:alpha val="0"/>
                    </a:srgbClr>
                  </a:solidFill>
                </a:ln>
                <a:solidFill>
                  <a:srgbClr val="FFFFFF"/>
                </a:solidFill>
                <a:latin typeface="Segoe UI Light" pitchFamily="34" charset="0"/>
              </a:rPr>
              <a:t>Business</a:t>
            </a:r>
          </a:p>
        </p:txBody>
      </p:sp>
      <p:sp>
        <p:nvSpPr>
          <p:cNvPr id="15" name="Rectangle 14"/>
          <p:cNvSpPr/>
          <p:nvPr>
            <p:custDataLst>
              <p:tags r:id="rId7"/>
            </p:custDataLst>
          </p:nvPr>
        </p:nvSpPr>
        <p:spPr bwMode="auto">
          <a:xfrm>
            <a:off x="2940667" y="2707081"/>
            <a:ext cx="8966293" cy="1118965"/>
          </a:xfrm>
          <a:prstGeom prst="rect">
            <a:avLst/>
          </a:prstGeom>
          <a:solidFill>
            <a:srgbClr val="000000">
              <a:alpha val="20000"/>
            </a:srgbClr>
          </a:solidFill>
          <a:ln w="9525" cap="flat" cmpd="sng" algn="ctr">
            <a:solidFill>
              <a:srgbClr val="FFFFFF">
                <a:alpha val="50000"/>
              </a:srgbClr>
            </a:solidFill>
            <a:prstDash val="solid"/>
            <a:headEnd type="none" w="med" len="med"/>
            <a:tailEnd type="none" w="med" len="med"/>
          </a:ln>
          <a:effectLst/>
        </p:spPr>
        <p:txBody>
          <a:bodyPr vert="horz" wrap="square" lIns="93247" tIns="46623" rIns="93247" bIns="46623" numCol="1" rtlCol="0" anchor="ctr" anchorCtr="0" compatLnSpc="1">
            <a:prstTxWarp prst="textNoShape">
              <a:avLst/>
            </a:prstTxWarp>
            <a:noAutofit/>
          </a:bodyPr>
          <a:lstStyle/>
          <a:p>
            <a:pPr marL="0" lvl="1" defTabSz="932380">
              <a:spcBef>
                <a:spcPts val="306"/>
              </a:spcBef>
              <a:buSzPct val="90000"/>
            </a:pPr>
            <a:r>
              <a:rPr lang="en-US" sz="1836" dirty="0">
                <a:ln>
                  <a:solidFill>
                    <a:srgbClr val="FFFFFF">
                      <a:alpha val="0"/>
                    </a:srgbClr>
                  </a:solidFill>
                </a:ln>
                <a:solidFill>
                  <a:srgbClr val="FFFFFF"/>
                </a:solidFill>
              </a:rPr>
              <a:t>Business activities and KPIs </a:t>
            </a:r>
          </a:p>
          <a:p>
            <a:pPr marL="357751" lvl="1" indent="-234724" defTabSz="932380">
              <a:spcBef>
                <a:spcPts val="306"/>
              </a:spcBef>
              <a:spcAft>
                <a:spcPts val="306"/>
              </a:spcAft>
              <a:buSzPct val="100000"/>
              <a:buFont typeface="Arial" pitchFamily="34" charset="0"/>
              <a:buChar char="•"/>
            </a:pPr>
            <a:r>
              <a:rPr lang="en-US" sz="1632" dirty="0">
                <a:ln>
                  <a:solidFill>
                    <a:srgbClr val="FFFFFF">
                      <a:alpha val="0"/>
                    </a:srgbClr>
                  </a:solidFill>
                </a:ln>
                <a:solidFill>
                  <a:srgbClr val="FFFFFF"/>
                </a:solidFill>
              </a:rPr>
              <a:t>Videos played, social activity</a:t>
            </a:r>
          </a:p>
        </p:txBody>
      </p:sp>
      <p:sp>
        <p:nvSpPr>
          <p:cNvPr id="10" name="Rectangle 9"/>
          <p:cNvSpPr/>
          <p:nvPr>
            <p:custDataLst>
              <p:tags r:id="rId8"/>
            </p:custDataLst>
          </p:nvPr>
        </p:nvSpPr>
        <p:spPr bwMode="auto">
          <a:xfrm>
            <a:off x="550562" y="3956680"/>
            <a:ext cx="2327940" cy="1118965"/>
          </a:xfrm>
          <a:prstGeom prst="rect">
            <a:avLst/>
          </a:prstGeom>
          <a:solidFill>
            <a:schemeClr val="accent2"/>
          </a:solidFill>
          <a:ln w="9525">
            <a:noFill/>
            <a:headEnd type="none" w="med" len="med"/>
            <a:tailEnd type="none" w="med" len="med"/>
          </a:ln>
          <a:effectLst>
            <a:outerShdw blurRad="40005" dist="22860" dir="5400000" algn="ctr" rotWithShape="0">
              <a:srgbClr val="000000">
                <a:alpha val="35000"/>
              </a:srgbClr>
            </a:outerShdw>
          </a:effectLst>
        </p:spPr>
        <p:style>
          <a:lnRef idx="1">
            <a:schemeClr val="accent2"/>
          </a:lnRef>
          <a:fillRef idx="3">
            <a:schemeClr val="accent2"/>
          </a:fillRef>
          <a:effectRef idx="2">
            <a:schemeClr val="accent2"/>
          </a:effectRef>
          <a:fontRef idx="minor">
            <a:schemeClr val="lt1"/>
          </a:fontRef>
        </p:style>
        <p:txBody>
          <a:bodyPr vert="horz" wrap="square" lIns="93247" tIns="46623" rIns="93247" bIns="46623" numCol="1" rtlCol="0" anchor="ctr" anchorCtr="0" compatLnSpc="1">
            <a:prstTxWarp prst="textNoShape">
              <a:avLst/>
            </a:prstTxWarp>
            <a:noAutofit/>
          </a:bodyPr>
          <a:lstStyle/>
          <a:p>
            <a:pPr marL="0" lvl="1" algn="ctr" defTabSz="699348"/>
            <a:r>
              <a:rPr lang="en-US" sz="2856" dirty="0">
                <a:ln>
                  <a:solidFill>
                    <a:srgbClr val="FFFFFF">
                      <a:alpha val="0"/>
                    </a:srgbClr>
                  </a:solidFill>
                </a:ln>
                <a:solidFill>
                  <a:srgbClr val="FFFFFF"/>
                </a:solidFill>
                <a:latin typeface="Segoe UI Light" pitchFamily="34" charset="0"/>
              </a:rPr>
              <a:t>Application</a:t>
            </a:r>
          </a:p>
        </p:txBody>
      </p:sp>
      <p:sp>
        <p:nvSpPr>
          <p:cNvPr id="16" name="Rectangle 15"/>
          <p:cNvSpPr/>
          <p:nvPr>
            <p:custDataLst>
              <p:tags r:id="rId9"/>
            </p:custDataLst>
          </p:nvPr>
        </p:nvSpPr>
        <p:spPr bwMode="auto">
          <a:xfrm>
            <a:off x="2940667" y="3956680"/>
            <a:ext cx="8966293" cy="1118965"/>
          </a:xfrm>
          <a:prstGeom prst="rect">
            <a:avLst/>
          </a:prstGeom>
          <a:solidFill>
            <a:srgbClr val="000000">
              <a:alpha val="20000"/>
            </a:srgbClr>
          </a:solidFill>
          <a:ln w="9525" cap="flat" cmpd="sng" algn="ctr">
            <a:solidFill>
              <a:srgbClr val="FFFFFF">
                <a:alpha val="50000"/>
              </a:srgbClr>
            </a:solidFill>
            <a:prstDash val="solid"/>
            <a:headEnd type="none" w="med" len="med"/>
            <a:tailEnd type="none" w="med" len="med"/>
          </a:ln>
          <a:effectLst/>
        </p:spPr>
        <p:txBody>
          <a:bodyPr vert="horz" wrap="square" lIns="93247" tIns="46623" rIns="93247" bIns="46623" numCol="1" rtlCol="0" anchor="ctr" anchorCtr="0" compatLnSpc="1">
            <a:prstTxWarp prst="textNoShape">
              <a:avLst/>
            </a:prstTxWarp>
            <a:noAutofit/>
          </a:bodyPr>
          <a:lstStyle/>
          <a:p>
            <a:pPr marL="0" lvl="1" defTabSz="932380">
              <a:spcBef>
                <a:spcPts val="306"/>
              </a:spcBef>
              <a:buSzPct val="90000"/>
            </a:pPr>
            <a:r>
              <a:rPr lang="en-US" sz="1836" dirty="0">
                <a:ln>
                  <a:solidFill>
                    <a:srgbClr val="FFFFFF">
                      <a:alpha val="0"/>
                    </a:srgbClr>
                  </a:solidFill>
                </a:ln>
                <a:solidFill>
                  <a:srgbClr val="FFFFFF"/>
                </a:solidFill>
              </a:rPr>
              <a:t>Health, performance &amp; activity of the application layer and dependent services </a:t>
            </a:r>
          </a:p>
          <a:p>
            <a:pPr marL="357751" lvl="1" indent="-234724" defTabSz="932380">
              <a:spcBef>
                <a:spcPts val="306"/>
              </a:spcBef>
              <a:spcAft>
                <a:spcPts val="306"/>
              </a:spcAft>
              <a:buSzPct val="100000"/>
              <a:buFont typeface="Arial" pitchFamily="34" charset="0"/>
              <a:buChar char="•"/>
            </a:pPr>
            <a:r>
              <a:rPr lang="en-US" sz="1632" dirty="0">
                <a:ln>
                  <a:solidFill>
                    <a:srgbClr val="FFFFFF">
                      <a:alpha val="0"/>
                    </a:srgbClr>
                  </a:solidFill>
                </a:ln>
                <a:solidFill>
                  <a:srgbClr val="FFFFFF"/>
                </a:solidFill>
              </a:rPr>
              <a:t>SQL client calls and logins, .NET exceptions, API calls, ASP.NET sessions</a:t>
            </a:r>
          </a:p>
          <a:p>
            <a:pPr marL="357751" lvl="1" indent="-234724" defTabSz="932380">
              <a:spcBef>
                <a:spcPts val="306"/>
              </a:spcBef>
              <a:spcAft>
                <a:spcPts val="306"/>
              </a:spcAft>
              <a:buSzPct val="100000"/>
              <a:buFont typeface="Arial" pitchFamily="34" charset="0"/>
              <a:buChar char="•"/>
            </a:pPr>
            <a:r>
              <a:rPr lang="en-US" sz="1632" dirty="0">
                <a:ln>
                  <a:solidFill>
                    <a:srgbClr val="FFFFFF">
                      <a:alpha val="0"/>
                    </a:srgbClr>
                  </a:solidFill>
                </a:ln>
                <a:solidFill>
                  <a:srgbClr val="FFFFFF"/>
                </a:solidFill>
              </a:rPr>
              <a:t>Dependent services (SQL, </a:t>
            </a:r>
            <a:r>
              <a:rPr lang="en-US" sz="1632" dirty="0" err="1">
                <a:ln>
                  <a:solidFill>
                    <a:srgbClr val="FFFFFF">
                      <a:alpha val="0"/>
                    </a:srgbClr>
                  </a:solidFill>
                </a:ln>
                <a:solidFill>
                  <a:srgbClr val="FFFFFF"/>
                </a:solidFill>
              </a:rPr>
              <a:t>memcached</a:t>
            </a:r>
            <a:r>
              <a:rPr lang="en-US" sz="1632" dirty="0">
                <a:ln>
                  <a:solidFill>
                    <a:srgbClr val="FFFFFF">
                      <a:alpha val="0"/>
                    </a:srgbClr>
                  </a:solidFill>
                </a:ln>
                <a:solidFill>
                  <a:srgbClr val="FFFFFF"/>
                </a:solidFill>
              </a:rPr>
              <a:t>, </a:t>
            </a:r>
            <a:r>
              <a:rPr lang="en-US" sz="1632" dirty="0" err="1">
                <a:ln>
                  <a:solidFill>
                    <a:srgbClr val="FFFFFF">
                      <a:alpha val="0"/>
                    </a:srgbClr>
                  </a:solidFill>
                </a:ln>
                <a:solidFill>
                  <a:srgbClr val="FFFFFF"/>
                </a:solidFill>
              </a:rPr>
              <a:t>etc</a:t>
            </a:r>
            <a:r>
              <a:rPr lang="en-US" sz="1632" dirty="0">
                <a:ln>
                  <a:solidFill>
                    <a:srgbClr val="FFFFFF">
                      <a:alpha val="0"/>
                    </a:srgbClr>
                  </a:solidFill>
                </a:ln>
                <a:solidFill>
                  <a:srgbClr val="FFFFFF"/>
                </a:solidFill>
              </a:rPr>
              <a:t>).</a:t>
            </a:r>
          </a:p>
        </p:txBody>
      </p:sp>
      <p:sp>
        <p:nvSpPr>
          <p:cNvPr id="13" name="Rectangle 12"/>
          <p:cNvSpPr/>
          <p:nvPr>
            <p:custDataLst>
              <p:tags r:id="rId10"/>
            </p:custDataLst>
          </p:nvPr>
        </p:nvSpPr>
        <p:spPr bwMode="auto">
          <a:xfrm>
            <a:off x="550562" y="5206279"/>
            <a:ext cx="2327940" cy="1118965"/>
          </a:xfrm>
          <a:prstGeom prst="rect">
            <a:avLst/>
          </a:prstGeom>
          <a:solidFill>
            <a:schemeClr val="accent5"/>
          </a:solidFill>
          <a:ln w="9525" cap="flat" cmpd="sng" algn="ctr">
            <a:noFill/>
            <a:prstDash val="solid"/>
            <a:headEnd type="none" w="med" len="med"/>
            <a:tailEnd type="none" w="med" len="med"/>
          </a:ln>
          <a:effectLst>
            <a:outerShdw blurRad="40005" dist="22860" dir="5400000" algn="ctr" rotWithShape="0">
              <a:srgbClr val="000000">
                <a:alpha val="35000"/>
              </a:srgbClr>
            </a:outerShdw>
          </a:effectLst>
          <a:scene3d>
            <a:camera prst="orthographicFront" fov="0">
              <a:rot lat="0" lon="0" rev="0"/>
            </a:camera>
            <a:lightRig rig="glow" dir="t">
              <a:rot lat="0" lon="0" rev="6360000"/>
            </a:lightRig>
          </a:scene3d>
          <a:sp3d prstMaterial="flat">
            <a:contourClr>
              <a:srgbClr val="008FBA">
                <a:satMod val="300000"/>
              </a:srgbClr>
            </a:contourClr>
          </a:sp3d>
        </p:spPr>
        <p:txBody>
          <a:bodyPr vert="horz" wrap="square" lIns="93247" tIns="46623" rIns="93247" bIns="46623" numCol="1" rtlCol="0" anchor="ctr" anchorCtr="0" compatLnSpc="1">
            <a:prstTxWarp prst="textNoShape">
              <a:avLst/>
            </a:prstTxWarp>
            <a:noAutofit/>
          </a:bodyPr>
          <a:lstStyle/>
          <a:p>
            <a:pPr marL="0" lvl="1" algn="ctr" defTabSz="699348">
              <a:lnSpc>
                <a:spcPct val="90000"/>
              </a:lnSpc>
              <a:spcBef>
                <a:spcPts val="612"/>
              </a:spcBef>
              <a:buSzPct val="90000"/>
            </a:pPr>
            <a:r>
              <a:rPr lang="en-US" sz="2856" dirty="0">
                <a:ln>
                  <a:solidFill>
                    <a:srgbClr val="FFFFFF">
                      <a:alpha val="0"/>
                    </a:srgbClr>
                  </a:solidFill>
                </a:ln>
                <a:solidFill>
                  <a:srgbClr val="FFFFFF"/>
                </a:solidFill>
                <a:latin typeface="Segoe UI Light" pitchFamily="34" charset="0"/>
              </a:rPr>
              <a:t>Infrastructure</a:t>
            </a:r>
          </a:p>
        </p:txBody>
      </p:sp>
      <p:sp>
        <p:nvSpPr>
          <p:cNvPr id="17" name="Rectangle 16"/>
          <p:cNvSpPr/>
          <p:nvPr>
            <p:custDataLst>
              <p:tags r:id="rId11"/>
            </p:custDataLst>
          </p:nvPr>
        </p:nvSpPr>
        <p:spPr bwMode="auto">
          <a:xfrm>
            <a:off x="2940667" y="5206279"/>
            <a:ext cx="8966293" cy="1118965"/>
          </a:xfrm>
          <a:prstGeom prst="rect">
            <a:avLst/>
          </a:prstGeom>
          <a:solidFill>
            <a:srgbClr val="000000">
              <a:alpha val="20000"/>
            </a:srgbClr>
          </a:solidFill>
          <a:ln w="9525" cap="flat" cmpd="sng" algn="ctr">
            <a:solidFill>
              <a:srgbClr val="FFFFFF">
                <a:alpha val="50000"/>
              </a:srgbClr>
            </a:solidFill>
            <a:prstDash val="solid"/>
            <a:headEnd type="none" w="med" len="med"/>
            <a:tailEnd type="none" w="med" len="med"/>
          </a:ln>
          <a:effectLst/>
        </p:spPr>
        <p:txBody>
          <a:bodyPr vert="horz" wrap="square" lIns="93247" tIns="46623" rIns="93247" bIns="46623" numCol="1" rtlCol="0" anchor="ctr" anchorCtr="0" compatLnSpc="1">
            <a:prstTxWarp prst="textNoShape">
              <a:avLst/>
            </a:prstTxWarp>
            <a:noAutofit/>
          </a:bodyPr>
          <a:lstStyle/>
          <a:p>
            <a:pPr marL="0" lvl="1" defTabSz="932380">
              <a:spcBef>
                <a:spcPts val="612"/>
              </a:spcBef>
              <a:buSzPct val="90000"/>
            </a:pPr>
            <a:r>
              <a:rPr lang="en-US" sz="1836" dirty="0">
                <a:ln>
                  <a:solidFill>
                    <a:srgbClr val="FFFFFF">
                      <a:alpha val="0"/>
                    </a:srgbClr>
                  </a:solidFill>
                </a:ln>
                <a:solidFill>
                  <a:srgbClr val="FFFFFF"/>
                </a:solidFill>
              </a:rPr>
              <a:t>Health of the underlying system infrastructure </a:t>
            </a:r>
          </a:p>
          <a:p>
            <a:pPr marL="357751" lvl="1" indent="-234724" defTabSz="932380">
              <a:spcBef>
                <a:spcPts val="306"/>
              </a:spcBef>
              <a:spcAft>
                <a:spcPts val="306"/>
              </a:spcAft>
              <a:buSzPct val="100000"/>
              <a:buFont typeface="Arial" pitchFamily="34" charset="0"/>
              <a:buChar char="•"/>
            </a:pPr>
            <a:r>
              <a:rPr lang="en-US" sz="1632" dirty="0">
                <a:ln>
                  <a:solidFill>
                    <a:srgbClr val="FFFFFF">
                      <a:alpha val="0"/>
                    </a:srgbClr>
                  </a:solidFill>
                </a:ln>
                <a:solidFill>
                  <a:srgbClr val="FFFFFF"/>
                </a:solidFill>
              </a:rPr>
              <a:t>CPU, memory, network.</a:t>
            </a:r>
          </a:p>
          <a:p>
            <a:pPr marL="357751" lvl="1" indent="-234724" defTabSz="932380">
              <a:spcBef>
                <a:spcPts val="306"/>
              </a:spcBef>
              <a:spcAft>
                <a:spcPts val="306"/>
              </a:spcAft>
              <a:buSzPct val="100000"/>
              <a:buFont typeface="Arial" pitchFamily="34" charset="0"/>
              <a:buChar char="•"/>
            </a:pPr>
            <a:r>
              <a:rPr lang="en-US" sz="1632" dirty="0">
                <a:ln>
                  <a:solidFill>
                    <a:srgbClr val="FFFFFF">
                      <a:alpha val="0"/>
                    </a:srgbClr>
                  </a:solidFill>
                </a:ln>
                <a:solidFill>
                  <a:srgbClr val="FFFFFF"/>
                </a:solidFill>
              </a:rPr>
              <a:t>Available capacity, headroom</a:t>
            </a:r>
          </a:p>
        </p:txBody>
      </p:sp>
    </p:spTree>
    <p:extLst>
      <p:ext uri="{BB962C8B-B14F-4D97-AF65-F5344CB8AC3E}">
        <p14:creationId xmlns:p14="http://schemas.microsoft.com/office/powerpoint/2010/main" val="4190685122"/>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3383" y="497"/>
          <a:ext cx="161887" cy="161887"/>
        </p:xfrm>
        <a:graphic>
          <a:graphicData uri="http://schemas.openxmlformats.org/presentationml/2006/ole">
            <mc:AlternateContent xmlns:mc="http://schemas.openxmlformats.org/markup-compatibility/2006">
              <mc:Choice xmlns:v="urn:schemas-microsoft-com:vml" Requires="v">
                <p:oleObj spid="_x0000_s9223"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3383" y="497"/>
                        <a:ext cx="161887" cy="161887"/>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a:t>Characterizing Signals</a:t>
            </a:r>
          </a:p>
        </p:txBody>
      </p:sp>
      <p:sp>
        <p:nvSpPr>
          <p:cNvPr id="6" name="Rectangle 5"/>
          <p:cNvSpPr/>
          <p:nvPr>
            <p:custDataLst>
              <p:tags r:id="rId4"/>
            </p:custDataLst>
          </p:nvPr>
        </p:nvSpPr>
        <p:spPr bwMode="auto">
          <a:xfrm>
            <a:off x="550562" y="1457482"/>
            <a:ext cx="2327940" cy="1118965"/>
          </a:xfrm>
          <a:prstGeom prst="rect">
            <a:avLst/>
          </a:prstGeom>
          <a:solidFill>
            <a:schemeClr val="accent3"/>
          </a:solidFill>
          <a:ln w="9525" cap="flat" cmpd="sng" algn="ctr">
            <a:noFill/>
            <a:prstDash val="solid"/>
            <a:headEnd type="none" w="med" len="med"/>
            <a:tailEnd type="none" w="med" len="med"/>
          </a:ln>
          <a:effectLst>
            <a:outerShdw blurRad="40005" dist="22860" dir="5400000" algn="ctr" rotWithShape="0">
              <a:srgbClr val="000000">
                <a:alpha val="35000"/>
              </a:srgbClr>
            </a:outerShdw>
          </a:effectLst>
          <a:scene3d>
            <a:camera prst="orthographicFront" fov="0">
              <a:rot lat="0" lon="0" rev="0"/>
            </a:camera>
            <a:lightRig rig="glow" dir="t">
              <a:rot lat="0" lon="0" rev="6360000"/>
            </a:lightRig>
          </a:scene3d>
          <a:sp3d prstMaterial="flat">
            <a:contourClr>
              <a:srgbClr val="008FBA">
                <a:satMod val="300000"/>
              </a:srgbClr>
            </a:contourClr>
          </a:sp3d>
        </p:spPr>
        <p:txBody>
          <a:bodyPr vert="horz" wrap="square" lIns="93247" tIns="46623" rIns="93247" bIns="46623" numCol="1" rtlCol="0" anchor="ctr" anchorCtr="0" compatLnSpc="1">
            <a:prstTxWarp prst="textNoShape">
              <a:avLst/>
            </a:prstTxWarp>
            <a:noAutofit/>
          </a:bodyPr>
          <a:lstStyle/>
          <a:p>
            <a:pPr marL="0" lvl="1" algn="ctr" defTabSz="699348">
              <a:lnSpc>
                <a:spcPct val="90000"/>
              </a:lnSpc>
              <a:spcBef>
                <a:spcPts val="612"/>
              </a:spcBef>
              <a:buSzPct val="90000"/>
            </a:pPr>
            <a:r>
              <a:rPr lang="en-US" sz="2856" dirty="0">
                <a:ln>
                  <a:solidFill>
                    <a:schemeClr val="tx1">
                      <a:alpha val="0"/>
                    </a:schemeClr>
                  </a:solidFill>
                </a:ln>
                <a:latin typeface="Segoe UI Light" pitchFamily="34" charset="0"/>
              </a:rPr>
              <a:t>Continuous / Discrete</a:t>
            </a:r>
          </a:p>
        </p:txBody>
      </p:sp>
      <p:sp>
        <p:nvSpPr>
          <p:cNvPr id="7" name="Rectangle 6"/>
          <p:cNvSpPr/>
          <p:nvPr>
            <p:custDataLst>
              <p:tags r:id="rId5"/>
            </p:custDataLst>
          </p:nvPr>
        </p:nvSpPr>
        <p:spPr bwMode="auto">
          <a:xfrm>
            <a:off x="2940667" y="1457482"/>
            <a:ext cx="8966293" cy="1118965"/>
          </a:xfrm>
          <a:prstGeom prst="rect">
            <a:avLst/>
          </a:prstGeom>
          <a:solidFill>
            <a:srgbClr val="000000">
              <a:alpha val="20000"/>
            </a:srgbClr>
          </a:solidFill>
          <a:ln w="9525" cap="flat" cmpd="sng" algn="ctr">
            <a:solidFill>
              <a:srgbClr val="FFFFFF">
                <a:alpha val="50000"/>
              </a:srgbClr>
            </a:solidFill>
            <a:prstDash val="solid"/>
            <a:headEnd type="none" w="med" len="med"/>
            <a:tailEnd type="none" w="med" len="med"/>
          </a:ln>
          <a:effectLst/>
        </p:spPr>
        <p:txBody>
          <a:bodyPr vert="horz" wrap="square" lIns="93247" tIns="46623" rIns="93247" bIns="46623" numCol="1" rtlCol="0" anchor="ctr" anchorCtr="0" compatLnSpc="1">
            <a:prstTxWarp prst="textNoShape">
              <a:avLst/>
            </a:prstTxWarp>
            <a:noAutofit/>
          </a:bodyPr>
          <a:lstStyle/>
          <a:p>
            <a:pPr marL="0" lvl="1">
              <a:spcBef>
                <a:spcPts val="306"/>
              </a:spcBef>
              <a:buSzPct val="90000"/>
            </a:pPr>
            <a:r>
              <a:rPr lang="en-US" sz="1836" dirty="0">
                <a:ln>
                  <a:solidFill>
                    <a:schemeClr val="tx1">
                      <a:alpha val="0"/>
                    </a:schemeClr>
                  </a:solidFill>
                </a:ln>
              </a:rPr>
              <a:t>Is the signal continuous or discrete?</a:t>
            </a:r>
          </a:p>
          <a:p>
            <a:pPr marL="357751" lvl="1" indent="-234724">
              <a:spcBef>
                <a:spcPts val="306"/>
              </a:spcBef>
              <a:spcAft>
                <a:spcPts val="306"/>
              </a:spcAft>
              <a:buSzPct val="100000"/>
              <a:buFont typeface="Arial" pitchFamily="34" charset="0"/>
              <a:buChar char="•"/>
            </a:pPr>
            <a:r>
              <a:rPr lang="en-US" sz="1632" dirty="0">
                <a:ln>
                  <a:solidFill>
                    <a:schemeClr val="tx1">
                      <a:alpha val="0"/>
                    </a:schemeClr>
                  </a:solidFill>
                </a:ln>
              </a:rPr>
              <a:t>Continuous. Performance counters (CPU, memory network).</a:t>
            </a:r>
          </a:p>
          <a:p>
            <a:pPr marL="357751" lvl="1" indent="-234724">
              <a:spcBef>
                <a:spcPts val="306"/>
              </a:spcBef>
              <a:spcAft>
                <a:spcPts val="306"/>
              </a:spcAft>
              <a:buSzPct val="100000"/>
              <a:buFont typeface="Arial" pitchFamily="34" charset="0"/>
              <a:buChar char="•"/>
            </a:pPr>
            <a:r>
              <a:rPr lang="en-US" sz="1632" dirty="0">
                <a:ln>
                  <a:solidFill>
                    <a:schemeClr val="tx1">
                      <a:alpha val="0"/>
                    </a:schemeClr>
                  </a:solidFill>
                </a:ln>
              </a:rPr>
              <a:t>Discrete. Log file entries (API call record).</a:t>
            </a:r>
          </a:p>
        </p:txBody>
      </p:sp>
      <p:sp>
        <p:nvSpPr>
          <p:cNvPr id="9" name="Rectangle 8"/>
          <p:cNvSpPr/>
          <p:nvPr>
            <p:custDataLst>
              <p:tags r:id="rId6"/>
            </p:custDataLst>
          </p:nvPr>
        </p:nvSpPr>
        <p:spPr bwMode="auto">
          <a:xfrm>
            <a:off x="550562" y="2707081"/>
            <a:ext cx="2327940" cy="1118965"/>
          </a:xfrm>
          <a:prstGeom prst="rect">
            <a:avLst/>
          </a:prstGeom>
          <a:solidFill>
            <a:schemeClr val="accent1"/>
          </a:solidFill>
          <a:ln w="9525">
            <a:noFill/>
            <a:headEnd type="none" w="med" len="med"/>
            <a:tailEnd type="none" w="med" len="med"/>
          </a:ln>
          <a:effectLst>
            <a:outerShdw blurRad="40005" dist="22860" dir="5400000" algn="ctr" rotWithShape="0">
              <a:srgbClr val="000000">
                <a:alpha val="35000"/>
              </a:srgbClr>
            </a:outerShdw>
          </a:effectLst>
        </p:spPr>
        <p:style>
          <a:lnRef idx="1">
            <a:schemeClr val="accent2"/>
          </a:lnRef>
          <a:fillRef idx="3">
            <a:schemeClr val="accent2"/>
          </a:fillRef>
          <a:effectRef idx="2">
            <a:schemeClr val="accent2"/>
          </a:effectRef>
          <a:fontRef idx="minor">
            <a:schemeClr val="lt1"/>
          </a:fontRef>
        </p:style>
        <p:txBody>
          <a:bodyPr vert="horz" wrap="square" lIns="93247" tIns="46623" rIns="93247" bIns="46623" numCol="1" rtlCol="0" anchor="ctr" anchorCtr="0" compatLnSpc="1">
            <a:prstTxWarp prst="textNoShape">
              <a:avLst/>
            </a:prstTxWarp>
            <a:noAutofit/>
          </a:bodyPr>
          <a:lstStyle/>
          <a:p>
            <a:pPr marL="0" lvl="1" algn="ctr" defTabSz="699348"/>
            <a:r>
              <a:rPr lang="en-US" sz="2856" dirty="0">
                <a:ln>
                  <a:solidFill>
                    <a:schemeClr val="tx1">
                      <a:alpha val="0"/>
                    </a:schemeClr>
                  </a:solidFill>
                </a:ln>
                <a:latin typeface="Segoe UI Light" pitchFamily="34" charset="0"/>
              </a:rPr>
              <a:t>Information Content</a:t>
            </a:r>
          </a:p>
        </p:txBody>
      </p:sp>
      <p:sp>
        <p:nvSpPr>
          <p:cNvPr id="10" name="Rectangle 9"/>
          <p:cNvSpPr/>
          <p:nvPr>
            <p:custDataLst>
              <p:tags r:id="rId7"/>
            </p:custDataLst>
          </p:nvPr>
        </p:nvSpPr>
        <p:spPr bwMode="auto">
          <a:xfrm>
            <a:off x="2940667" y="2707081"/>
            <a:ext cx="8966293" cy="1118965"/>
          </a:xfrm>
          <a:prstGeom prst="rect">
            <a:avLst/>
          </a:prstGeom>
          <a:solidFill>
            <a:srgbClr val="000000">
              <a:alpha val="20000"/>
            </a:srgbClr>
          </a:solidFill>
          <a:ln w="9525" cap="flat" cmpd="sng" algn="ctr">
            <a:solidFill>
              <a:srgbClr val="FFFFFF">
                <a:alpha val="50000"/>
              </a:srgbClr>
            </a:solidFill>
            <a:prstDash val="solid"/>
            <a:headEnd type="none" w="med" len="med"/>
            <a:tailEnd type="none" w="med" len="med"/>
          </a:ln>
          <a:effectLst/>
        </p:spPr>
        <p:txBody>
          <a:bodyPr vert="horz" wrap="square" lIns="93247" tIns="46623" rIns="93247" bIns="46623" numCol="1" rtlCol="0" anchor="ctr" anchorCtr="0" compatLnSpc="1">
            <a:prstTxWarp prst="textNoShape">
              <a:avLst/>
            </a:prstTxWarp>
            <a:noAutofit/>
          </a:bodyPr>
          <a:lstStyle/>
          <a:p>
            <a:pPr marL="0" lvl="1">
              <a:spcBef>
                <a:spcPts val="306"/>
              </a:spcBef>
              <a:buSzPct val="90000"/>
            </a:pPr>
            <a:r>
              <a:rPr lang="en-US" sz="1836" dirty="0">
                <a:ln>
                  <a:solidFill>
                    <a:schemeClr val="tx1">
                      <a:alpha val="0"/>
                    </a:schemeClr>
                  </a:solidFill>
                </a:ln>
              </a:rPr>
              <a:t>How much information is in the signal?</a:t>
            </a:r>
          </a:p>
          <a:p>
            <a:pPr marL="357751" lvl="1" indent="-234724">
              <a:spcBef>
                <a:spcPts val="306"/>
              </a:spcBef>
              <a:spcAft>
                <a:spcPts val="306"/>
              </a:spcAft>
              <a:buSzPct val="100000"/>
              <a:buFont typeface="Arial" pitchFamily="34" charset="0"/>
              <a:buChar char="•"/>
            </a:pPr>
            <a:r>
              <a:rPr lang="en-US" sz="1632" dirty="0">
                <a:ln>
                  <a:solidFill>
                    <a:schemeClr val="tx1">
                      <a:alpha val="0"/>
                    </a:schemeClr>
                  </a:solidFill>
                </a:ln>
              </a:rPr>
              <a:t>Continuous. How often to sample? </a:t>
            </a:r>
            <a:r>
              <a:rPr lang="en-US" sz="1632" dirty="0" err="1">
                <a:ln>
                  <a:solidFill>
                    <a:schemeClr val="tx1">
                      <a:alpha val="0"/>
                    </a:schemeClr>
                  </a:solidFill>
                </a:ln>
              </a:rPr>
              <a:t>Nyquist</a:t>
            </a:r>
            <a:r>
              <a:rPr lang="en-US" sz="1632" dirty="0">
                <a:ln>
                  <a:solidFill>
                    <a:schemeClr val="tx1">
                      <a:alpha val="0"/>
                    </a:schemeClr>
                  </a:solidFill>
                </a:ln>
              </a:rPr>
              <a:t> rate? </a:t>
            </a:r>
          </a:p>
          <a:p>
            <a:pPr marL="357751" lvl="1" indent="-234724">
              <a:spcBef>
                <a:spcPts val="306"/>
              </a:spcBef>
              <a:spcAft>
                <a:spcPts val="306"/>
              </a:spcAft>
              <a:buSzPct val="100000"/>
              <a:buFont typeface="Arial" pitchFamily="34" charset="0"/>
              <a:buChar char="•"/>
            </a:pPr>
            <a:r>
              <a:rPr lang="en-US" sz="1632" dirty="0">
                <a:ln>
                  <a:solidFill>
                    <a:schemeClr val="tx1">
                      <a:alpha val="0"/>
                    </a:schemeClr>
                  </a:solidFill>
                </a:ln>
              </a:rPr>
              <a:t>Discrete. Which records to keep/filter?</a:t>
            </a:r>
          </a:p>
        </p:txBody>
      </p:sp>
      <p:sp>
        <p:nvSpPr>
          <p:cNvPr id="12" name="Rectangle 11"/>
          <p:cNvSpPr/>
          <p:nvPr>
            <p:custDataLst>
              <p:tags r:id="rId8"/>
            </p:custDataLst>
          </p:nvPr>
        </p:nvSpPr>
        <p:spPr bwMode="auto">
          <a:xfrm>
            <a:off x="550562" y="3956680"/>
            <a:ext cx="2327940" cy="1118965"/>
          </a:xfrm>
          <a:prstGeom prst="rect">
            <a:avLst/>
          </a:prstGeom>
          <a:solidFill>
            <a:schemeClr val="accent2"/>
          </a:solidFill>
          <a:ln w="9525">
            <a:noFill/>
            <a:headEnd type="none" w="med" len="med"/>
            <a:tailEnd type="none" w="med" len="med"/>
          </a:ln>
          <a:effectLst>
            <a:outerShdw blurRad="40005" dist="22860" dir="5400000" algn="ctr" rotWithShape="0">
              <a:srgbClr val="000000">
                <a:alpha val="35000"/>
              </a:srgbClr>
            </a:outerShdw>
          </a:effectLst>
        </p:spPr>
        <p:style>
          <a:lnRef idx="1">
            <a:schemeClr val="accent2"/>
          </a:lnRef>
          <a:fillRef idx="3">
            <a:schemeClr val="accent2"/>
          </a:fillRef>
          <a:effectRef idx="2">
            <a:schemeClr val="accent2"/>
          </a:effectRef>
          <a:fontRef idx="minor">
            <a:schemeClr val="lt1"/>
          </a:fontRef>
        </p:style>
        <p:txBody>
          <a:bodyPr vert="horz" wrap="square" lIns="93247" tIns="46623" rIns="93247" bIns="46623" numCol="1" rtlCol="0" anchor="ctr" anchorCtr="0" compatLnSpc="1">
            <a:prstTxWarp prst="textNoShape">
              <a:avLst/>
            </a:prstTxWarp>
            <a:noAutofit/>
          </a:bodyPr>
          <a:lstStyle/>
          <a:p>
            <a:pPr marL="0" lvl="1" algn="ctr" defTabSz="699348"/>
            <a:r>
              <a:rPr lang="en-US" sz="2856" dirty="0">
                <a:ln>
                  <a:solidFill>
                    <a:schemeClr val="tx1">
                      <a:alpha val="0"/>
                    </a:schemeClr>
                  </a:solidFill>
                </a:ln>
                <a:latin typeface="Segoe UI Light" pitchFamily="34" charset="0"/>
              </a:rPr>
              <a:t>Access type (push/pull)</a:t>
            </a:r>
          </a:p>
        </p:txBody>
      </p:sp>
      <p:sp>
        <p:nvSpPr>
          <p:cNvPr id="13" name="Rectangle 12"/>
          <p:cNvSpPr/>
          <p:nvPr>
            <p:custDataLst>
              <p:tags r:id="rId9"/>
            </p:custDataLst>
          </p:nvPr>
        </p:nvSpPr>
        <p:spPr bwMode="auto">
          <a:xfrm>
            <a:off x="2940667" y="3956680"/>
            <a:ext cx="8966293" cy="1118965"/>
          </a:xfrm>
          <a:prstGeom prst="rect">
            <a:avLst/>
          </a:prstGeom>
          <a:solidFill>
            <a:srgbClr val="000000">
              <a:alpha val="20000"/>
            </a:srgbClr>
          </a:solidFill>
          <a:ln w="9525" cap="flat" cmpd="sng" algn="ctr">
            <a:solidFill>
              <a:srgbClr val="FFFFFF">
                <a:alpha val="50000"/>
              </a:srgbClr>
            </a:solidFill>
            <a:prstDash val="solid"/>
            <a:headEnd type="none" w="med" len="med"/>
            <a:tailEnd type="none" w="med" len="med"/>
          </a:ln>
          <a:effectLst/>
        </p:spPr>
        <p:txBody>
          <a:bodyPr vert="horz" wrap="square" lIns="93247" tIns="46623" rIns="93247" bIns="46623" numCol="1" rtlCol="0" anchor="ctr" anchorCtr="0" compatLnSpc="1">
            <a:prstTxWarp prst="textNoShape">
              <a:avLst/>
            </a:prstTxWarp>
            <a:noAutofit/>
          </a:bodyPr>
          <a:lstStyle/>
          <a:p>
            <a:pPr marL="0" lvl="1">
              <a:spcBef>
                <a:spcPts val="306"/>
              </a:spcBef>
              <a:buSzPct val="90000"/>
            </a:pPr>
            <a:r>
              <a:rPr lang="en-US" sz="1836" dirty="0">
                <a:ln>
                  <a:solidFill>
                    <a:schemeClr val="tx1">
                      <a:alpha val="0"/>
                    </a:schemeClr>
                  </a:solidFill>
                </a:ln>
              </a:rPr>
              <a:t>How is the signal captured?</a:t>
            </a:r>
          </a:p>
          <a:p>
            <a:pPr marL="357751" lvl="1" indent="-234724">
              <a:spcBef>
                <a:spcPts val="306"/>
              </a:spcBef>
              <a:spcAft>
                <a:spcPts val="306"/>
              </a:spcAft>
              <a:buSzPct val="100000"/>
              <a:buFont typeface="Arial" pitchFamily="34" charset="0"/>
              <a:buChar char="•"/>
            </a:pPr>
            <a:r>
              <a:rPr lang="en-US" sz="1632" dirty="0">
                <a:ln>
                  <a:solidFill>
                    <a:schemeClr val="tx1">
                      <a:alpha val="0"/>
                    </a:schemeClr>
                  </a:solidFill>
                </a:ln>
              </a:rPr>
              <a:t>Push. Listen for push, filter/drop/acquire?</a:t>
            </a:r>
          </a:p>
          <a:p>
            <a:pPr marL="357751" lvl="1" indent="-234724">
              <a:spcBef>
                <a:spcPts val="306"/>
              </a:spcBef>
              <a:spcAft>
                <a:spcPts val="306"/>
              </a:spcAft>
              <a:buSzPct val="100000"/>
              <a:buFont typeface="Arial" pitchFamily="34" charset="0"/>
              <a:buChar char="•"/>
            </a:pPr>
            <a:r>
              <a:rPr lang="en-US" sz="1632" dirty="0">
                <a:ln>
                  <a:solidFill>
                    <a:schemeClr val="tx1">
                      <a:alpha val="0"/>
                    </a:schemeClr>
                  </a:solidFill>
                </a:ln>
              </a:rPr>
              <a:t>Pull. Poll periodically?</a:t>
            </a:r>
          </a:p>
        </p:txBody>
      </p:sp>
      <p:sp>
        <p:nvSpPr>
          <p:cNvPr id="15" name="Rectangle 14"/>
          <p:cNvSpPr/>
          <p:nvPr>
            <p:custDataLst>
              <p:tags r:id="rId10"/>
            </p:custDataLst>
          </p:nvPr>
        </p:nvSpPr>
        <p:spPr bwMode="auto">
          <a:xfrm>
            <a:off x="550562" y="5206279"/>
            <a:ext cx="2327940" cy="1118965"/>
          </a:xfrm>
          <a:prstGeom prst="rect">
            <a:avLst/>
          </a:prstGeom>
          <a:solidFill>
            <a:schemeClr val="accent5"/>
          </a:solidFill>
          <a:ln w="9525" cap="flat" cmpd="sng" algn="ctr">
            <a:noFill/>
            <a:prstDash val="solid"/>
            <a:headEnd type="none" w="med" len="med"/>
            <a:tailEnd type="none" w="med" len="med"/>
          </a:ln>
          <a:effectLst>
            <a:outerShdw blurRad="40005" dist="22860" dir="5400000" algn="ctr" rotWithShape="0">
              <a:srgbClr val="000000">
                <a:alpha val="35000"/>
              </a:srgbClr>
            </a:outerShdw>
          </a:effectLst>
          <a:scene3d>
            <a:camera prst="orthographicFront" fov="0">
              <a:rot lat="0" lon="0" rev="0"/>
            </a:camera>
            <a:lightRig rig="glow" dir="t">
              <a:rot lat="0" lon="0" rev="6360000"/>
            </a:lightRig>
          </a:scene3d>
          <a:sp3d prstMaterial="flat">
            <a:contourClr>
              <a:srgbClr val="008FBA">
                <a:satMod val="300000"/>
              </a:srgbClr>
            </a:contourClr>
          </a:sp3d>
        </p:spPr>
        <p:txBody>
          <a:bodyPr vert="horz" wrap="square" lIns="93247" tIns="46623" rIns="93247" bIns="46623" numCol="1" rtlCol="0" anchor="ctr" anchorCtr="0" compatLnSpc="1">
            <a:prstTxWarp prst="textNoShape">
              <a:avLst/>
            </a:prstTxWarp>
            <a:noAutofit/>
          </a:bodyPr>
          <a:lstStyle/>
          <a:p>
            <a:pPr marL="0" lvl="1" algn="ctr" defTabSz="699348">
              <a:lnSpc>
                <a:spcPct val="90000"/>
              </a:lnSpc>
              <a:spcBef>
                <a:spcPts val="612"/>
              </a:spcBef>
              <a:buSzPct val="90000"/>
            </a:pPr>
            <a:r>
              <a:rPr lang="en-US" sz="2856" dirty="0">
                <a:ln>
                  <a:solidFill>
                    <a:schemeClr val="tx1">
                      <a:alpha val="0"/>
                    </a:schemeClr>
                  </a:solidFill>
                </a:ln>
                <a:latin typeface="Segoe UI Light" pitchFamily="34" charset="0"/>
              </a:rPr>
              <a:t>Ambient / Active</a:t>
            </a:r>
          </a:p>
        </p:txBody>
      </p:sp>
      <p:sp>
        <p:nvSpPr>
          <p:cNvPr id="16" name="Rectangle 15"/>
          <p:cNvSpPr/>
          <p:nvPr>
            <p:custDataLst>
              <p:tags r:id="rId11"/>
            </p:custDataLst>
          </p:nvPr>
        </p:nvSpPr>
        <p:spPr bwMode="auto">
          <a:xfrm>
            <a:off x="2940667" y="5206279"/>
            <a:ext cx="8966293" cy="1118965"/>
          </a:xfrm>
          <a:prstGeom prst="rect">
            <a:avLst/>
          </a:prstGeom>
          <a:solidFill>
            <a:srgbClr val="000000">
              <a:alpha val="20000"/>
            </a:srgbClr>
          </a:solidFill>
          <a:ln w="9525" cap="flat" cmpd="sng" algn="ctr">
            <a:solidFill>
              <a:srgbClr val="FFFFFF">
                <a:alpha val="50000"/>
              </a:srgbClr>
            </a:solidFill>
            <a:prstDash val="solid"/>
            <a:headEnd type="none" w="med" len="med"/>
            <a:tailEnd type="none" w="med" len="med"/>
          </a:ln>
          <a:effectLst/>
        </p:spPr>
        <p:txBody>
          <a:bodyPr vert="horz" wrap="square" lIns="93247" tIns="46623" rIns="93247" bIns="46623" numCol="1" rtlCol="0" anchor="ctr" anchorCtr="0" compatLnSpc="1">
            <a:prstTxWarp prst="textNoShape">
              <a:avLst/>
            </a:prstTxWarp>
            <a:noAutofit/>
          </a:bodyPr>
          <a:lstStyle/>
          <a:p>
            <a:pPr marL="0" lvl="1">
              <a:spcBef>
                <a:spcPts val="306"/>
              </a:spcBef>
              <a:buSzPct val="90000"/>
            </a:pPr>
            <a:r>
              <a:rPr lang="en-US" sz="1836" dirty="0">
                <a:ln>
                  <a:solidFill>
                    <a:schemeClr val="tx1">
                      <a:alpha val="0"/>
                    </a:schemeClr>
                  </a:solidFill>
                </a:ln>
              </a:rPr>
              <a:t>How is the signal generated?</a:t>
            </a:r>
          </a:p>
          <a:p>
            <a:pPr marL="357751" lvl="1" indent="-234724">
              <a:spcBef>
                <a:spcPts val="306"/>
              </a:spcBef>
              <a:spcAft>
                <a:spcPts val="306"/>
              </a:spcAft>
              <a:buSzPct val="100000"/>
              <a:buFont typeface="Arial" pitchFamily="34" charset="0"/>
              <a:buChar char="•"/>
            </a:pPr>
            <a:r>
              <a:rPr lang="en-US" sz="1632" dirty="0">
                <a:ln>
                  <a:solidFill>
                    <a:schemeClr val="tx1">
                      <a:alpha val="0"/>
                    </a:schemeClr>
                  </a:solidFill>
                </a:ln>
              </a:rPr>
              <a:t>Ambient. Baked in telemetry (</a:t>
            </a:r>
            <a:r>
              <a:rPr lang="en-US" sz="1632" dirty="0" err="1">
                <a:ln>
                  <a:solidFill>
                    <a:schemeClr val="tx1">
                      <a:alpha val="0"/>
                    </a:schemeClr>
                  </a:solidFill>
                </a:ln>
              </a:rPr>
              <a:t>perf</a:t>
            </a:r>
            <a:r>
              <a:rPr lang="en-US" sz="1632" dirty="0">
                <a:ln>
                  <a:solidFill>
                    <a:schemeClr val="tx1">
                      <a:alpha val="0"/>
                    </a:schemeClr>
                  </a:solidFill>
                </a:ln>
              </a:rPr>
              <a:t> counter, </a:t>
            </a:r>
            <a:r>
              <a:rPr lang="en-US" sz="1632" dirty="0" err="1">
                <a:ln>
                  <a:solidFill>
                    <a:schemeClr val="tx1">
                      <a:alpha val="0"/>
                    </a:schemeClr>
                  </a:solidFill>
                </a:ln>
              </a:rPr>
              <a:t>etc</a:t>
            </a:r>
            <a:r>
              <a:rPr lang="en-US" sz="1632" dirty="0">
                <a:ln>
                  <a:solidFill>
                    <a:schemeClr val="tx1">
                      <a:alpha val="0"/>
                    </a:schemeClr>
                  </a:solidFill>
                </a:ln>
              </a:rPr>
              <a:t>). May need to configure?</a:t>
            </a:r>
          </a:p>
          <a:p>
            <a:pPr marL="357751" lvl="1" indent="-234724">
              <a:spcBef>
                <a:spcPts val="306"/>
              </a:spcBef>
              <a:spcAft>
                <a:spcPts val="306"/>
              </a:spcAft>
              <a:buSzPct val="100000"/>
              <a:buFont typeface="Arial" pitchFamily="34" charset="0"/>
              <a:buChar char="•"/>
            </a:pPr>
            <a:r>
              <a:rPr lang="en-US" sz="1632" dirty="0">
                <a:ln>
                  <a:solidFill>
                    <a:schemeClr val="tx1">
                      <a:alpha val="0"/>
                    </a:schemeClr>
                  </a:solidFill>
                </a:ln>
              </a:rPr>
              <a:t>Active. Need to actively instrument applications and/or systems?</a:t>
            </a:r>
          </a:p>
        </p:txBody>
      </p:sp>
    </p:spTree>
    <p:extLst>
      <p:ext uri="{BB962C8B-B14F-4D97-AF65-F5344CB8AC3E}">
        <p14:creationId xmlns:p14="http://schemas.microsoft.com/office/powerpoint/2010/main" val="3521655981"/>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3383" y="497"/>
          <a:ext cx="161887" cy="161887"/>
        </p:xfrm>
        <a:graphic>
          <a:graphicData uri="http://schemas.openxmlformats.org/presentationml/2006/ole">
            <mc:AlternateContent xmlns:mc="http://schemas.openxmlformats.org/markup-compatibility/2006">
              <mc:Choice xmlns:v="urn:schemas-microsoft-com:vml" Requires="v">
                <p:oleObj spid="_x0000_s10247"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3383" y="497"/>
                        <a:ext cx="161887" cy="1618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Sources of Signals</a:t>
            </a:r>
          </a:p>
        </p:txBody>
      </p:sp>
      <p:sp>
        <p:nvSpPr>
          <p:cNvPr id="3" name="Rectangle 2"/>
          <p:cNvSpPr/>
          <p:nvPr>
            <p:custDataLst>
              <p:tags r:id="rId4"/>
            </p:custDataLst>
          </p:nvPr>
        </p:nvSpPr>
        <p:spPr bwMode="auto">
          <a:xfrm>
            <a:off x="550563" y="1457481"/>
            <a:ext cx="2327939" cy="2110086"/>
          </a:xfrm>
          <a:prstGeom prst="rect">
            <a:avLst/>
          </a:prstGeom>
          <a:solidFill>
            <a:schemeClr val="accent1"/>
          </a:solidFill>
          <a:ln w="9525">
            <a:noFill/>
            <a:headEnd type="none" w="med" len="med"/>
            <a:tailEnd type="none" w="med" len="med"/>
          </a:ln>
          <a:effectLst>
            <a:outerShdw blurRad="40005" dist="22860" dir="5400000" algn="ctr" rotWithShape="0">
              <a:srgbClr val="000000">
                <a:alpha val="35000"/>
              </a:srgbClr>
            </a:outerShdw>
          </a:effectLst>
        </p:spPr>
        <p:style>
          <a:lnRef idx="1">
            <a:schemeClr val="accent2"/>
          </a:lnRef>
          <a:fillRef idx="3">
            <a:schemeClr val="accent2"/>
          </a:fillRef>
          <a:effectRef idx="2">
            <a:schemeClr val="accent2"/>
          </a:effectRef>
          <a:fontRef idx="minor">
            <a:schemeClr val="lt1"/>
          </a:fontRef>
        </p:style>
        <p:txBody>
          <a:bodyPr vert="horz" wrap="square" lIns="93247" tIns="46623" rIns="93247" bIns="46623" numCol="1" rtlCol="0" anchor="ctr" anchorCtr="0" compatLnSpc="1">
            <a:prstTxWarp prst="textNoShape">
              <a:avLst/>
            </a:prstTxWarp>
            <a:noAutofit/>
          </a:bodyPr>
          <a:lstStyle/>
          <a:p>
            <a:pPr marL="0" lvl="1" algn="ctr" defTabSz="699348"/>
            <a:r>
              <a:rPr lang="en-US" sz="2856" dirty="0">
                <a:ln>
                  <a:solidFill>
                    <a:schemeClr val="tx1">
                      <a:alpha val="0"/>
                    </a:schemeClr>
                  </a:solidFill>
                </a:ln>
                <a:latin typeface="Segoe UI Light" pitchFamily="34" charset="0"/>
              </a:rPr>
              <a:t>Infrastructure</a:t>
            </a:r>
          </a:p>
        </p:txBody>
      </p:sp>
      <p:sp>
        <p:nvSpPr>
          <p:cNvPr id="4" name="Rectangle 3"/>
          <p:cNvSpPr/>
          <p:nvPr>
            <p:custDataLst>
              <p:tags r:id="rId5"/>
            </p:custDataLst>
          </p:nvPr>
        </p:nvSpPr>
        <p:spPr bwMode="auto">
          <a:xfrm>
            <a:off x="2940667" y="1457481"/>
            <a:ext cx="8966293" cy="2110086"/>
          </a:xfrm>
          <a:prstGeom prst="rect">
            <a:avLst/>
          </a:prstGeom>
          <a:solidFill>
            <a:srgbClr val="000000">
              <a:alpha val="20000"/>
            </a:srgbClr>
          </a:solidFill>
          <a:ln w="9525" cap="flat" cmpd="sng" algn="ctr">
            <a:solidFill>
              <a:srgbClr val="FFFFFF">
                <a:alpha val="50000"/>
              </a:srgbClr>
            </a:solidFill>
            <a:prstDash val="solid"/>
            <a:headEnd type="none" w="med" len="med"/>
            <a:tailEnd type="none" w="med" len="med"/>
          </a:ln>
          <a:effectLst/>
        </p:spPr>
        <p:txBody>
          <a:bodyPr vert="horz" wrap="square" lIns="93247" tIns="46623" rIns="93247" bIns="46623" numCol="1" rtlCol="0" anchor="t" anchorCtr="0" compatLnSpc="1">
            <a:prstTxWarp prst="textNoShape">
              <a:avLst/>
            </a:prstTxWarp>
            <a:noAutofit/>
          </a:bodyPr>
          <a:lstStyle/>
          <a:p>
            <a:pPr marL="0" lvl="1">
              <a:spcBef>
                <a:spcPts val="306"/>
              </a:spcBef>
              <a:buSzPct val="90000"/>
            </a:pPr>
            <a:r>
              <a:rPr lang="en-US" sz="1836" dirty="0">
                <a:ln>
                  <a:solidFill>
                    <a:schemeClr val="tx1">
                      <a:alpha val="0"/>
                    </a:schemeClr>
                  </a:solidFill>
                </a:ln>
              </a:rPr>
              <a:t>Performance counters</a:t>
            </a:r>
          </a:p>
          <a:p>
            <a:pPr marL="357751" lvl="1" indent="-234724">
              <a:spcBef>
                <a:spcPts val="306"/>
              </a:spcBef>
              <a:spcAft>
                <a:spcPts val="306"/>
              </a:spcAft>
              <a:buSzPct val="100000"/>
              <a:buFont typeface="Arial" pitchFamily="34" charset="0"/>
              <a:buChar char="•"/>
            </a:pPr>
            <a:r>
              <a:rPr lang="en-US" sz="1632" dirty="0">
                <a:ln>
                  <a:solidFill>
                    <a:schemeClr val="tx1">
                      <a:alpha val="0"/>
                    </a:schemeClr>
                  </a:solidFill>
                </a:ln>
              </a:rPr>
              <a:t>Native performance counters ~ 1 second resolution. </a:t>
            </a:r>
          </a:p>
          <a:p>
            <a:pPr marL="357751" lvl="1" indent="-234724">
              <a:spcBef>
                <a:spcPts val="306"/>
              </a:spcBef>
              <a:spcAft>
                <a:spcPts val="306"/>
              </a:spcAft>
              <a:buSzPct val="100000"/>
              <a:buFont typeface="Arial" pitchFamily="34" charset="0"/>
              <a:buChar char="•"/>
            </a:pPr>
            <a:r>
              <a:rPr lang="en-US" sz="1632" dirty="0">
                <a:ln>
                  <a:solidFill>
                    <a:schemeClr val="tx1">
                      <a:alpha val="0"/>
                    </a:schemeClr>
                  </a:solidFill>
                </a:ln>
              </a:rPr>
              <a:t>“Azure” </a:t>
            </a:r>
            <a:r>
              <a:rPr lang="en-US" sz="1632" dirty="0" err="1">
                <a:ln>
                  <a:solidFill>
                    <a:schemeClr val="tx1">
                      <a:alpha val="0"/>
                    </a:schemeClr>
                  </a:solidFill>
                </a:ln>
              </a:rPr>
              <a:t>perf</a:t>
            </a:r>
            <a:r>
              <a:rPr lang="en-US" sz="1632" dirty="0">
                <a:ln>
                  <a:solidFill>
                    <a:schemeClr val="tx1">
                      <a:alpha val="0"/>
                    </a:schemeClr>
                  </a:solidFill>
                </a:ln>
              </a:rPr>
              <a:t> counters 5-15 min at scale. </a:t>
            </a:r>
          </a:p>
          <a:p>
            <a:pPr marL="357751" lvl="1" indent="-234724">
              <a:spcBef>
                <a:spcPts val="306"/>
              </a:spcBef>
              <a:spcAft>
                <a:spcPts val="306"/>
              </a:spcAft>
              <a:buSzPct val="100000"/>
              <a:buFont typeface="Arial" pitchFamily="34" charset="0"/>
              <a:buChar char="•"/>
            </a:pPr>
            <a:r>
              <a:rPr lang="en-US" sz="1632" dirty="0">
                <a:ln>
                  <a:solidFill>
                    <a:schemeClr val="tx1">
                      <a:alpha val="0"/>
                    </a:schemeClr>
                  </a:solidFill>
                </a:ln>
              </a:rPr>
              <a:t>Generally need hybrid approach</a:t>
            </a:r>
          </a:p>
          <a:p>
            <a:pPr marL="0" lvl="1">
              <a:spcBef>
                <a:spcPts val="612"/>
              </a:spcBef>
              <a:buSzPct val="90000"/>
            </a:pPr>
            <a:r>
              <a:rPr lang="en-US" sz="1836" dirty="0">
                <a:ln>
                  <a:solidFill>
                    <a:schemeClr val="tx1">
                      <a:alpha val="0"/>
                    </a:schemeClr>
                  </a:solidFill>
                </a:ln>
              </a:rPr>
              <a:t>ETW channels. Super detailed – high volume.</a:t>
            </a:r>
          </a:p>
          <a:p>
            <a:pPr marL="357751" lvl="1" indent="-234724">
              <a:spcBef>
                <a:spcPts val="306"/>
              </a:spcBef>
              <a:spcAft>
                <a:spcPts val="306"/>
              </a:spcAft>
              <a:buSzPct val="100000"/>
              <a:buFont typeface="Arial" pitchFamily="34" charset="0"/>
              <a:buChar char="•"/>
            </a:pPr>
            <a:r>
              <a:rPr lang="en-US" sz="1632" dirty="0">
                <a:ln>
                  <a:solidFill>
                    <a:schemeClr val="tx1">
                      <a:alpha val="0"/>
                    </a:schemeClr>
                  </a:solidFill>
                </a:ln>
              </a:rPr>
              <a:t>Generally need local aggregation and/or filtering, batch distribution</a:t>
            </a:r>
          </a:p>
        </p:txBody>
      </p:sp>
      <p:sp>
        <p:nvSpPr>
          <p:cNvPr id="7" name="Rectangle 6"/>
          <p:cNvSpPr/>
          <p:nvPr>
            <p:custDataLst>
              <p:tags r:id="rId6"/>
            </p:custDataLst>
          </p:nvPr>
        </p:nvSpPr>
        <p:spPr bwMode="auto">
          <a:xfrm>
            <a:off x="550563" y="3662849"/>
            <a:ext cx="2327939" cy="2879282"/>
          </a:xfrm>
          <a:prstGeom prst="rect">
            <a:avLst/>
          </a:prstGeom>
          <a:solidFill>
            <a:schemeClr val="accent2"/>
          </a:solidFill>
          <a:ln w="9525">
            <a:noFill/>
            <a:headEnd type="none" w="med" len="med"/>
            <a:tailEnd type="none" w="med" len="med"/>
          </a:ln>
          <a:effectLst>
            <a:outerShdw blurRad="40005" dist="22860" dir="5400000" algn="ctr" rotWithShape="0">
              <a:srgbClr val="000000">
                <a:alpha val="35000"/>
              </a:srgbClr>
            </a:outerShdw>
          </a:effectLst>
        </p:spPr>
        <p:style>
          <a:lnRef idx="1">
            <a:schemeClr val="accent2"/>
          </a:lnRef>
          <a:fillRef idx="3">
            <a:schemeClr val="accent2"/>
          </a:fillRef>
          <a:effectRef idx="2">
            <a:schemeClr val="accent2"/>
          </a:effectRef>
          <a:fontRef idx="minor">
            <a:schemeClr val="lt1"/>
          </a:fontRef>
        </p:style>
        <p:txBody>
          <a:bodyPr vert="horz" wrap="square" lIns="93247" tIns="46623" rIns="93247" bIns="46623" numCol="1" rtlCol="0" anchor="ctr" anchorCtr="0" compatLnSpc="1">
            <a:prstTxWarp prst="textNoShape">
              <a:avLst/>
            </a:prstTxWarp>
            <a:noAutofit/>
          </a:bodyPr>
          <a:lstStyle/>
          <a:p>
            <a:pPr marL="0" lvl="1" algn="ctr" defTabSz="699348"/>
            <a:r>
              <a:rPr lang="en-US" sz="2856" dirty="0">
                <a:ln>
                  <a:solidFill>
                    <a:schemeClr val="tx1">
                      <a:alpha val="0"/>
                    </a:schemeClr>
                  </a:solidFill>
                </a:ln>
                <a:latin typeface="Segoe UI Light" pitchFamily="34" charset="0"/>
              </a:rPr>
              <a:t>Application</a:t>
            </a:r>
          </a:p>
        </p:txBody>
      </p:sp>
      <p:sp>
        <p:nvSpPr>
          <p:cNvPr id="8" name="Rectangle 7"/>
          <p:cNvSpPr/>
          <p:nvPr>
            <p:custDataLst>
              <p:tags r:id="rId7"/>
            </p:custDataLst>
          </p:nvPr>
        </p:nvSpPr>
        <p:spPr bwMode="auto">
          <a:xfrm>
            <a:off x="2940667" y="3662849"/>
            <a:ext cx="8966293" cy="2879282"/>
          </a:xfrm>
          <a:prstGeom prst="rect">
            <a:avLst/>
          </a:prstGeom>
          <a:solidFill>
            <a:srgbClr val="000000">
              <a:alpha val="20000"/>
            </a:srgbClr>
          </a:solidFill>
          <a:ln w="9525" cap="flat" cmpd="sng" algn="ctr">
            <a:solidFill>
              <a:srgbClr val="FFFFFF">
                <a:alpha val="50000"/>
              </a:srgbClr>
            </a:solidFill>
            <a:prstDash val="solid"/>
            <a:headEnd type="none" w="med" len="med"/>
            <a:tailEnd type="none" w="med" len="med"/>
          </a:ln>
          <a:effectLst/>
        </p:spPr>
        <p:txBody>
          <a:bodyPr vert="horz" wrap="square" lIns="93247" tIns="46623" rIns="93247" bIns="46623" numCol="1" rtlCol="0" anchor="t" anchorCtr="0" compatLnSpc="1">
            <a:prstTxWarp prst="textNoShape">
              <a:avLst/>
            </a:prstTxWarp>
            <a:noAutofit/>
          </a:bodyPr>
          <a:lstStyle/>
          <a:p>
            <a:pPr marL="0" lvl="1">
              <a:spcBef>
                <a:spcPts val="306"/>
              </a:spcBef>
              <a:buSzPct val="90000"/>
            </a:pPr>
            <a:r>
              <a:rPr lang="en-US" sz="1836" dirty="0">
                <a:ln>
                  <a:solidFill>
                    <a:schemeClr val="tx1">
                      <a:alpha val="0"/>
                    </a:schemeClr>
                  </a:solidFill>
                </a:ln>
              </a:rPr>
              <a:t>Managed applications. </a:t>
            </a:r>
          </a:p>
          <a:p>
            <a:pPr marL="349656" lvl="1" indent="-226630">
              <a:spcBef>
                <a:spcPts val="306"/>
              </a:spcBef>
              <a:spcAft>
                <a:spcPts val="306"/>
              </a:spcAft>
              <a:buClr>
                <a:schemeClr val="tx1"/>
              </a:buClr>
              <a:buSzPct val="90000"/>
              <a:buFont typeface="Arial" pitchFamily="34" charset="0"/>
              <a:buChar char="•"/>
            </a:pPr>
            <a:r>
              <a:rPr lang="en-US" sz="1632" dirty="0">
                <a:ln>
                  <a:solidFill>
                    <a:schemeClr val="tx1">
                      <a:alpha val="0"/>
                    </a:schemeClr>
                  </a:solidFill>
                </a:ln>
              </a:rPr>
              <a:t>Automatic instrumentation via </a:t>
            </a:r>
            <a:r>
              <a:rPr lang="en-US" sz="1632" dirty="0" err="1">
                <a:ln>
                  <a:solidFill>
                    <a:schemeClr val="tx1">
                      <a:alpha val="0"/>
                    </a:schemeClr>
                  </a:solidFill>
                </a:ln>
              </a:rPr>
              <a:t>AVIcode</a:t>
            </a:r>
            <a:r>
              <a:rPr lang="en-US" sz="1632" dirty="0">
                <a:ln>
                  <a:solidFill>
                    <a:schemeClr val="tx1">
                      <a:alpha val="0"/>
                    </a:schemeClr>
                  </a:solidFill>
                </a:ln>
              </a:rPr>
              <a:t>, </a:t>
            </a:r>
            <a:r>
              <a:rPr lang="en-US" sz="1632" dirty="0" err="1">
                <a:ln>
                  <a:solidFill>
                    <a:schemeClr val="tx1">
                      <a:alpha val="0"/>
                    </a:schemeClr>
                  </a:solidFill>
                </a:ln>
              </a:rPr>
              <a:t>etc</a:t>
            </a:r>
            <a:r>
              <a:rPr lang="en-US" sz="1632" dirty="0">
                <a:ln>
                  <a:solidFill>
                    <a:schemeClr val="tx1">
                      <a:alpha val="0"/>
                    </a:schemeClr>
                  </a:solidFill>
                </a:ln>
              </a:rPr>
              <a:t> (profiling API). Rich timing information, context typically needs to be inferred</a:t>
            </a:r>
          </a:p>
          <a:p>
            <a:pPr marL="349656" lvl="1" indent="-226630">
              <a:spcBef>
                <a:spcPts val="306"/>
              </a:spcBef>
              <a:spcAft>
                <a:spcPts val="306"/>
              </a:spcAft>
              <a:buClr>
                <a:schemeClr val="tx1"/>
              </a:buClr>
              <a:buSzPct val="100000"/>
              <a:buFont typeface="Arial" pitchFamily="34" charset="0"/>
              <a:buChar char="•"/>
            </a:pPr>
            <a:r>
              <a:rPr lang="en-US" sz="1632" dirty="0">
                <a:ln>
                  <a:solidFill>
                    <a:schemeClr val="tx1">
                      <a:alpha val="0"/>
                    </a:schemeClr>
                  </a:solidFill>
                </a:ln>
                <a:solidFill>
                  <a:schemeClr val="accent5"/>
                </a:solidFill>
              </a:rPr>
              <a:t>Manual tracing</a:t>
            </a:r>
            <a:r>
              <a:rPr lang="en-US" sz="1632" dirty="0">
                <a:ln>
                  <a:solidFill>
                    <a:schemeClr val="tx1">
                      <a:alpha val="0"/>
                    </a:schemeClr>
                  </a:solidFill>
                </a:ln>
              </a:rPr>
              <a:t> via </a:t>
            </a:r>
            <a:r>
              <a:rPr lang="en-US" sz="1632" dirty="0" err="1">
                <a:ln>
                  <a:solidFill>
                    <a:schemeClr val="tx1">
                      <a:alpha val="0"/>
                    </a:schemeClr>
                  </a:solidFill>
                </a:ln>
              </a:rPr>
              <a:t>System.Diagnostics</a:t>
            </a:r>
            <a:r>
              <a:rPr lang="en-US" sz="1632" dirty="0">
                <a:ln>
                  <a:solidFill>
                    <a:schemeClr val="tx1">
                      <a:alpha val="0"/>
                    </a:schemeClr>
                  </a:solidFill>
                </a:ln>
              </a:rPr>
              <a:t>, </a:t>
            </a:r>
            <a:r>
              <a:rPr lang="en-US" sz="1632" dirty="0" err="1">
                <a:ln>
                  <a:solidFill>
                    <a:schemeClr val="tx1">
                      <a:alpha val="0"/>
                    </a:schemeClr>
                  </a:solidFill>
                </a:ln>
              </a:rPr>
              <a:t>Nlog</a:t>
            </a:r>
            <a:r>
              <a:rPr lang="en-US" sz="1632" dirty="0">
                <a:ln>
                  <a:solidFill>
                    <a:schemeClr val="tx1">
                      <a:alpha val="0"/>
                    </a:schemeClr>
                  </a:solidFill>
                </a:ln>
              </a:rPr>
              <a:t>, log4net, etc. Development investment required.</a:t>
            </a:r>
          </a:p>
          <a:p>
            <a:pPr marL="0" lvl="1">
              <a:spcBef>
                <a:spcPts val="612"/>
              </a:spcBef>
              <a:buSzPct val="90000"/>
            </a:pPr>
            <a:r>
              <a:rPr lang="en-US" sz="1836" dirty="0">
                <a:ln>
                  <a:solidFill>
                    <a:schemeClr val="tx1">
                      <a:alpha val="0"/>
                    </a:schemeClr>
                  </a:solidFill>
                </a:ln>
              </a:rPr>
              <a:t>Azure services (samples)</a:t>
            </a:r>
          </a:p>
          <a:p>
            <a:pPr marL="357751" lvl="1" indent="-234724">
              <a:spcBef>
                <a:spcPts val="306"/>
              </a:spcBef>
              <a:spcAft>
                <a:spcPts val="306"/>
              </a:spcAft>
              <a:buSzPct val="100000"/>
              <a:buFont typeface="Arial" pitchFamily="34" charset="0"/>
              <a:buChar char="•"/>
            </a:pPr>
            <a:r>
              <a:rPr lang="en-US" sz="1632" dirty="0">
                <a:ln>
                  <a:solidFill>
                    <a:schemeClr val="tx1">
                      <a:alpha val="0"/>
                    </a:schemeClr>
                  </a:solidFill>
                </a:ln>
              </a:rPr>
              <a:t>SQL Azure. DMVs and system calls provide app-level insight. Requires manual collection infrastructure (polling).</a:t>
            </a:r>
          </a:p>
          <a:p>
            <a:pPr marL="357751" lvl="1" indent="-234724">
              <a:spcBef>
                <a:spcPts val="306"/>
              </a:spcBef>
              <a:spcAft>
                <a:spcPts val="306"/>
              </a:spcAft>
              <a:buSzPct val="100000"/>
              <a:buFont typeface="Arial" pitchFamily="34" charset="0"/>
              <a:buChar char="•"/>
            </a:pPr>
            <a:r>
              <a:rPr lang="en-US" sz="1632" dirty="0" err="1">
                <a:ln>
                  <a:solidFill>
                    <a:schemeClr val="tx1">
                      <a:alpha val="0"/>
                    </a:schemeClr>
                  </a:solidFill>
                </a:ln>
              </a:rPr>
              <a:t>Memcached</a:t>
            </a:r>
            <a:r>
              <a:rPr lang="en-US" sz="1632" dirty="0">
                <a:ln>
                  <a:solidFill>
                    <a:schemeClr val="tx1">
                      <a:alpha val="0"/>
                    </a:schemeClr>
                  </a:solidFill>
                </a:ln>
              </a:rPr>
              <a:t>. Client APIs provide cluster-level statistics </a:t>
            </a:r>
          </a:p>
        </p:txBody>
      </p:sp>
    </p:spTree>
    <p:extLst>
      <p:ext uri="{BB962C8B-B14F-4D97-AF65-F5344CB8AC3E}">
        <p14:creationId xmlns:p14="http://schemas.microsoft.com/office/powerpoint/2010/main" val="3555332838"/>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3383" y="497"/>
          <a:ext cx="161887" cy="161887"/>
        </p:xfrm>
        <a:graphic>
          <a:graphicData uri="http://schemas.openxmlformats.org/presentationml/2006/ole">
            <mc:AlternateContent xmlns:mc="http://schemas.openxmlformats.org/markup-compatibility/2006">
              <mc:Choice xmlns:v="urn:schemas-microsoft-com:vml" Requires="v">
                <p:oleObj spid="_x0000_s11271"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3383" y="497"/>
                        <a:ext cx="161887" cy="161887"/>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a:t>Consumer Patterns</a:t>
            </a:r>
          </a:p>
        </p:txBody>
      </p:sp>
      <p:sp>
        <p:nvSpPr>
          <p:cNvPr id="10" name="Rectangle 9"/>
          <p:cNvSpPr/>
          <p:nvPr>
            <p:custDataLst>
              <p:tags r:id="rId4"/>
            </p:custDataLst>
          </p:nvPr>
        </p:nvSpPr>
        <p:spPr bwMode="auto">
          <a:xfrm>
            <a:off x="550562" y="1457482"/>
            <a:ext cx="2327940" cy="1398706"/>
          </a:xfrm>
          <a:prstGeom prst="rect">
            <a:avLst/>
          </a:prstGeom>
          <a:solidFill>
            <a:schemeClr val="accent3"/>
          </a:solidFill>
          <a:ln w="9525" cap="flat" cmpd="sng" algn="ctr">
            <a:noFill/>
            <a:prstDash val="solid"/>
            <a:headEnd type="none" w="med" len="med"/>
            <a:tailEnd type="none" w="med" len="med"/>
          </a:ln>
          <a:effectLst>
            <a:outerShdw blurRad="40005" dist="22860" dir="5400000" algn="ctr" rotWithShape="0">
              <a:srgbClr val="000000">
                <a:alpha val="35000"/>
              </a:srgbClr>
            </a:outerShdw>
          </a:effectLst>
          <a:scene3d>
            <a:camera prst="orthographicFront" fov="0">
              <a:rot lat="0" lon="0" rev="0"/>
            </a:camera>
            <a:lightRig rig="glow" dir="t">
              <a:rot lat="0" lon="0" rev="6360000"/>
            </a:lightRig>
          </a:scene3d>
          <a:sp3d prstMaterial="flat">
            <a:contourClr>
              <a:srgbClr val="008FBA">
                <a:satMod val="300000"/>
              </a:srgbClr>
            </a:contourClr>
          </a:sp3d>
        </p:spPr>
        <p:txBody>
          <a:bodyPr vert="horz" wrap="square" lIns="93247" tIns="46623" rIns="93247" bIns="46623" numCol="1" rtlCol="0" anchor="ctr" anchorCtr="0" compatLnSpc="1">
            <a:prstTxWarp prst="textNoShape">
              <a:avLst/>
            </a:prstTxWarp>
            <a:noAutofit/>
          </a:bodyPr>
          <a:lstStyle/>
          <a:p>
            <a:pPr marL="0" lvl="1" algn="ctr" defTabSz="699348">
              <a:lnSpc>
                <a:spcPct val="90000"/>
              </a:lnSpc>
              <a:spcBef>
                <a:spcPts val="612"/>
              </a:spcBef>
              <a:buSzPct val="90000"/>
            </a:pPr>
            <a:r>
              <a:rPr lang="en-US" sz="2856" dirty="0">
                <a:ln>
                  <a:solidFill>
                    <a:schemeClr val="tx1">
                      <a:alpha val="0"/>
                    </a:schemeClr>
                  </a:solidFill>
                </a:ln>
                <a:latin typeface="Segoe UI Light" pitchFamily="34" charset="0"/>
              </a:rPr>
              <a:t>Inform</a:t>
            </a:r>
          </a:p>
        </p:txBody>
      </p:sp>
      <p:sp>
        <p:nvSpPr>
          <p:cNvPr id="11" name="Rectangle 10"/>
          <p:cNvSpPr/>
          <p:nvPr>
            <p:custDataLst>
              <p:tags r:id="rId5"/>
            </p:custDataLst>
          </p:nvPr>
        </p:nvSpPr>
        <p:spPr bwMode="auto">
          <a:xfrm>
            <a:off x="2940667" y="1457482"/>
            <a:ext cx="8966293" cy="1398706"/>
          </a:xfrm>
          <a:prstGeom prst="rect">
            <a:avLst/>
          </a:prstGeom>
          <a:solidFill>
            <a:srgbClr val="000000">
              <a:alpha val="20000"/>
            </a:srgbClr>
          </a:solidFill>
          <a:ln w="9525" cap="flat" cmpd="sng" algn="ctr">
            <a:solidFill>
              <a:srgbClr val="FFFFFF">
                <a:alpha val="50000"/>
              </a:srgbClr>
            </a:solidFill>
            <a:prstDash val="solid"/>
            <a:headEnd type="none" w="med" len="med"/>
            <a:tailEnd type="none" w="med" len="med"/>
          </a:ln>
          <a:effectLst/>
        </p:spPr>
        <p:txBody>
          <a:bodyPr vert="horz" wrap="square" lIns="46623" tIns="46623" rIns="46623" bIns="46623" numCol="1" rtlCol="0" anchor="ctr" anchorCtr="0" compatLnSpc="1">
            <a:prstTxWarp prst="textNoShape">
              <a:avLst/>
            </a:prstTxWarp>
            <a:noAutofit/>
          </a:bodyPr>
          <a:lstStyle/>
          <a:p>
            <a:pPr marL="357751" lvl="1" indent="-234724">
              <a:spcBef>
                <a:spcPts val="306"/>
              </a:spcBef>
              <a:spcAft>
                <a:spcPts val="306"/>
              </a:spcAft>
              <a:buClr>
                <a:schemeClr val="tx1"/>
              </a:buClr>
              <a:buSzPct val="100000"/>
              <a:buFont typeface="Arial" pitchFamily="34" charset="0"/>
              <a:buChar char="•"/>
            </a:pPr>
            <a:r>
              <a:rPr lang="en-US" sz="1836" dirty="0">
                <a:ln>
                  <a:solidFill>
                    <a:schemeClr val="tx1">
                      <a:alpha val="0"/>
                    </a:schemeClr>
                  </a:solidFill>
                </a:ln>
              </a:rPr>
              <a:t>Canonical dashboard, allowing exploration of visualizations (time series charts, plots, </a:t>
            </a:r>
            <a:r>
              <a:rPr lang="en-US" sz="1836" dirty="0" err="1">
                <a:ln>
                  <a:solidFill>
                    <a:schemeClr val="tx1">
                      <a:alpha val="0"/>
                    </a:schemeClr>
                  </a:solidFill>
                </a:ln>
              </a:rPr>
              <a:t>etc</a:t>
            </a:r>
            <a:r>
              <a:rPr lang="en-US" sz="1836" dirty="0">
                <a:ln>
                  <a:solidFill>
                    <a:schemeClr val="tx1">
                      <a:alpha val="0"/>
                    </a:schemeClr>
                  </a:solidFill>
                </a:ln>
              </a:rPr>
              <a:t>)</a:t>
            </a:r>
          </a:p>
        </p:txBody>
      </p:sp>
      <p:sp>
        <p:nvSpPr>
          <p:cNvPr id="12" name="Rectangle 11"/>
          <p:cNvSpPr/>
          <p:nvPr>
            <p:custDataLst>
              <p:tags r:id="rId6"/>
            </p:custDataLst>
          </p:nvPr>
        </p:nvSpPr>
        <p:spPr bwMode="auto">
          <a:xfrm>
            <a:off x="550562" y="3021817"/>
            <a:ext cx="2327940" cy="1398706"/>
          </a:xfrm>
          <a:prstGeom prst="rect">
            <a:avLst/>
          </a:prstGeom>
          <a:solidFill>
            <a:schemeClr val="accent1"/>
          </a:solidFill>
          <a:ln w="9525">
            <a:noFill/>
            <a:headEnd type="none" w="med" len="med"/>
            <a:tailEnd type="none" w="med" len="med"/>
          </a:ln>
          <a:effectLst>
            <a:outerShdw blurRad="40005" dist="22860" dir="5400000" algn="ctr" rotWithShape="0">
              <a:srgbClr val="000000">
                <a:alpha val="35000"/>
              </a:srgbClr>
            </a:outerShdw>
          </a:effectLst>
        </p:spPr>
        <p:style>
          <a:lnRef idx="1">
            <a:schemeClr val="accent2"/>
          </a:lnRef>
          <a:fillRef idx="3">
            <a:schemeClr val="accent2"/>
          </a:fillRef>
          <a:effectRef idx="2">
            <a:schemeClr val="accent2"/>
          </a:effectRef>
          <a:fontRef idx="minor">
            <a:schemeClr val="lt1"/>
          </a:fontRef>
        </p:style>
        <p:txBody>
          <a:bodyPr vert="horz" wrap="square" lIns="93247" tIns="46623" rIns="93247" bIns="46623" numCol="1" rtlCol="0" anchor="ctr" anchorCtr="0" compatLnSpc="1">
            <a:prstTxWarp prst="textNoShape">
              <a:avLst/>
            </a:prstTxWarp>
            <a:noAutofit/>
          </a:bodyPr>
          <a:lstStyle/>
          <a:p>
            <a:pPr marL="0" lvl="1" algn="ctr" defTabSz="699348"/>
            <a:r>
              <a:rPr lang="en-US" sz="2856" dirty="0">
                <a:ln>
                  <a:solidFill>
                    <a:schemeClr val="tx1">
                      <a:alpha val="0"/>
                    </a:schemeClr>
                  </a:solidFill>
                </a:ln>
                <a:solidFill>
                  <a:schemeClr val="tx1"/>
                </a:solidFill>
                <a:latin typeface="Segoe UI Light" pitchFamily="34" charset="0"/>
              </a:rPr>
              <a:t>React</a:t>
            </a:r>
          </a:p>
        </p:txBody>
      </p:sp>
      <p:sp>
        <p:nvSpPr>
          <p:cNvPr id="13" name="Rectangle 12"/>
          <p:cNvSpPr/>
          <p:nvPr>
            <p:custDataLst>
              <p:tags r:id="rId7"/>
            </p:custDataLst>
          </p:nvPr>
        </p:nvSpPr>
        <p:spPr bwMode="auto">
          <a:xfrm>
            <a:off x="2940667" y="3021817"/>
            <a:ext cx="8966293" cy="1398706"/>
          </a:xfrm>
          <a:prstGeom prst="rect">
            <a:avLst/>
          </a:prstGeom>
          <a:solidFill>
            <a:srgbClr val="000000">
              <a:alpha val="20000"/>
            </a:srgbClr>
          </a:solidFill>
          <a:ln w="9525" cap="flat" cmpd="sng" algn="ctr">
            <a:solidFill>
              <a:srgbClr val="FFFFFF">
                <a:alpha val="50000"/>
              </a:srgbClr>
            </a:solidFill>
            <a:prstDash val="solid"/>
            <a:headEnd type="none" w="med" len="med"/>
            <a:tailEnd type="none" w="med" len="med"/>
          </a:ln>
          <a:effectLst/>
        </p:spPr>
        <p:txBody>
          <a:bodyPr vert="horz" wrap="square" lIns="46623" tIns="46623" rIns="46623" bIns="46623" numCol="1" rtlCol="0" anchor="ctr" anchorCtr="0" compatLnSpc="1">
            <a:prstTxWarp prst="textNoShape">
              <a:avLst/>
            </a:prstTxWarp>
            <a:noAutofit/>
          </a:bodyPr>
          <a:lstStyle/>
          <a:p>
            <a:pPr marL="357751" lvl="1" indent="-234724">
              <a:spcBef>
                <a:spcPts val="306"/>
              </a:spcBef>
              <a:spcAft>
                <a:spcPts val="306"/>
              </a:spcAft>
              <a:buClr>
                <a:schemeClr val="tx1"/>
              </a:buClr>
              <a:buSzPct val="100000"/>
              <a:buFont typeface="Arial" pitchFamily="34" charset="0"/>
              <a:buChar char="•"/>
            </a:pPr>
            <a:r>
              <a:rPr lang="en-US" sz="1836" dirty="0">
                <a:ln>
                  <a:solidFill>
                    <a:schemeClr val="tx1">
                      <a:alpha val="0"/>
                    </a:schemeClr>
                  </a:solidFill>
                </a:ln>
              </a:rPr>
              <a:t>Automated reaction to changing events (alerts, threshold violation, alarms -&gt; trigger a workflow, email, </a:t>
            </a:r>
            <a:r>
              <a:rPr lang="en-US" sz="1836" dirty="0" err="1">
                <a:ln>
                  <a:solidFill>
                    <a:schemeClr val="tx1">
                      <a:alpha val="0"/>
                    </a:schemeClr>
                  </a:solidFill>
                </a:ln>
              </a:rPr>
              <a:t>etc</a:t>
            </a:r>
            <a:r>
              <a:rPr lang="en-US" sz="1836" dirty="0">
                <a:ln>
                  <a:solidFill>
                    <a:schemeClr val="tx1">
                      <a:alpha val="0"/>
                    </a:schemeClr>
                  </a:solidFill>
                </a:ln>
              </a:rPr>
              <a:t>)</a:t>
            </a:r>
          </a:p>
        </p:txBody>
      </p:sp>
      <p:sp>
        <p:nvSpPr>
          <p:cNvPr id="14" name="Rectangle 13"/>
          <p:cNvSpPr/>
          <p:nvPr>
            <p:custDataLst>
              <p:tags r:id="rId8"/>
            </p:custDataLst>
          </p:nvPr>
        </p:nvSpPr>
        <p:spPr bwMode="auto">
          <a:xfrm>
            <a:off x="550562" y="4586150"/>
            <a:ext cx="2327940" cy="1398706"/>
          </a:xfrm>
          <a:prstGeom prst="rect">
            <a:avLst/>
          </a:prstGeom>
          <a:solidFill>
            <a:schemeClr val="accent2"/>
          </a:solidFill>
          <a:ln w="9525">
            <a:noFill/>
            <a:headEnd type="none" w="med" len="med"/>
            <a:tailEnd type="none" w="med" len="med"/>
          </a:ln>
          <a:effectLst>
            <a:outerShdw blurRad="40005" dist="22860" dir="5400000" algn="ctr" rotWithShape="0">
              <a:srgbClr val="000000">
                <a:alpha val="35000"/>
              </a:srgbClr>
            </a:outerShdw>
          </a:effectLst>
        </p:spPr>
        <p:style>
          <a:lnRef idx="1">
            <a:schemeClr val="accent2"/>
          </a:lnRef>
          <a:fillRef idx="3">
            <a:schemeClr val="accent2"/>
          </a:fillRef>
          <a:effectRef idx="2">
            <a:schemeClr val="accent2"/>
          </a:effectRef>
          <a:fontRef idx="minor">
            <a:schemeClr val="lt1"/>
          </a:fontRef>
        </p:style>
        <p:txBody>
          <a:bodyPr vert="horz" wrap="square" lIns="93247" tIns="46623" rIns="93247" bIns="46623" numCol="1" rtlCol="0" anchor="ctr" anchorCtr="0" compatLnSpc="1">
            <a:prstTxWarp prst="textNoShape">
              <a:avLst/>
            </a:prstTxWarp>
            <a:noAutofit/>
          </a:bodyPr>
          <a:lstStyle/>
          <a:p>
            <a:pPr marL="0" lvl="1" algn="ctr" defTabSz="699348"/>
            <a:r>
              <a:rPr lang="en-US" sz="2856" dirty="0">
                <a:ln>
                  <a:solidFill>
                    <a:schemeClr val="tx1">
                      <a:alpha val="0"/>
                    </a:schemeClr>
                  </a:solidFill>
                </a:ln>
                <a:solidFill>
                  <a:schemeClr val="tx1"/>
                </a:solidFill>
                <a:latin typeface="Segoe UI Light" pitchFamily="34" charset="0"/>
              </a:rPr>
              <a:t>Explore</a:t>
            </a:r>
          </a:p>
        </p:txBody>
      </p:sp>
      <p:sp>
        <p:nvSpPr>
          <p:cNvPr id="15" name="Rectangle 14"/>
          <p:cNvSpPr/>
          <p:nvPr>
            <p:custDataLst>
              <p:tags r:id="rId9"/>
            </p:custDataLst>
          </p:nvPr>
        </p:nvSpPr>
        <p:spPr bwMode="auto">
          <a:xfrm>
            <a:off x="2940667" y="4586150"/>
            <a:ext cx="8966293" cy="1398706"/>
          </a:xfrm>
          <a:prstGeom prst="rect">
            <a:avLst/>
          </a:prstGeom>
          <a:solidFill>
            <a:srgbClr val="000000">
              <a:alpha val="20000"/>
            </a:srgbClr>
          </a:solidFill>
          <a:ln w="9525" cap="flat" cmpd="sng" algn="ctr">
            <a:solidFill>
              <a:srgbClr val="FFFFFF">
                <a:alpha val="50000"/>
              </a:srgbClr>
            </a:solidFill>
            <a:prstDash val="solid"/>
            <a:headEnd type="none" w="med" len="med"/>
            <a:tailEnd type="none" w="med" len="med"/>
          </a:ln>
          <a:effectLst/>
        </p:spPr>
        <p:txBody>
          <a:bodyPr vert="horz" wrap="square" lIns="46623" tIns="46623" rIns="46623" bIns="46623" numCol="1" rtlCol="0" anchor="ctr" anchorCtr="0" compatLnSpc="1">
            <a:prstTxWarp prst="textNoShape">
              <a:avLst/>
            </a:prstTxWarp>
            <a:noAutofit/>
          </a:bodyPr>
          <a:lstStyle/>
          <a:p>
            <a:pPr marL="357751" lvl="1" indent="-234724">
              <a:spcBef>
                <a:spcPts val="306"/>
              </a:spcBef>
              <a:spcAft>
                <a:spcPts val="306"/>
              </a:spcAft>
              <a:buClr>
                <a:schemeClr val="tx1"/>
              </a:buClr>
              <a:buSzPct val="100000"/>
              <a:buFont typeface="Arial" pitchFamily="34" charset="0"/>
              <a:buChar char="•"/>
            </a:pPr>
            <a:r>
              <a:rPr lang="en-US" sz="1836" dirty="0">
                <a:ln>
                  <a:solidFill>
                    <a:schemeClr val="tx1">
                      <a:alpha val="0"/>
                    </a:schemeClr>
                  </a:solidFill>
                </a:ln>
              </a:rPr>
              <a:t>Ad hoc exploration of data sets, combining different pivots, views and perspectives.</a:t>
            </a:r>
          </a:p>
          <a:p>
            <a:pPr marL="357751" lvl="1" indent="-234724">
              <a:spcBef>
                <a:spcPts val="306"/>
              </a:spcBef>
              <a:spcAft>
                <a:spcPts val="306"/>
              </a:spcAft>
              <a:buClr>
                <a:schemeClr val="tx1"/>
              </a:buClr>
              <a:buSzPct val="100000"/>
              <a:buFont typeface="Arial" pitchFamily="34" charset="0"/>
              <a:buChar char="•"/>
            </a:pPr>
            <a:r>
              <a:rPr lang="en-US" sz="1836" dirty="0">
                <a:ln>
                  <a:solidFill>
                    <a:schemeClr val="tx1">
                      <a:alpha val="0"/>
                    </a:schemeClr>
                  </a:solidFill>
                </a:ln>
              </a:rPr>
              <a:t>Driven by diagnostics (inform/react to negative event -&gt; explore to determine resolution) or desire to create more “known” questions</a:t>
            </a:r>
          </a:p>
        </p:txBody>
      </p:sp>
    </p:spTree>
    <p:extLst>
      <p:ext uri="{BB962C8B-B14F-4D97-AF65-F5344CB8AC3E}">
        <p14:creationId xmlns:p14="http://schemas.microsoft.com/office/powerpoint/2010/main" val="2740494337"/>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4" name="Elbow Connector 33"/>
          <p:cNvCxnSpPr>
            <a:stCxn id="9" idx="3"/>
            <a:endCxn id="7" idx="3"/>
          </p:cNvCxnSpPr>
          <p:nvPr/>
        </p:nvCxnSpPr>
        <p:spPr>
          <a:xfrm flipV="1">
            <a:off x="10058173" y="4262580"/>
            <a:ext cx="12698" cy="1978970"/>
          </a:xfrm>
          <a:prstGeom prst="bentConnector3">
            <a:avLst>
              <a:gd name="adj1" fmla="val 6840000"/>
            </a:avLst>
          </a:prstGeom>
          <a:noFill/>
          <a:ln w="12700">
            <a:solidFill>
              <a:schemeClr val="tx1"/>
            </a:solidFill>
            <a:prstDash val="sysDot"/>
            <a:miter lim="800000"/>
            <a:headEnd type="none" w="lg" len="lg"/>
            <a:tailEnd type="stealth" w="lg" len="lg"/>
          </a:ln>
        </p:spPr>
        <p:style>
          <a:lnRef idx="2">
            <a:schemeClr val="accent1">
              <a:shade val="50000"/>
            </a:schemeClr>
          </a:lnRef>
          <a:fillRef idx="1">
            <a:schemeClr val="accent1"/>
          </a:fillRef>
          <a:effectRef idx="0">
            <a:schemeClr val="accent1"/>
          </a:effectRef>
          <a:fontRef idx="minor">
            <a:schemeClr val="lt1"/>
          </a:fontRef>
        </p:style>
      </p:cxnSp>
      <p:sp>
        <p:nvSpPr>
          <p:cNvPr id="3" name="Bent Arrow 2"/>
          <p:cNvSpPr/>
          <p:nvPr/>
        </p:nvSpPr>
        <p:spPr bwMode="auto">
          <a:xfrm flipV="1">
            <a:off x="4580388" y="4781986"/>
            <a:ext cx="1346924" cy="825378"/>
          </a:xfrm>
          <a:prstGeom prst="bentArrow">
            <a:avLst>
              <a:gd name="adj1" fmla="val 25000"/>
              <a:gd name="adj2" fmla="val 25000"/>
              <a:gd name="adj3" fmla="val 25000"/>
              <a:gd name="adj4" fmla="val 0"/>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endParaRPr>
          </a:p>
        </p:txBody>
      </p:sp>
      <p:graphicFrame>
        <p:nvGraphicFramePr>
          <p:cNvPr id="20" name="Object 19" hidden="1"/>
          <p:cNvGraphicFramePr>
            <a:graphicFrameLocks noChangeAspect="1"/>
          </p:cNvGraphicFramePr>
          <p:nvPr>
            <p:custDataLst>
              <p:tags r:id="rId2"/>
            </p:custDataLst>
            <p:extLst/>
          </p:nvPr>
        </p:nvGraphicFramePr>
        <p:xfrm>
          <a:off x="2470" y="2084"/>
          <a:ext cx="1587" cy="1587"/>
        </p:xfrm>
        <a:graphic>
          <a:graphicData uri="http://schemas.openxmlformats.org/presentationml/2006/ole">
            <mc:AlternateContent xmlns:mc="http://schemas.openxmlformats.org/markup-compatibility/2006">
              <mc:Choice xmlns:v="urn:schemas-microsoft-com:vml" Requires="v">
                <p:oleObj spid="_x0000_s1229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470" y="2084"/>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Monitor, mine, manage pattern</a:t>
            </a:r>
            <a:endParaRPr lang="en-US" dirty="0"/>
          </a:p>
        </p:txBody>
      </p:sp>
      <p:sp>
        <p:nvSpPr>
          <p:cNvPr id="4" name="Text Placeholder 3"/>
          <p:cNvSpPr>
            <a:spLocks noGrp="1"/>
          </p:cNvSpPr>
          <p:nvPr>
            <p:ph type="body" sz="quarter" idx="10"/>
          </p:nvPr>
        </p:nvSpPr>
        <p:spPr>
          <a:xfrm>
            <a:off x="520057" y="1448092"/>
            <a:ext cx="11150336" cy="2466759"/>
          </a:xfrm>
        </p:spPr>
        <p:txBody>
          <a:bodyPr/>
          <a:lstStyle/>
          <a:p>
            <a:pPr marL="457112" indent="-457112">
              <a:buFont typeface="+mj-lt"/>
              <a:buAutoNum type="arabicPeriod"/>
            </a:pPr>
            <a:r>
              <a:rPr lang="en-US" sz="3199" dirty="0"/>
              <a:t>Monitor and collect events</a:t>
            </a:r>
          </a:p>
          <a:p>
            <a:pPr marL="457112" indent="-457112">
              <a:buFont typeface="+mj-lt"/>
              <a:buAutoNum type="arabicPeriod"/>
            </a:pPr>
            <a:r>
              <a:rPr lang="en-US" sz="3199" dirty="0"/>
              <a:t>Mine system events to produce active model (e.g. fraud detection, preventative maintenance)</a:t>
            </a:r>
          </a:p>
          <a:p>
            <a:pPr marL="457112" indent="-457112">
              <a:buFont typeface="+mj-lt"/>
              <a:buAutoNum type="arabicPeriod"/>
            </a:pPr>
            <a:r>
              <a:rPr lang="en-US" sz="3199" dirty="0"/>
              <a:t>Manage active event stream via event engine</a:t>
            </a:r>
          </a:p>
        </p:txBody>
      </p:sp>
      <p:sp>
        <p:nvSpPr>
          <p:cNvPr id="7" name="Rectangle 6"/>
          <p:cNvSpPr/>
          <p:nvPr/>
        </p:nvSpPr>
        <p:spPr bwMode="auto">
          <a:xfrm>
            <a:off x="8503914" y="3558531"/>
            <a:ext cx="1554259" cy="1408094"/>
          </a:xfrm>
          <a:prstGeom prst="rect">
            <a:avLst/>
          </a:prstGeom>
          <a:solidFill>
            <a:schemeClr val="accent2">
              <a:lumMod val="20000"/>
              <a:lumOff val="80000"/>
            </a:schemeClr>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91427" numCol="1" spcCol="0" rtlCol="0" fromWordArt="0" anchor="b" anchorCtr="0" forceAA="0" compatLnSpc="1">
            <a:prstTxWarp prst="textNoShape">
              <a:avLst/>
            </a:prstTxWarp>
            <a:noAutofit/>
          </a:bodyPr>
          <a:lstStyle/>
          <a:p>
            <a:pPr defTabSz="932293" fontAlgn="base">
              <a:spcBef>
                <a:spcPct val="0"/>
              </a:spcBef>
              <a:spcAft>
                <a:spcPct val="0"/>
              </a:spcAft>
            </a:pPr>
            <a:r>
              <a:rPr lang="en-US" dirty="0">
                <a:ln>
                  <a:solidFill>
                    <a:schemeClr val="tx1">
                      <a:alpha val="0"/>
                    </a:schemeClr>
                  </a:solidFill>
                </a:ln>
                <a:solidFill>
                  <a:schemeClr val="accent1"/>
                </a:solidFill>
                <a:ea typeface="Segoe UI" pitchFamily="34" charset="0"/>
                <a:cs typeface="Segoe UI" pitchFamily="34" charset="0"/>
              </a:rPr>
              <a:t>Event Engine</a:t>
            </a:r>
          </a:p>
        </p:txBody>
      </p:sp>
      <p:sp>
        <p:nvSpPr>
          <p:cNvPr id="8" name="Round Diagonal Corner Rectangle 53"/>
          <p:cNvSpPr/>
          <p:nvPr/>
        </p:nvSpPr>
        <p:spPr bwMode="auto">
          <a:xfrm flipH="1">
            <a:off x="9447220" y="3681786"/>
            <a:ext cx="484731" cy="551747"/>
          </a:xfrm>
          <a:custGeom>
            <a:avLst/>
            <a:gdLst/>
            <a:ahLst/>
            <a:cxnLst/>
            <a:rect l="l" t="t" r="r" b="b"/>
            <a:pathLst>
              <a:path w="1069848" h="1217762">
                <a:moveTo>
                  <a:pt x="859964" y="887952"/>
                </a:moveTo>
                <a:cubicBezTo>
                  <a:pt x="859964" y="887952"/>
                  <a:pt x="859964" y="887952"/>
                  <a:pt x="859964" y="887953"/>
                </a:cubicBezTo>
                <a:lnTo>
                  <a:pt x="859964" y="887953"/>
                </a:lnTo>
                <a:close/>
                <a:moveTo>
                  <a:pt x="823054" y="851043"/>
                </a:moveTo>
                <a:lnTo>
                  <a:pt x="246792" y="851043"/>
                </a:lnTo>
                <a:cubicBezTo>
                  <a:pt x="226407" y="851043"/>
                  <a:pt x="209882" y="867568"/>
                  <a:pt x="209882" y="887953"/>
                </a:cubicBezTo>
                <a:lnTo>
                  <a:pt x="209883" y="887953"/>
                </a:lnTo>
                <a:cubicBezTo>
                  <a:pt x="209883" y="908338"/>
                  <a:pt x="226408" y="924863"/>
                  <a:pt x="246793" y="924863"/>
                </a:cubicBezTo>
                <a:lnTo>
                  <a:pt x="823054" y="924862"/>
                </a:lnTo>
                <a:cubicBezTo>
                  <a:pt x="843439" y="924862"/>
                  <a:pt x="859964" y="908337"/>
                  <a:pt x="859964" y="887953"/>
                </a:cubicBezTo>
                <a:cubicBezTo>
                  <a:pt x="859964" y="867568"/>
                  <a:pt x="843439" y="851043"/>
                  <a:pt x="823054" y="851043"/>
                </a:cubicBezTo>
                <a:close/>
                <a:moveTo>
                  <a:pt x="859964" y="716502"/>
                </a:moveTo>
                <a:lnTo>
                  <a:pt x="859964" y="716503"/>
                </a:lnTo>
                <a:lnTo>
                  <a:pt x="859964" y="716503"/>
                </a:lnTo>
                <a:close/>
                <a:moveTo>
                  <a:pt x="823054" y="679593"/>
                </a:moveTo>
                <a:lnTo>
                  <a:pt x="246792" y="679593"/>
                </a:lnTo>
                <a:cubicBezTo>
                  <a:pt x="226407" y="679593"/>
                  <a:pt x="209882" y="696118"/>
                  <a:pt x="209882" y="716503"/>
                </a:cubicBezTo>
                <a:lnTo>
                  <a:pt x="209883" y="716503"/>
                </a:lnTo>
                <a:cubicBezTo>
                  <a:pt x="209883" y="736888"/>
                  <a:pt x="226408" y="753413"/>
                  <a:pt x="246793" y="753413"/>
                </a:cubicBezTo>
                <a:lnTo>
                  <a:pt x="823054" y="753412"/>
                </a:lnTo>
                <a:cubicBezTo>
                  <a:pt x="843439" y="753412"/>
                  <a:pt x="859964" y="736887"/>
                  <a:pt x="859964" y="716503"/>
                </a:cubicBezTo>
                <a:cubicBezTo>
                  <a:pt x="859964" y="696118"/>
                  <a:pt x="843439" y="679593"/>
                  <a:pt x="823054" y="679593"/>
                </a:cubicBezTo>
                <a:close/>
                <a:moveTo>
                  <a:pt x="859964" y="545051"/>
                </a:moveTo>
                <a:lnTo>
                  <a:pt x="859964" y="545052"/>
                </a:lnTo>
                <a:lnTo>
                  <a:pt x="859964" y="545052"/>
                </a:lnTo>
                <a:close/>
                <a:moveTo>
                  <a:pt x="823054" y="508142"/>
                </a:moveTo>
                <a:lnTo>
                  <a:pt x="246792" y="508142"/>
                </a:lnTo>
                <a:cubicBezTo>
                  <a:pt x="226407" y="508142"/>
                  <a:pt x="209882" y="524667"/>
                  <a:pt x="209882" y="545052"/>
                </a:cubicBezTo>
                <a:lnTo>
                  <a:pt x="209883" y="545052"/>
                </a:lnTo>
                <a:cubicBezTo>
                  <a:pt x="209883" y="565437"/>
                  <a:pt x="226408" y="581962"/>
                  <a:pt x="246793" y="581962"/>
                </a:cubicBezTo>
                <a:lnTo>
                  <a:pt x="823054" y="581961"/>
                </a:lnTo>
                <a:cubicBezTo>
                  <a:pt x="843439" y="581961"/>
                  <a:pt x="859964" y="565436"/>
                  <a:pt x="859964" y="545052"/>
                </a:cubicBezTo>
                <a:cubicBezTo>
                  <a:pt x="859964" y="524667"/>
                  <a:pt x="843439" y="508142"/>
                  <a:pt x="823054" y="508142"/>
                </a:cubicBezTo>
                <a:close/>
                <a:moveTo>
                  <a:pt x="607552" y="375982"/>
                </a:moveTo>
                <a:lnTo>
                  <a:pt x="607552" y="375983"/>
                </a:lnTo>
                <a:lnTo>
                  <a:pt x="607552" y="375983"/>
                </a:lnTo>
                <a:close/>
                <a:moveTo>
                  <a:pt x="570642" y="339073"/>
                </a:moveTo>
                <a:lnTo>
                  <a:pt x="246792" y="339073"/>
                </a:lnTo>
                <a:cubicBezTo>
                  <a:pt x="226407" y="339073"/>
                  <a:pt x="209882" y="355598"/>
                  <a:pt x="209882" y="375983"/>
                </a:cubicBezTo>
                <a:lnTo>
                  <a:pt x="209883" y="375983"/>
                </a:lnTo>
                <a:cubicBezTo>
                  <a:pt x="209883" y="396368"/>
                  <a:pt x="226408" y="412893"/>
                  <a:pt x="246793" y="412893"/>
                </a:cubicBezTo>
                <a:lnTo>
                  <a:pt x="570642" y="412892"/>
                </a:lnTo>
                <a:cubicBezTo>
                  <a:pt x="591027" y="412892"/>
                  <a:pt x="607552" y="396367"/>
                  <a:pt x="607552" y="375983"/>
                </a:cubicBezTo>
                <a:cubicBezTo>
                  <a:pt x="607552" y="355598"/>
                  <a:pt x="591027" y="339073"/>
                  <a:pt x="570642" y="339073"/>
                </a:cubicBezTo>
                <a:close/>
                <a:moveTo>
                  <a:pt x="679213" y="74747"/>
                </a:moveTo>
                <a:lnTo>
                  <a:pt x="679213" y="291168"/>
                </a:lnTo>
                <a:cubicBezTo>
                  <a:pt x="679213" y="325515"/>
                  <a:pt x="707057" y="353359"/>
                  <a:pt x="741404" y="353359"/>
                </a:cubicBezTo>
                <a:lnTo>
                  <a:pt x="992124" y="353359"/>
                </a:lnTo>
                <a:lnTo>
                  <a:pt x="992124" y="1044200"/>
                </a:lnTo>
                <a:cubicBezTo>
                  <a:pt x="992124" y="1097470"/>
                  <a:pt x="971294" y="1150179"/>
                  <a:pt x="897731" y="1140654"/>
                </a:cubicBezTo>
                <a:lnTo>
                  <a:pt x="77724" y="1140654"/>
                </a:lnTo>
                <a:lnTo>
                  <a:pt x="77724" y="173562"/>
                </a:lnTo>
                <a:cubicBezTo>
                  <a:pt x="80105" y="89336"/>
                  <a:pt x="119986" y="77108"/>
                  <a:pt x="172117" y="77108"/>
                </a:cubicBezTo>
                <a:close/>
                <a:moveTo>
                  <a:pt x="733418" y="0"/>
                </a:moveTo>
                <a:lnTo>
                  <a:pt x="110440" y="0"/>
                </a:lnTo>
                <a:cubicBezTo>
                  <a:pt x="49446" y="0"/>
                  <a:pt x="0" y="49446"/>
                  <a:pt x="0" y="110440"/>
                </a:cubicBezTo>
                <a:lnTo>
                  <a:pt x="0" y="1217762"/>
                </a:lnTo>
                <a:lnTo>
                  <a:pt x="959408" y="1217762"/>
                </a:lnTo>
                <a:cubicBezTo>
                  <a:pt x="1020402" y="1217762"/>
                  <a:pt x="1069848" y="1168316"/>
                  <a:pt x="1069848" y="1107322"/>
                </a:cubicBezTo>
                <a:lnTo>
                  <a:pt x="1069848" y="310551"/>
                </a:lnTo>
                <a:close/>
              </a:path>
            </a:pathLst>
          </a:cu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9" name="Rectangle 8"/>
          <p:cNvSpPr/>
          <p:nvPr/>
        </p:nvSpPr>
        <p:spPr bwMode="auto">
          <a:xfrm>
            <a:off x="8503914" y="5799266"/>
            <a:ext cx="1554259" cy="884567"/>
          </a:xfrm>
          <a:prstGeom prst="rect">
            <a:avLst/>
          </a:prstGeom>
          <a:solidFill>
            <a:schemeClr val="accent2">
              <a:lumMod val="40000"/>
              <a:lumOff val="60000"/>
            </a:schemeClr>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91427" numCol="1" spcCol="0" rtlCol="0" fromWordArt="0" anchor="b" anchorCtr="0" forceAA="0" compatLnSpc="1">
            <a:prstTxWarp prst="textNoShape">
              <a:avLst/>
            </a:prstTxWarp>
            <a:noAutofit/>
          </a:bodyPr>
          <a:lstStyle/>
          <a:p>
            <a:pPr defTabSz="932293" fontAlgn="base">
              <a:spcBef>
                <a:spcPct val="0"/>
              </a:spcBef>
              <a:spcAft>
                <a:spcPct val="0"/>
              </a:spcAft>
            </a:pPr>
            <a:r>
              <a:rPr lang="en-US" dirty="0">
                <a:ln>
                  <a:solidFill>
                    <a:schemeClr val="tx1">
                      <a:alpha val="0"/>
                    </a:schemeClr>
                  </a:solidFill>
                </a:ln>
                <a:solidFill>
                  <a:schemeClr val="accent1"/>
                </a:solidFill>
                <a:ea typeface="Segoe UI" pitchFamily="34" charset="0"/>
                <a:cs typeface="Segoe UI" pitchFamily="34" charset="0"/>
              </a:rPr>
              <a:t>Model</a:t>
            </a:r>
            <a:br>
              <a:rPr lang="en-US" dirty="0">
                <a:ln>
                  <a:solidFill>
                    <a:schemeClr val="tx1">
                      <a:alpha val="0"/>
                    </a:schemeClr>
                  </a:solidFill>
                </a:ln>
                <a:solidFill>
                  <a:schemeClr val="accent1"/>
                </a:solidFill>
                <a:ea typeface="Segoe UI" pitchFamily="34" charset="0"/>
                <a:cs typeface="Segoe UI" pitchFamily="34" charset="0"/>
              </a:rPr>
            </a:br>
            <a:r>
              <a:rPr lang="en-US" dirty="0">
                <a:ln>
                  <a:solidFill>
                    <a:schemeClr val="tx1">
                      <a:alpha val="0"/>
                    </a:schemeClr>
                  </a:solidFill>
                </a:ln>
                <a:solidFill>
                  <a:schemeClr val="accent1"/>
                </a:solidFill>
                <a:ea typeface="Segoe UI" pitchFamily="34" charset="0"/>
                <a:cs typeface="Segoe UI" pitchFamily="34" charset="0"/>
              </a:rPr>
              <a:t>Generation</a:t>
            </a:r>
          </a:p>
        </p:txBody>
      </p:sp>
      <p:sp>
        <p:nvSpPr>
          <p:cNvPr id="11" name="Can 10"/>
          <p:cNvSpPr/>
          <p:nvPr/>
        </p:nvSpPr>
        <p:spPr bwMode="auto">
          <a:xfrm>
            <a:off x="5927312" y="4924157"/>
            <a:ext cx="1662331" cy="917576"/>
          </a:xfrm>
          <a:prstGeom prst="can">
            <a:avLst/>
          </a:prstGeom>
          <a:solidFill>
            <a:schemeClr val="accent3">
              <a:lumMod val="20000"/>
              <a:lumOff val="80000"/>
            </a:schemeClr>
          </a:solidFill>
          <a:ln w="3175">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0" numCol="1" spcCol="0" rtlCol="0" fromWordArt="0" anchor="b" anchorCtr="0" forceAA="0" compatLnSpc="1">
            <a:prstTxWarp prst="textNoShape">
              <a:avLst/>
            </a:prstTxWarp>
            <a:noAutofit/>
          </a:bodyPr>
          <a:lstStyle/>
          <a:p>
            <a:pPr algn="ctr" defTabSz="932293" fontAlgn="base">
              <a:spcBef>
                <a:spcPct val="0"/>
              </a:spcBef>
              <a:spcAft>
                <a:spcPct val="0"/>
              </a:spcAft>
            </a:pPr>
            <a:r>
              <a:rPr lang="en-US" dirty="0">
                <a:ln>
                  <a:solidFill>
                    <a:schemeClr val="tx1">
                      <a:alpha val="0"/>
                    </a:schemeClr>
                  </a:solidFill>
                </a:ln>
                <a:solidFill>
                  <a:schemeClr val="accent3">
                    <a:lumMod val="50000"/>
                  </a:schemeClr>
                </a:solidFill>
                <a:ea typeface="Segoe UI" pitchFamily="34" charset="0"/>
                <a:cs typeface="Segoe UI" pitchFamily="34" charset="0"/>
              </a:rPr>
              <a:t>Digital </a:t>
            </a:r>
            <a:br>
              <a:rPr lang="en-US" dirty="0">
                <a:ln>
                  <a:solidFill>
                    <a:schemeClr val="tx1">
                      <a:alpha val="0"/>
                    </a:schemeClr>
                  </a:solidFill>
                </a:ln>
                <a:solidFill>
                  <a:schemeClr val="accent3">
                    <a:lumMod val="50000"/>
                  </a:schemeClr>
                </a:solidFill>
                <a:ea typeface="Segoe UI" pitchFamily="34" charset="0"/>
                <a:cs typeface="Segoe UI" pitchFamily="34" charset="0"/>
              </a:rPr>
            </a:br>
            <a:r>
              <a:rPr lang="en-US" dirty="0">
                <a:ln>
                  <a:solidFill>
                    <a:schemeClr val="tx1">
                      <a:alpha val="0"/>
                    </a:schemeClr>
                  </a:solidFill>
                </a:ln>
                <a:solidFill>
                  <a:schemeClr val="accent3">
                    <a:lumMod val="50000"/>
                  </a:schemeClr>
                </a:solidFill>
                <a:ea typeface="Segoe UI" pitchFamily="34" charset="0"/>
                <a:cs typeface="Segoe UI" pitchFamily="34" charset="0"/>
              </a:rPr>
              <a:t>Shoebox</a:t>
            </a:r>
          </a:p>
        </p:txBody>
      </p:sp>
      <p:sp>
        <p:nvSpPr>
          <p:cNvPr id="12" name="Right Arrow 11"/>
          <p:cNvSpPr/>
          <p:nvPr/>
        </p:nvSpPr>
        <p:spPr bwMode="auto">
          <a:xfrm>
            <a:off x="2104022" y="4457564"/>
            <a:ext cx="6399892" cy="427431"/>
          </a:xfrm>
          <a:prstGeom prst="rightArrow">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3" name="Right Arrow 12"/>
          <p:cNvSpPr/>
          <p:nvPr/>
        </p:nvSpPr>
        <p:spPr bwMode="auto">
          <a:xfrm flipH="1">
            <a:off x="2104022" y="3970725"/>
            <a:ext cx="5485622" cy="427431"/>
          </a:xfrm>
          <a:prstGeom prst="rightArrow">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5" name="Rectangle 14"/>
          <p:cNvSpPr/>
          <p:nvPr/>
        </p:nvSpPr>
        <p:spPr>
          <a:xfrm>
            <a:off x="2104021" y="4781986"/>
            <a:ext cx="1539828" cy="376684"/>
          </a:xfrm>
          <a:prstGeom prst="rect">
            <a:avLst/>
          </a:prstGeom>
        </p:spPr>
        <p:txBody>
          <a:bodyPr wrap="none">
            <a:spAutoFit/>
          </a:bodyPr>
          <a:lstStyle/>
          <a:p>
            <a:r>
              <a:rPr lang="en-US" dirty="0">
                <a:ln>
                  <a:solidFill>
                    <a:schemeClr val="tx1">
                      <a:alpha val="0"/>
                    </a:schemeClr>
                  </a:solidFill>
                </a:ln>
              </a:rPr>
              <a:t>Event Stream</a:t>
            </a:r>
          </a:p>
        </p:txBody>
      </p:sp>
      <p:sp>
        <p:nvSpPr>
          <p:cNvPr id="16" name="Rectangle 15"/>
          <p:cNvSpPr/>
          <p:nvPr/>
        </p:nvSpPr>
        <p:spPr>
          <a:xfrm>
            <a:off x="3885425" y="3656999"/>
            <a:ext cx="1961375" cy="376684"/>
          </a:xfrm>
          <a:prstGeom prst="rect">
            <a:avLst/>
          </a:prstGeom>
        </p:spPr>
        <p:txBody>
          <a:bodyPr wrap="none">
            <a:spAutoFit/>
          </a:bodyPr>
          <a:lstStyle/>
          <a:p>
            <a:r>
              <a:rPr lang="en-US" dirty="0">
                <a:ln>
                  <a:solidFill>
                    <a:schemeClr val="tx1">
                      <a:alpha val="0"/>
                    </a:schemeClr>
                  </a:solidFill>
                </a:ln>
              </a:rPr>
              <a:t>Response Stream</a:t>
            </a:r>
          </a:p>
        </p:txBody>
      </p:sp>
      <p:grpSp>
        <p:nvGrpSpPr>
          <p:cNvPr id="6" name="Group 5"/>
          <p:cNvGrpSpPr/>
          <p:nvPr/>
        </p:nvGrpSpPr>
        <p:grpSpPr>
          <a:xfrm>
            <a:off x="10665828" y="5107072"/>
            <a:ext cx="484731" cy="551747"/>
            <a:chOff x="10666459" y="5107300"/>
            <a:chExt cx="484800" cy="551826"/>
          </a:xfrm>
        </p:grpSpPr>
        <p:sp>
          <p:nvSpPr>
            <p:cNvPr id="5" name="Rectangle 4"/>
            <p:cNvSpPr/>
            <p:nvPr/>
          </p:nvSpPr>
          <p:spPr bwMode="auto">
            <a:xfrm>
              <a:off x="10693399" y="5143500"/>
              <a:ext cx="441325" cy="498474"/>
            </a:xfrm>
            <a:custGeom>
              <a:avLst/>
              <a:gdLst>
                <a:gd name="connsiteX0" fmla="*/ 0 w 441324"/>
                <a:gd name="connsiteY0" fmla="*/ 0 h 498474"/>
                <a:gd name="connsiteX1" fmla="*/ 441324 w 441324"/>
                <a:gd name="connsiteY1" fmla="*/ 0 h 498474"/>
                <a:gd name="connsiteX2" fmla="*/ 441324 w 441324"/>
                <a:gd name="connsiteY2" fmla="*/ 498474 h 498474"/>
                <a:gd name="connsiteX3" fmla="*/ 0 w 441324"/>
                <a:gd name="connsiteY3" fmla="*/ 498474 h 498474"/>
                <a:gd name="connsiteX4" fmla="*/ 0 w 441324"/>
                <a:gd name="connsiteY4" fmla="*/ 0 h 498474"/>
                <a:gd name="connsiteX0" fmla="*/ 0 w 441324"/>
                <a:gd name="connsiteY0" fmla="*/ 0 h 498474"/>
                <a:gd name="connsiteX1" fmla="*/ 130174 w 441324"/>
                <a:gd name="connsiteY1" fmla="*/ 0 h 498474"/>
                <a:gd name="connsiteX2" fmla="*/ 441324 w 441324"/>
                <a:gd name="connsiteY2" fmla="*/ 0 h 498474"/>
                <a:gd name="connsiteX3" fmla="*/ 441324 w 441324"/>
                <a:gd name="connsiteY3" fmla="*/ 498474 h 498474"/>
                <a:gd name="connsiteX4" fmla="*/ 0 w 441324"/>
                <a:gd name="connsiteY4" fmla="*/ 498474 h 498474"/>
                <a:gd name="connsiteX5" fmla="*/ 0 w 441324"/>
                <a:gd name="connsiteY5" fmla="*/ 0 h 498474"/>
                <a:gd name="connsiteX0" fmla="*/ 1 w 441325"/>
                <a:gd name="connsiteY0" fmla="*/ 0 h 498474"/>
                <a:gd name="connsiteX1" fmla="*/ 130175 w 441325"/>
                <a:gd name="connsiteY1" fmla="*/ 0 h 498474"/>
                <a:gd name="connsiteX2" fmla="*/ 441325 w 441325"/>
                <a:gd name="connsiteY2" fmla="*/ 0 h 498474"/>
                <a:gd name="connsiteX3" fmla="*/ 441325 w 441325"/>
                <a:gd name="connsiteY3" fmla="*/ 498474 h 498474"/>
                <a:gd name="connsiteX4" fmla="*/ 1 w 441325"/>
                <a:gd name="connsiteY4" fmla="*/ 498474 h 498474"/>
                <a:gd name="connsiteX5" fmla="*/ 0 w 441325"/>
                <a:gd name="connsiteY5" fmla="*/ 104775 h 498474"/>
                <a:gd name="connsiteX6" fmla="*/ 1 w 441325"/>
                <a:gd name="connsiteY6" fmla="*/ 0 h 498474"/>
                <a:gd name="connsiteX0" fmla="*/ 0 w 441325"/>
                <a:gd name="connsiteY0" fmla="*/ 104775 h 498474"/>
                <a:gd name="connsiteX1" fmla="*/ 130175 w 441325"/>
                <a:gd name="connsiteY1" fmla="*/ 0 h 498474"/>
                <a:gd name="connsiteX2" fmla="*/ 441325 w 441325"/>
                <a:gd name="connsiteY2" fmla="*/ 0 h 498474"/>
                <a:gd name="connsiteX3" fmla="*/ 441325 w 441325"/>
                <a:gd name="connsiteY3" fmla="*/ 498474 h 498474"/>
                <a:gd name="connsiteX4" fmla="*/ 1 w 441325"/>
                <a:gd name="connsiteY4" fmla="*/ 498474 h 498474"/>
                <a:gd name="connsiteX5" fmla="*/ 0 w 441325"/>
                <a:gd name="connsiteY5" fmla="*/ 104775 h 498474"/>
                <a:gd name="connsiteX0" fmla="*/ 0 w 441325"/>
                <a:gd name="connsiteY0" fmla="*/ 104775 h 498474"/>
                <a:gd name="connsiteX1" fmla="*/ 130175 w 441325"/>
                <a:gd name="connsiteY1" fmla="*/ 0 h 498474"/>
                <a:gd name="connsiteX2" fmla="*/ 441325 w 441325"/>
                <a:gd name="connsiteY2" fmla="*/ 0 h 498474"/>
                <a:gd name="connsiteX3" fmla="*/ 441325 w 441325"/>
                <a:gd name="connsiteY3" fmla="*/ 498474 h 498474"/>
                <a:gd name="connsiteX4" fmla="*/ 1 w 441325"/>
                <a:gd name="connsiteY4" fmla="*/ 498474 h 498474"/>
                <a:gd name="connsiteX5" fmla="*/ 0 w 441325"/>
                <a:gd name="connsiteY5" fmla="*/ 104775 h 498474"/>
                <a:gd name="connsiteX0" fmla="*/ 0 w 441325"/>
                <a:gd name="connsiteY0" fmla="*/ 104775 h 498474"/>
                <a:gd name="connsiteX1" fmla="*/ 130175 w 441325"/>
                <a:gd name="connsiteY1" fmla="*/ 0 h 498474"/>
                <a:gd name="connsiteX2" fmla="*/ 441325 w 441325"/>
                <a:gd name="connsiteY2" fmla="*/ 0 h 498474"/>
                <a:gd name="connsiteX3" fmla="*/ 441325 w 441325"/>
                <a:gd name="connsiteY3" fmla="*/ 498474 h 498474"/>
                <a:gd name="connsiteX4" fmla="*/ 1 w 441325"/>
                <a:gd name="connsiteY4" fmla="*/ 498474 h 498474"/>
                <a:gd name="connsiteX5" fmla="*/ 0 w 441325"/>
                <a:gd name="connsiteY5" fmla="*/ 104775 h 498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1325" h="498474">
                  <a:moveTo>
                    <a:pt x="0" y="104775"/>
                  </a:moveTo>
                  <a:cubicBezTo>
                    <a:pt x="37571" y="62971"/>
                    <a:pt x="69321" y="49212"/>
                    <a:pt x="130175" y="0"/>
                  </a:cubicBezTo>
                  <a:lnTo>
                    <a:pt x="441325" y="0"/>
                  </a:lnTo>
                  <a:lnTo>
                    <a:pt x="441325" y="498474"/>
                  </a:lnTo>
                  <a:lnTo>
                    <a:pt x="1" y="498474"/>
                  </a:lnTo>
                  <a:cubicBezTo>
                    <a:pt x="1" y="367241"/>
                    <a:pt x="0" y="236008"/>
                    <a:pt x="0" y="104775"/>
                  </a:cubicBezTo>
                  <a:close/>
                </a:path>
              </a:pathLst>
            </a:custGeom>
            <a:solidFill>
              <a:schemeClr val="accent1">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 name="Round Diagonal Corner Rectangle 53"/>
            <p:cNvSpPr/>
            <p:nvPr/>
          </p:nvSpPr>
          <p:spPr bwMode="auto">
            <a:xfrm flipH="1">
              <a:off x="10666459" y="5107300"/>
              <a:ext cx="484800" cy="551826"/>
            </a:xfrm>
            <a:custGeom>
              <a:avLst/>
              <a:gdLst/>
              <a:ahLst/>
              <a:cxnLst/>
              <a:rect l="l" t="t" r="r" b="b"/>
              <a:pathLst>
                <a:path w="1069848" h="1217762">
                  <a:moveTo>
                    <a:pt x="859964" y="887952"/>
                  </a:moveTo>
                  <a:cubicBezTo>
                    <a:pt x="859964" y="887952"/>
                    <a:pt x="859964" y="887952"/>
                    <a:pt x="859964" y="887953"/>
                  </a:cubicBezTo>
                  <a:lnTo>
                    <a:pt x="859964" y="887953"/>
                  </a:lnTo>
                  <a:close/>
                  <a:moveTo>
                    <a:pt x="823054" y="851043"/>
                  </a:moveTo>
                  <a:lnTo>
                    <a:pt x="246792" y="851043"/>
                  </a:lnTo>
                  <a:cubicBezTo>
                    <a:pt x="226407" y="851043"/>
                    <a:pt x="209882" y="867568"/>
                    <a:pt x="209882" y="887953"/>
                  </a:cubicBezTo>
                  <a:lnTo>
                    <a:pt x="209883" y="887953"/>
                  </a:lnTo>
                  <a:cubicBezTo>
                    <a:pt x="209883" y="908338"/>
                    <a:pt x="226408" y="924863"/>
                    <a:pt x="246793" y="924863"/>
                  </a:cubicBezTo>
                  <a:lnTo>
                    <a:pt x="823054" y="924862"/>
                  </a:lnTo>
                  <a:cubicBezTo>
                    <a:pt x="843439" y="924862"/>
                    <a:pt x="859964" y="908337"/>
                    <a:pt x="859964" y="887953"/>
                  </a:cubicBezTo>
                  <a:cubicBezTo>
                    <a:pt x="859964" y="867568"/>
                    <a:pt x="843439" y="851043"/>
                    <a:pt x="823054" y="851043"/>
                  </a:cubicBezTo>
                  <a:close/>
                  <a:moveTo>
                    <a:pt x="859964" y="716502"/>
                  </a:moveTo>
                  <a:lnTo>
                    <a:pt x="859964" y="716503"/>
                  </a:lnTo>
                  <a:lnTo>
                    <a:pt x="859964" y="716503"/>
                  </a:lnTo>
                  <a:close/>
                  <a:moveTo>
                    <a:pt x="823054" y="679593"/>
                  </a:moveTo>
                  <a:lnTo>
                    <a:pt x="246792" y="679593"/>
                  </a:lnTo>
                  <a:cubicBezTo>
                    <a:pt x="226407" y="679593"/>
                    <a:pt x="209882" y="696118"/>
                    <a:pt x="209882" y="716503"/>
                  </a:cubicBezTo>
                  <a:lnTo>
                    <a:pt x="209883" y="716503"/>
                  </a:lnTo>
                  <a:cubicBezTo>
                    <a:pt x="209883" y="736888"/>
                    <a:pt x="226408" y="753413"/>
                    <a:pt x="246793" y="753413"/>
                  </a:cubicBezTo>
                  <a:lnTo>
                    <a:pt x="823054" y="753412"/>
                  </a:lnTo>
                  <a:cubicBezTo>
                    <a:pt x="843439" y="753412"/>
                    <a:pt x="859964" y="736887"/>
                    <a:pt x="859964" y="716503"/>
                  </a:cubicBezTo>
                  <a:cubicBezTo>
                    <a:pt x="859964" y="696118"/>
                    <a:pt x="843439" y="679593"/>
                    <a:pt x="823054" y="679593"/>
                  </a:cubicBezTo>
                  <a:close/>
                  <a:moveTo>
                    <a:pt x="859964" y="545051"/>
                  </a:moveTo>
                  <a:lnTo>
                    <a:pt x="859964" y="545052"/>
                  </a:lnTo>
                  <a:lnTo>
                    <a:pt x="859964" y="545052"/>
                  </a:lnTo>
                  <a:close/>
                  <a:moveTo>
                    <a:pt x="823054" y="508142"/>
                  </a:moveTo>
                  <a:lnTo>
                    <a:pt x="246792" y="508142"/>
                  </a:lnTo>
                  <a:cubicBezTo>
                    <a:pt x="226407" y="508142"/>
                    <a:pt x="209882" y="524667"/>
                    <a:pt x="209882" y="545052"/>
                  </a:cubicBezTo>
                  <a:lnTo>
                    <a:pt x="209883" y="545052"/>
                  </a:lnTo>
                  <a:cubicBezTo>
                    <a:pt x="209883" y="565437"/>
                    <a:pt x="226408" y="581962"/>
                    <a:pt x="246793" y="581962"/>
                  </a:cubicBezTo>
                  <a:lnTo>
                    <a:pt x="823054" y="581961"/>
                  </a:lnTo>
                  <a:cubicBezTo>
                    <a:pt x="843439" y="581961"/>
                    <a:pt x="859964" y="565436"/>
                    <a:pt x="859964" y="545052"/>
                  </a:cubicBezTo>
                  <a:cubicBezTo>
                    <a:pt x="859964" y="524667"/>
                    <a:pt x="843439" y="508142"/>
                    <a:pt x="823054" y="508142"/>
                  </a:cubicBezTo>
                  <a:close/>
                  <a:moveTo>
                    <a:pt x="607552" y="375982"/>
                  </a:moveTo>
                  <a:lnTo>
                    <a:pt x="607552" y="375983"/>
                  </a:lnTo>
                  <a:lnTo>
                    <a:pt x="607552" y="375983"/>
                  </a:lnTo>
                  <a:close/>
                  <a:moveTo>
                    <a:pt x="570642" y="339073"/>
                  </a:moveTo>
                  <a:lnTo>
                    <a:pt x="246792" y="339073"/>
                  </a:lnTo>
                  <a:cubicBezTo>
                    <a:pt x="226407" y="339073"/>
                    <a:pt x="209882" y="355598"/>
                    <a:pt x="209882" y="375983"/>
                  </a:cubicBezTo>
                  <a:lnTo>
                    <a:pt x="209883" y="375983"/>
                  </a:lnTo>
                  <a:cubicBezTo>
                    <a:pt x="209883" y="396368"/>
                    <a:pt x="226408" y="412893"/>
                    <a:pt x="246793" y="412893"/>
                  </a:cubicBezTo>
                  <a:lnTo>
                    <a:pt x="570642" y="412892"/>
                  </a:lnTo>
                  <a:cubicBezTo>
                    <a:pt x="591027" y="412892"/>
                    <a:pt x="607552" y="396367"/>
                    <a:pt x="607552" y="375983"/>
                  </a:cubicBezTo>
                  <a:cubicBezTo>
                    <a:pt x="607552" y="355598"/>
                    <a:pt x="591027" y="339073"/>
                    <a:pt x="570642" y="339073"/>
                  </a:cubicBezTo>
                  <a:close/>
                  <a:moveTo>
                    <a:pt x="679213" y="74747"/>
                  </a:moveTo>
                  <a:lnTo>
                    <a:pt x="679213" y="291168"/>
                  </a:lnTo>
                  <a:cubicBezTo>
                    <a:pt x="679213" y="325515"/>
                    <a:pt x="707057" y="353359"/>
                    <a:pt x="741404" y="353359"/>
                  </a:cubicBezTo>
                  <a:lnTo>
                    <a:pt x="992124" y="353359"/>
                  </a:lnTo>
                  <a:lnTo>
                    <a:pt x="992124" y="1044200"/>
                  </a:lnTo>
                  <a:cubicBezTo>
                    <a:pt x="992124" y="1097470"/>
                    <a:pt x="971294" y="1150179"/>
                    <a:pt x="897731" y="1140654"/>
                  </a:cubicBezTo>
                  <a:lnTo>
                    <a:pt x="77724" y="1140654"/>
                  </a:lnTo>
                  <a:lnTo>
                    <a:pt x="77724" y="173562"/>
                  </a:lnTo>
                  <a:cubicBezTo>
                    <a:pt x="80105" y="89336"/>
                    <a:pt x="119986" y="77108"/>
                    <a:pt x="172117" y="77108"/>
                  </a:cubicBezTo>
                  <a:close/>
                  <a:moveTo>
                    <a:pt x="733418" y="0"/>
                  </a:moveTo>
                  <a:lnTo>
                    <a:pt x="110440" y="0"/>
                  </a:lnTo>
                  <a:cubicBezTo>
                    <a:pt x="49446" y="0"/>
                    <a:pt x="0" y="49446"/>
                    <a:pt x="0" y="110440"/>
                  </a:cubicBezTo>
                  <a:lnTo>
                    <a:pt x="0" y="1217762"/>
                  </a:lnTo>
                  <a:lnTo>
                    <a:pt x="959408" y="1217762"/>
                  </a:lnTo>
                  <a:cubicBezTo>
                    <a:pt x="1020402" y="1217762"/>
                    <a:pt x="1069848" y="1168316"/>
                    <a:pt x="1069848" y="1107322"/>
                  </a:cubicBezTo>
                  <a:lnTo>
                    <a:pt x="1069848" y="310551"/>
                  </a:ln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3"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cxnSp>
        <p:nvCxnSpPr>
          <p:cNvPr id="22" name="Elbow Connector 21"/>
          <p:cNvCxnSpPr>
            <a:stCxn id="11" idx="4"/>
            <a:endCxn id="9" idx="1"/>
          </p:cNvCxnSpPr>
          <p:nvPr/>
        </p:nvCxnSpPr>
        <p:spPr>
          <a:xfrm>
            <a:off x="7589644" y="5382946"/>
            <a:ext cx="914270" cy="858603"/>
          </a:xfrm>
          <a:prstGeom prst="bentConnector3">
            <a:avLst/>
          </a:prstGeom>
          <a:noFill/>
          <a:ln w="12700">
            <a:solidFill>
              <a:schemeClr val="tx1"/>
            </a:solidFill>
            <a:miter lim="800000"/>
            <a:headEnd type="none" w="lg" len="lg"/>
            <a:tailEnd type="stealth" w="lg" len="lg"/>
          </a:ln>
        </p:spPr>
        <p:style>
          <a:lnRef idx="2">
            <a:schemeClr val="accent1">
              <a:shade val="50000"/>
            </a:schemeClr>
          </a:lnRef>
          <a:fillRef idx="1">
            <a:schemeClr val="accent1"/>
          </a:fillRef>
          <a:effectRef idx="0">
            <a:schemeClr val="accent1"/>
          </a:effectRef>
          <a:fontRef idx="minor">
            <a:schemeClr val="lt1"/>
          </a:fontRef>
        </p:style>
      </p:cxnSp>
      <p:sp>
        <p:nvSpPr>
          <p:cNvPr id="30" name="Oval 29"/>
          <p:cNvSpPr>
            <a:spLocks noChangeAspect="1"/>
          </p:cNvSpPr>
          <p:nvPr/>
        </p:nvSpPr>
        <p:spPr bwMode="auto">
          <a:xfrm>
            <a:off x="8284489" y="3328642"/>
            <a:ext cx="438850" cy="43533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46630" rIns="91427" bIns="46630" numCol="1" rtlCol="0" anchor="ctr" anchorCtr="0" compatLnSpc="1">
            <a:prstTxWarp prst="textNoShape">
              <a:avLst/>
            </a:prstTxWarp>
            <a:noAutofit/>
          </a:bodyPr>
          <a:lstStyle/>
          <a:p>
            <a:pPr algn="ctr" defTabSz="932293" fontAlgn="base">
              <a:spcBef>
                <a:spcPct val="0"/>
              </a:spcBef>
              <a:spcAft>
                <a:spcPct val="0"/>
              </a:spcAft>
            </a:pPr>
            <a:r>
              <a:rPr lang="en-US" sz="2000" dirty="0">
                <a:gradFill>
                  <a:gsLst>
                    <a:gs pos="0">
                      <a:srgbClr val="FFFFFF"/>
                    </a:gs>
                    <a:gs pos="100000">
                      <a:srgbClr val="FFFFFF"/>
                    </a:gs>
                  </a:gsLst>
                  <a:lin ang="5400000" scaled="0"/>
                </a:gradFill>
              </a:rPr>
              <a:t>3</a:t>
            </a:r>
          </a:p>
        </p:txBody>
      </p:sp>
      <p:sp>
        <p:nvSpPr>
          <p:cNvPr id="31" name="Oval 30"/>
          <p:cNvSpPr>
            <a:spLocks noChangeAspect="1"/>
          </p:cNvSpPr>
          <p:nvPr/>
        </p:nvSpPr>
        <p:spPr bwMode="auto">
          <a:xfrm>
            <a:off x="8284489" y="5581599"/>
            <a:ext cx="438850" cy="43533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46630" rIns="91427" bIns="46630" numCol="1" rtlCol="0" anchor="ctr" anchorCtr="0" compatLnSpc="1">
            <a:prstTxWarp prst="textNoShape">
              <a:avLst/>
            </a:prstTxWarp>
            <a:noAutofit/>
          </a:bodyPr>
          <a:lstStyle/>
          <a:p>
            <a:pPr algn="ctr" defTabSz="932293" fontAlgn="base">
              <a:spcBef>
                <a:spcPct val="0"/>
              </a:spcBef>
              <a:spcAft>
                <a:spcPct val="0"/>
              </a:spcAft>
            </a:pPr>
            <a:r>
              <a:rPr lang="en-US" sz="2000" dirty="0">
                <a:gradFill>
                  <a:gsLst>
                    <a:gs pos="0">
                      <a:srgbClr val="FFFFFF"/>
                    </a:gs>
                    <a:gs pos="100000">
                      <a:srgbClr val="FFFFFF"/>
                    </a:gs>
                  </a:gsLst>
                  <a:lin ang="5400000" scaled="0"/>
                </a:gradFill>
              </a:rPr>
              <a:t>2</a:t>
            </a:r>
          </a:p>
        </p:txBody>
      </p:sp>
      <p:sp>
        <p:nvSpPr>
          <p:cNvPr id="32" name="Oval 31"/>
          <p:cNvSpPr>
            <a:spLocks noChangeAspect="1"/>
          </p:cNvSpPr>
          <p:nvPr/>
        </p:nvSpPr>
        <p:spPr bwMode="auto">
          <a:xfrm>
            <a:off x="4270842" y="5107072"/>
            <a:ext cx="438850" cy="43533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46630" rIns="91427" bIns="46630" numCol="1" rtlCol="0" anchor="ctr" anchorCtr="0" compatLnSpc="1">
            <a:prstTxWarp prst="textNoShape">
              <a:avLst/>
            </a:prstTxWarp>
            <a:noAutofit/>
          </a:bodyPr>
          <a:lstStyle/>
          <a:p>
            <a:pPr algn="ctr" defTabSz="932293" fontAlgn="base">
              <a:spcBef>
                <a:spcPct val="0"/>
              </a:spcBef>
              <a:spcAft>
                <a:spcPct val="0"/>
              </a:spcAft>
            </a:pPr>
            <a:r>
              <a:rPr lang="en-US" sz="2000" dirty="0">
                <a:gradFill>
                  <a:gsLst>
                    <a:gs pos="0">
                      <a:srgbClr val="FFFFFF"/>
                    </a:gs>
                    <a:gs pos="100000">
                      <a:srgbClr val="FFFFFF"/>
                    </a:gs>
                  </a:gsLst>
                  <a:lin ang="5400000" scaled="0"/>
                </a:gradFill>
              </a:rPr>
              <a:t>1</a:t>
            </a:r>
          </a:p>
        </p:txBody>
      </p:sp>
    </p:spTree>
    <p:extLst>
      <p:ext uri="{BB962C8B-B14F-4D97-AF65-F5344CB8AC3E}">
        <p14:creationId xmlns:p14="http://schemas.microsoft.com/office/powerpoint/2010/main" val="2668323821"/>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3932562" y="1487594"/>
            <a:ext cx="3611368" cy="1782827"/>
          </a:xfrm>
          <a:prstGeom prst="rect">
            <a:avLst/>
          </a:prstGeom>
          <a:solidFill>
            <a:schemeClr val="accent2"/>
          </a:solidFill>
          <a:ln w="9525" cap="flat" cmpd="sng" algn="ctr">
            <a:noFill/>
            <a:prstDash val="solid"/>
            <a:headEnd type="none" w="med" len="med"/>
            <a:tailEnd type="none" w="med" len="med"/>
          </a:ln>
          <a:effectLst/>
        </p:spPr>
        <p:txBody>
          <a:bodyPr vert="horz" wrap="square" lIns="186494" tIns="93247" rIns="186494" bIns="93247" numCol="1" rtlCol="0" anchor="t" anchorCtr="0" compatLnSpc="1">
            <a:prstTxWarp prst="textNoShape">
              <a:avLst/>
            </a:prstTxWarp>
            <a:noAutofit/>
          </a:bodyPr>
          <a:lstStyle/>
          <a:p>
            <a:pPr marL="0" lvl="1" defTabSz="699348">
              <a:buSzPct val="90000"/>
            </a:pPr>
            <a:r>
              <a:rPr lang="en-US" sz="4399" dirty="0">
                <a:ln>
                  <a:solidFill>
                    <a:schemeClr val="tx1">
                      <a:alpha val="0"/>
                    </a:schemeClr>
                  </a:solidFill>
                </a:ln>
                <a:latin typeface="Segoe UI Light" pitchFamily="34" charset="0"/>
              </a:rPr>
              <a:t>Analyze</a:t>
            </a:r>
          </a:p>
        </p:txBody>
      </p:sp>
      <p:sp>
        <p:nvSpPr>
          <p:cNvPr id="20" name="Rectangle 19"/>
          <p:cNvSpPr/>
          <p:nvPr/>
        </p:nvSpPr>
        <p:spPr bwMode="auto">
          <a:xfrm>
            <a:off x="7589644" y="1487594"/>
            <a:ext cx="3657081" cy="1782827"/>
          </a:xfrm>
          <a:prstGeom prst="rect">
            <a:avLst/>
          </a:prstGeom>
          <a:solidFill>
            <a:schemeClr val="accent3"/>
          </a:solidFill>
          <a:ln w="9525" cap="flat" cmpd="sng" algn="ctr">
            <a:noFill/>
            <a:prstDash val="solid"/>
            <a:headEnd type="none" w="med" len="med"/>
            <a:tailEnd type="none" w="med" len="med"/>
          </a:ln>
          <a:effectLst/>
        </p:spPr>
        <p:txBody>
          <a:bodyPr vert="horz" wrap="square" lIns="186494" tIns="93247" rIns="186494" bIns="93247" numCol="1" rtlCol="0" anchor="t" anchorCtr="0" compatLnSpc="1">
            <a:prstTxWarp prst="textNoShape">
              <a:avLst/>
            </a:prstTxWarp>
            <a:noAutofit/>
          </a:bodyPr>
          <a:lstStyle/>
          <a:p>
            <a:pPr marL="0" lvl="1" defTabSz="699348">
              <a:buSzPct val="90000"/>
            </a:pPr>
            <a:r>
              <a:rPr lang="en-US" sz="4399" dirty="0">
                <a:ln>
                  <a:solidFill>
                    <a:schemeClr val="tx1">
                      <a:alpha val="0"/>
                    </a:schemeClr>
                  </a:solidFill>
                </a:ln>
                <a:latin typeface="Segoe UI Light" pitchFamily="34" charset="0"/>
              </a:rPr>
              <a:t>Consume</a:t>
            </a:r>
          </a:p>
        </p:txBody>
      </p:sp>
      <p:sp>
        <p:nvSpPr>
          <p:cNvPr id="3" name="Rectangle 2"/>
          <p:cNvSpPr/>
          <p:nvPr/>
        </p:nvSpPr>
        <p:spPr bwMode="auto">
          <a:xfrm>
            <a:off x="275480" y="1487594"/>
            <a:ext cx="3611368" cy="1782827"/>
          </a:xfrm>
          <a:prstGeom prst="rect">
            <a:avLst/>
          </a:prstGeom>
          <a:solidFill>
            <a:schemeClr val="accent1"/>
          </a:solidFill>
          <a:ln w="9525" cap="flat" cmpd="sng" algn="ctr">
            <a:noFill/>
            <a:prstDash val="solid"/>
            <a:headEnd type="none" w="med" len="med"/>
            <a:tailEnd type="none" w="med" len="med"/>
          </a:ln>
          <a:effectLst/>
        </p:spPr>
        <p:txBody>
          <a:bodyPr vert="horz" wrap="square" lIns="186494" tIns="93247" rIns="186494" bIns="93247" numCol="1" rtlCol="0" anchor="t" anchorCtr="0" compatLnSpc="1">
            <a:prstTxWarp prst="textNoShape">
              <a:avLst/>
            </a:prstTxWarp>
            <a:noAutofit/>
          </a:bodyPr>
          <a:lstStyle/>
          <a:p>
            <a:pPr marL="0" lvl="1" defTabSz="699348">
              <a:buSzPct val="90000"/>
            </a:pPr>
            <a:r>
              <a:rPr lang="en-US" sz="4399" dirty="0">
                <a:ln>
                  <a:solidFill>
                    <a:schemeClr val="tx1">
                      <a:alpha val="0"/>
                    </a:schemeClr>
                  </a:solidFill>
                </a:ln>
                <a:latin typeface="Segoe UI Light" pitchFamily="34" charset="0"/>
              </a:rPr>
              <a:t>Collect</a:t>
            </a:r>
          </a:p>
        </p:txBody>
      </p:sp>
      <p:sp>
        <p:nvSpPr>
          <p:cNvPr id="21" name="Rectangle 20"/>
          <p:cNvSpPr/>
          <p:nvPr/>
        </p:nvSpPr>
        <p:spPr bwMode="auto">
          <a:xfrm>
            <a:off x="3932562" y="3316135"/>
            <a:ext cx="3611368" cy="2697097"/>
          </a:xfrm>
          <a:prstGeom prst="rect">
            <a:avLst/>
          </a:prstGeom>
          <a:solidFill>
            <a:schemeClr val="accent2"/>
          </a:solidFill>
          <a:ln w="9525" cap="flat" cmpd="sng" algn="ctr">
            <a:noFill/>
            <a:prstDash val="solid"/>
            <a:headEnd type="none" w="med" len="med"/>
            <a:tailEnd type="none" w="med" len="med"/>
          </a:ln>
          <a:effectLst/>
        </p:spPr>
        <p:txBody>
          <a:bodyPr vert="horz" wrap="square" lIns="186494" tIns="93247" rIns="186494" bIns="93247" numCol="1" rtlCol="0" anchor="t" anchorCtr="0" compatLnSpc="1">
            <a:prstTxWarp prst="textNoShape">
              <a:avLst/>
            </a:prstTxWarp>
            <a:noAutofit/>
          </a:bodyPr>
          <a:lstStyle/>
          <a:p>
            <a:pPr marL="285695" lvl="1" indent="-285695" defTabSz="699348">
              <a:spcBef>
                <a:spcPts val="600"/>
              </a:spcBef>
              <a:buSzPct val="90000"/>
              <a:buFont typeface="Arial" pitchFamily="34" charset="0"/>
              <a:buChar char="•"/>
            </a:pPr>
            <a:r>
              <a:rPr lang="en-US" sz="2400" dirty="0">
                <a:ln>
                  <a:solidFill>
                    <a:schemeClr val="tx1">
                      <a:alpha val="0"/>
                    </a:schemeClr>
                  </a:solidFill>
                </a:ln>
              </a:rPr>
              <a:t>Real-time and historical analysis of event streams</a:t>
            </a:r>
          </a:p>
          <a:p>
            <a:pPr marL="285695" lvl="1" indent="-285695" defTabSz="699348">
              <a:spcBef>
                <a:spcPts val="600"/>
              </a:spcBef>
              <a:buSzPct val="90000"/>
              <a:buFont typeface="Arial" pitchFamily="34" charset="0"/>
              <a:buChar char="•"/>
            </a:pPr>
            <a:r>
              <a:rPr lang="en-US" sz="2400" dirty="0">
                <a:ln>
                  <a:solidFill>
                    <a:schemeClr val="tx1">
                      <a:alpha val="0"/>
                    </a:schemeClr>
                  </a:solidFill>
                </a:ln>
              </a:rPr>
              <a:t>Aggregations, pivots and patterns</a:t>
            </a:r>
          </a:p>
        </p:txBody>
      </p:sp>
      <p:sp>
        <p:nvSpPr>
          <p:cNvPr id="22" name="Rectangle 21"/>
          <p:cNvSpPr/>
          <p:nvPr/>
        </p:nvSpPr>
        <p:spPr bwMode="auto">
          <a:xfrm>
            <a:off x="7589644" y="3316135"/>
            <a:ext cx="3657081" cy="2697097"/>
          </a:xfrm>
          <a:prstGeom prst="rect">
            <a:avLst/>
          </a:prstGeom>
          <a:solidFill>
            <a:srgbClr val="F15628"/>
          </a:solidFill>
          <a:ln w="9525" cap="flat" cmpd="sng" algn="ctr">
            <a:noFill/>
            <a:prstDash val="solid"/>
            <a:headEnd type="none" w="med" len="med"/>
            <a:tailEnd type="none" w="med" len="med"/>
          </a:ln>
          <a:effectLst/>
        </p:spPr>
        <p:txBody>
          <a:bodyPr vert="horz" wrap="square" lIns="186494" tIns="93247" rIns="186494" bIns="93247" numCol="1" rtlCol="0" anchor="t" anchorCtr="0" compatLnSpc="1">
            <a:prstTxWarp prst="textNoShape">
              <a:avLst/>
            </a:prstTxWarp>
            <a:noAutofit/>
          </a:bodyPr>
          <a:lstStyle/>
          <a:p>
            <a:pPr marL="285695" lvl="1" indent="-285695" defTabSz="699348">
              <a:spcBef>
                <a:spcPts val="600"/>
              </a:spcBef>
              <a:buSzPct val="90000"/>
              <a:buFont typeface="Arial" pitchFamily="34" charset="0"/>
              <a:buChar char="•"/>
            </a:pPr>
            <a:r>
              <a:rPr lang="en-US" sz="2400" dirty="0">
                <a:ln>
                  <a:solidFill>
                    <a:schemeClr val="tx1">
                      <a:alpha val="0"/>
                    </a:schemeClr>
                  </a:solidFill>
                </a:ln>
              </a:rPr>
              <a:t>Anticipate</a:t>
            </a:r>
          </a:p>
          <a:p>
            <a:pPr marL="285695" lvl="1" indent="-285695" defTabSz="699348">
              <a:spcBef>
                <a:spcPts val="600"/>
              </a:spcBef>
              <a:buSzPct val="90000"/>
              <a:buFont typeface="Arial" pitchFamily="34" charset="0"/>
              <a:buChar char="•"/>
            </a:pPr>
            <a:r>
              <a:rPr lang="en-US" sz="2400" dirty="0">
                <a:ln>
                  <a:solidFill>
                    <a:schemeClr val="tx1">
                      <a:alpha val="0"/>
                    </a:schemeClr>
                  </a:solidFill>
                </a:ln>
              </a:rPr>
              <a:t>Accelerate</a:t>
            </a:r>
          </a:p>
          <a:p>
            <a:pPr marL="285695" lvl="1" indent="-285695" defTabSz="699348">
              <a:spcBef>
                <a:spcPts val="600"/>
              </a:spcBef>
              <a:buSzPct val="90000"/>
              <a:buFont typeface="Arial" pitchFamily="34" charset="0"/>
              <a:buChar char="•"/>
            </a:pPr>
            <a:r>
              <a:rPr lang="en-US" sz="2400" dirty="0">
                <a:ln>
                  <a:solidFill>
                    <a:schemeClr val="tx1">
                      <a:alpha val="0"/>
                    </a:schemeClr>
                  </a:solidFill>
                </a:ln>
              </a:rPr>
              <a:t>Alter</a:t>
            </a:r>
          </a:p>
        </p:txBody>
      </p:sp>
      <p:sp>
        <p:nvSpPr>
          <p:cNvPr id="23" name="Rectangle 22"/>
          <p:cNvSpPr/>
          <p:nvPr/>
        </p:nvSpPr>
        <p:spPr bwMode="auto">
          <a:xfrm>
            <a:off x="275480" y="3316135"/>
            <a:ext cx="3611368" cy="2697097"/>
          </a:xfrm>
          <a:prstGeom prst="rect">
            <a:avLst/>
          </a:prstGeom>
          <a:solidFill>
            <a:schemeClr val="accent1"/>
          </a:solidFill>
          <a:ln w="9525" cap="flat" cmpd="sng" algn="ctr">
            <a:noFill/>
            <a:prstDash val="solid"/>
            <a:headEnd type="none" w="med" len="med"/>
            <a:tailEnd type="none" w="med" len="med"/>
          </a:ln>
          <a:effectLst/>
        </p:spPr>
        <p:txBody>
          <a:bodyPr vert="horz" wrap="square" lIns="186494" tIns="93247" rIns="186494" bIns="93247" numCol="1" rtlCol="0" anchor="t" anchorCtr="0" compatLnSpc="1">
            <a:prstTxWarp prst="textNoShape">
              <a:avLst/>
            </a:prstTxWarp>
            <a:noAutofit/>
          </a:bodyPr>
          <a:lstStyle/>
          <a:p>
            <a:pPr marL="285695" lvl="1" indent="-285695" defTabSz="699348">
              <a:spcBef>
                <a:spcPts val="600"/>
              </a:spcBef>
              <a:buSzPct val="90000"/>
              <a:buFont typeface="Arial" pitchFamily="34" charset="0"/>
              <a:buChar char="•"/>
            </a:pPr>
            <a:r>
              <a:rPr lang="en-IN" sz="2400" dirty="0">
                <a:ln>
                  <a:solidFill>
                    <a:schemeClr val="tx1">
                      <a:alpha val="0"/>
                    </a:schemeClr>
                  </a:solidFill>
                </a:ln>
              </a:rPr>
              <a:t>Instrument apps </a:t>
            </a:r>
          </a:p>
          <a:p>
            <a:pPr marL="285695" lvl="1" indent="-285695" defTabSz="699348">
              <a:spcBef>
                <a:spcPts val="600"/>
              </a:spcBef>
              <a:buSzPct val="90000"/>
              <a:buFont typeface="Arial" pitchFamily="34" charset="0"/>
              <a:buChar char="•"/>
            </a:pPr>
            <a:r>
              <a:rPr lang="en-IN" sz="2400" dirty="0">
                <a:ln>
                  <a:solidFill>
                    <a:schemeClr val="tx1">
                      <a:alpha val="0"/>
                    </a:schemeClr>
                  </a:solidFill>
                </a:ln>
              </a:rPr>
              <a:t>Deliver events to analytics service</a:t>
            </a:r>
          </a:p>
          <a:p>
            <a:pPr marL="285695" lvl="1" indent="-285695" defTabSz="699348">
              <a:spcBef>
                <a:spcPts val="600"/>
              </a:spcBef>
              <a:buSzPct val="90000"/>
              <a:buFont typeface="Arial" pitchFamily="34" charset="0"/>
              <a:buChar char="•"/>
            </a:pPr>
            <a:r>
              <a:rPr lang="en-IN" sz="2400" dirty="0">
                <a:ln>
                  <a:solidFill>
                    <a:schemeClr val="tx1">
                      <a:alpha val="0"/>
                    </a:schemeClr>
                  </a:solidFill>
                </a:ln>
              </a:rPr>
              <a:t>Receive and store many live data streams</a:t>
            </a:r>
          </a:p>
        </p:txBody>
      </p:sp>
      <p:sp>
        <p:nvSpPr>
          <p:cNvPr id="2" name="Title 1"/>
          <p:cNvSpPr>
            <a:spLocks noGrp="1"/>
          </p:cNvSpPr>
          <p:nvPr>
            <p:ph type="title"/>
          </p:nvPr>
        </p:nvSpPr>
        <p:spPr>
          <a:xfrm>
            <a:off x="275480" y="295729"/>
            <a:ext cx="11887878" cy="572220"/>
          </a:xfrm>
        </p:spPr>
        <p:txBody>
          <a:bodyPr/>
          <a:lstStyle/>
          <a:p>
            <a:r>
              <a:rPr lang="en-US" dirty="0"/>
              <a:t>Fundamentals of </a:t>
            </a:r>
            <a:r>
              <a:rPr lang="en-US" dirty="0" smtClean="0"/>
              <a:t>insight-enabled </a:t>
            </a:r>
            <a:r>
              <a:rPr lang="en-US" dirty="0"/>
              <a:t>apps</a:t>
            </a:r>
          </a:p>
        </p:txBody>
      </p:sp>
      <p:sp>
        <p:nvSpPr>
          <p:cNvPr id="9" name="Rounded Rectangle 100"/>
          <p:cNvSpPr/>
          <p:nvPr/>
        </p:nvSpPr>
        <p:spPr bwMode="auto">
          <a:xfrm>
            <a:off x="2611129" y="2310969"/>
            <a:ext cx="1123581" cy="783699"/>
          </a:xfrm>
          <a:custGeom>
            <a:avLst/>
            <a:gdLst/>
            <a:ahLst/>
            <a:cxnLst/>
            <a:rect l="l" t="t" r="r" b="b"/>
            <a:pathLst>
              <a:path w="2489828" h="1736658">
                <a:moveTo>
                  <a:pt x="1355416" y="1347324"/>
                </a:moveTo>
                <a:lnTo>
                  <a:pt x="1341361" y="1364359"/>
                </a:lnTo>
                <a:cubicBezTo>
                  <a:pt x="1338975" y="1363255"/>
                  <a:pt x="1337389" y="1362710"/>
                  <a:pt x="1338454" y="1359514"/>
                </a:cubicBezTo>
                <a:cubicBezTo>
                  <a:pt x="1339738" y="1355661"/>
                  <a:pt x="1343591" y="1353094"/>
                  <a:pt x="1347444" y="1350525"/>
                </a:cubicBezTo>
                <a:cubicBezTo>
                  <a:pt x="1350183" y="1349156"/>
                  <a:pt x="1352921" y="1348517"/>
                  <a:pt x="1355416" y="1347324"/>
                </a:cubicBezTo>
                <a:close/>
                <a:moveTo>
                  <a:pt x="1367094" y="1326896"/>
                </a:moveTo>
                <a:lnTo>
                  <a:pt x="1367848" y="1327412"/>
                </a:lnTo>
                <a:cubicBezTo>
                  <a:pt x="1367397" y="1329533"/>
                  <a:pt x="1366290" y="1331232"/>
                  <a:pt x="1365170" y="1332923"/>
                </a:cubicBezTo>
                <a:cubicBezTo>
                  <a:pt x="1366081" y="1331614"/>
                  <a:pt x="1366343" y="1330154"/>
                  <a:pt x="1366708" y="1328694"/>
                </a:cubicBezTo>
                <a:close/>
                <a:moveTo>
                  <a:pt x="1425858" y="1165049"/>
                </a:moveTo>
                <a:cubicBezTo>
                  <a:pt x="1426272" y="1184566"/>
                  <a:pt x="1422052" y="1203165"/>
                  <a:pt x="1416359" y="1221185"/>
                </a:cubicBezTo>
                <a:lnTo>
                  <a:pt x="1362623" y="1257938"/>
                </a:lnTo>
                <a:cubicBezTo>
                  <a:pt x="1362614" y="1257515"/>
                  <a:pt x="1362734" y="1257141"/>
                  <a:pt x="1362855" y="1256779"/>
                </a:cubicBezTo>
                <a:cubicBezTo>
                  <a:pt x="1364139" y="1254210"/>
                  <a:pt x="1366708" y="1254210"/>
                  <a:pt x="1367992" y="1251642"/>
                </a:cubicBezTo>
                <a:cubicBezTo>
                  <a:pt x="1369276" y="1250358"/>
                  <a:pt x="1369276" y="1247790"/>
                  <a:pt x="1370561" y="1246506"/>
                </a:cubicBezTo>
                <a:cubicBezTo>
                  <a:pt x="1373129" y="1242653"/>
                  <a:pt x="1376981" y="1240084"/>
                  <a:pt x="1380834" y="1236232"/>
                </a:cubicBezTo>
                <a:cubicBezTo>
                  <a:pt x="1384687" y="1232379"/>
                  <a:pt x="1388539" y="1227243"/>
                  <a:pt x="1392392" y="1222106"/>
                </a:cubicBezTo>
                <a:cubicBezTo>
                  <a:pt x="1393676" y="1219538"/>
                  <a:pt x="1393676" y="1216969"/>
                  <a:pt x="1394961" y="1215685"/>
                </a:cubicBezTo>
                <a:cubicBezTo>
                  <a:pt x="1398814" y="1209264"/>
                  <a:pt x="1406519" y="1206696"/>
                  <a:pt x="1411656" y="1201559"/>
                </a:cubicBezTo>
                <a:cubicBezTo>
                  <a:pt x="1414224" y="1197706"/>
                  <a:pt x="1414224" y="1195138"/>
                  <a:pt x="1414224" y="1191285"/>
                </a:cubicBezTo>
                <a:cubicBezTo>
                  <a:pt x="1414224" y="1186148"/>
                  <a:pt x="1415509" y="1183580"/>
                  <a:pt x="1418077" y="1178444"/>
                </a:cubicBezTo>
                <a:cubicBezTo>
                  <a:pt x="1419361" y="1175875"/>
                  <a:pt x="1421930" y="1173307"/>
                  <a:pt x="1423214" y="1169454"/>
                </a:cubicBezTo>
                <a:close/>
                <a:moveTo>
                  <a:pt x="1427937" y="1152759"/>
                </a:moveTo>
                <a:lnTo>
                  <a:pt x="1428351" y="1152759"/>
                </a:lnTo>
                <a:lnTo>
                  <a:pt x="1427067" y="1163033"/>
                </a:lnTo>
                <a:cubicBezTo>
                  <a:pt x="1426714" y="1163740"/>
                  <a:pt x="1426360" y="1164446"/>
                  <a:pt x="1425858" y="1165049"/>
                </a:cubicBezTo>
                <a:close/>
                <a:moveTo>
                  <a:pt x="799274" y="1104029"/>
                </a:moveTo>
                <a:cubicBezTo>
                  <a:pt x="796686" y="1103387"/>
                  <a:pt x="794098" y="1104029"/>
                  <a:pt x="792804" y="1106598"/>
                </a:cubicBezTo>
                <a:cubicBezTo>
                  <a:pt x="791510" y="1107884"/>
                  <a:pt x="792804" y="1109168"/>
                  <a:pt x="791510" y="1110453"/>
                </a:cubicBezTo>
                <a:lnTo>
                  <a:pt x="787628" y="1110453"/>
                </a:lnTo>
                <a:cubicBezTo>
                  <a:pt x="786334" y="1110453"/>
                  <a:pt x="785040" y="1109168"/>
                  <a:pt x="783745" y="1109168"/>
                </a:cubicBezTo>
                <a:lnTo>
                  <a:pt x="781158" y="1113022"/>
                </a:lnTo>
                <a:lnTo>
                  <a:pt x="786334" y="1114307"/>
                </a:lnTo>
                <a:cubicBezTo>
                  <a:pt x="788922" y="1114307"/>
                  <a:pt x="791510" y="1113022"/>
                  <a:pt x="795392" y="1113022"/>
                </a:cubicBezTo>
                <a:cubicBezTo>
                  <a:pt x="797980" y="1113022"/>
                  <a:pt x="801862" y="1115591"/>
                  <a:pt x="804450" y="1114307"/>
                </a:cubicBezTo>
                <a:cubicBezTo>
                  <a:pt x="807038" y="1113022"/>
                  <a:pt x="807038" y="1110453"/>
                  <a:pt x="805745" y="1109168"/>
                </a:cubicBezTo>
                <a:cubicBezTo>
                  <a:pt x="804450" y="1106598"/>
                  <a:pt x="801862" y="1104672"/>
                  <a:pt x="799274" y="1104029"/>
                </a:cubicBezTo>
                <a:close/>
                <a:moveTo>
                  <a:pt x="737364" y="1082105"/>
                </a:moveTo>
                <a:cubicBezTo>
                  <a:pt x="734797" y="1082105"/>
                  <a:pt x="733514" y="1082105"/>
                  <a:pt x="733514" y="1083404"/>
                </a:cubicBezTo>
                <a:cubicBezTo>
                  <a:pt x="730947" y="1087299"/>
                  <a:pt x="737364" y="1086000"/>
                  <a:pt x="738647" y="1086000"/>
                </a:cubicBezTo>
                <a:cubicBezTo>
                  <a:pt x="741214" y="1086000"/>
                  <a:pt x="742497" y="1084702"/>
                  <a:pt x="745063" y="1084702"/>
                </a:cubicBezTo>
                <a:cubicBezTo>
                  <a:pt x="746347" y="1086000"/>
                  <a:pt x="748913" y="1087299"/>
                  <a:pt x="751480" y="1088597"/>
                </a:cubicBezTo>
                <a:cubicBezTo>
                  <a:pt x="755330" y="1092492"/>
                  <a:pt x="760463" y="1096388"/>
                  <a:pt x="764313" y="1100283"/>
                </a:cubicBezTo>
                <a:cubicBezTo>
                  <a:pt x="766879" y="1102879"/>
                  <a:pt x="769446" y="1104178"/>
                  <a:pt x="773295" y="1104178"/>
                </a:cubicBezTo>
                <a:cubicBezTo>
                  <a:pt x="775862" y="1104178"/>
                  <a:pt x="777145" y="1101581"/>
                  <a:pt x="775862" y="1098984"/>
                </a:cubicBezTo>
                <a:cubicBezTo>
                  <a:pt x="773295" y="1097686"/>
                  <a:pt x="770729" y="1096388"/>
                  <a:pt x="768163" y="1095089"/>
                </a:cubicBezTo>
                <a:cubicBezTo>
                  <a:pt x="761746" y="1092492"/>
                  <a:pt x="755330" y="1088597"/>
                  <a:pt x="750197" y="1084702"/>
                </a:cubicBezTo>
                <a:cubicBezTo>
                  <a:pt x="747630" y="1083404"/>
                  <a:pt x="745063" y="1082105"/>
                  <a:pt x="742497" y="1082105"/>
                </a:cubicBezTo>
                <a:close/>
                <a:moveTo>
                  <a:pt x="1335565" y="1042800"/>
                </a:moveTo>
                <a:lnTo>
                  <a:pt x="1341023" y="1043603"/>
                </a:lnTo>
                <a:cubicBezTo>
                  <a:pt x="1343591" y="1046172"/>
                  <a:pt x="1347444" y="1050024"/>
                  <a:pt x="1348728" y="1053877"/>
                </a:cubicBezTo>
                <a:cubicBezTo>
                  <a:pt x="1350013" y="1056445"/>
                  <a:pt x="1350013" y="1059014"/>
                  <a:pt x="1352581" y="1062866"/>
                </a:cubicBezTo>
                <a:cubicBezTo>
                  <a:pt x="1353865" y="1065434"/>
                  <a:pt x="1355149" y="1066719"/>
                  <a:pt x="1356433" y="1071856"/>
                </a:cubicBezTo>
                <a:cubicBezTo>
                  <a:pt x="1357718" y="1075708"/>
                  <a:pt x="1359002" y="1078276"/>
                  <a:pt x="1361571" y="1080845"/>
                </a:cubicBezTo>
                <a:cubicBezTo>
                  <a:pt x="1364139" y="1084697"/>
                  <a:pt x="1364139" y="1088550"/>
                  <a:pt x="1365423" y="1092402"/>
                </a:cubicBezTo>
                <a:cubicBezTo>
                  <a:pt x="1365423" y="1096255"/>
                  <a:pt x="1367992" y="1096255"/>
                  <a:pt x="1369276" y="1100108"/>
                </a:cubicBezTo>
                <a:cubicBezTo>
                  <a:pt x="1370561" y="1102676"/>
                  <a:pt x="1370561" y="1106528"/>
                  <a:pt x="1373129" y="1110381"/>
                </a:cubicBezTo>
                <a:cubicBezTo>
                  <a:pt x="1374413" y="1114234"/>
                  <a:pt x="1378266" y="1114234"/>
                  <a:pt x="1380834" y="1116802"/>
                </a:cubicBezTo>
                <a:cubicBezTo>
                  <a:pt x="1383403" y="1120655"/>
                  <a:pt x="1382118" y="1125791"/>
                  <a:pt x="1382118" y="1129644"/>
                </a:cubicBezTo>
                <a:cubicBezTo>
                  <a:pt x="1380834" y="1137349"/>
                  <a:pt x="1384687" y="1142486"/>
                  <a:pt x="1392392" y="1143770"/>
                </a:cubicBezTo>
                <a:cubicBezTo>
                  <a:pt x="1397529" y="1145054"/>
                  <a:pt x="1401382" y="1142486"/>
                  <a:pt x="1405234" y="1142486"/>
                </a:cubicBezTo>
                <a:cubicBezTo>
                  <a:pt x="1409087" y="1141202"/>
                  <a:pt x="1412940" y="1142486"/>
                  <a:pt x="1416793" y="1141202"/>
                </a:cubicBezTo>
                <a:lnTo>
                  <a:pt x="1420646" y="1134781"/>
                </a:lnTo>
                <a:cubicBezTo>
                  <a:pt x="1423214" y="1133497"/>
                  <a:pt x="1427067" y="1136065"/>
                  <a:pt x="1429635" y="1132213"/>
                </a:cubicBezTo>
                <a:lnTo>
                  <a:pt x="1430919" y="1125791"/>
                </a:lnTo>
                <a:lnTo>
                  <a:pt x="1432822" y="1123889"/>
                </a:lnTo>
                <a:lnTo>
                  <a:pt x="1427937" y="1152759"/>
                </a:lnTo>
                <a:cubicBezTo>
                  <a:pt x="1426944" y="1150253"/>
                  <a:pt x="1424467" y="1151506"/>
                  <a:pt x="1423214" y="1152759"/>
                </a:cubicBezTo>
                <a:cubicBezTo>
                  <a:pt x="1420646" y="1155328"/>
                  <a:pt x="1419361" y="1155328"/>
                  <a:pt x="1415509" y="1156612"/>
                </a:cubicBezTo>
                <a:lnTo>
                  <a:pt x="1410372" y="1156612"/>
                </a:lnTo>
                <a:cubicBezTo>
                  <a:pt x="1409087" y="1156612"/>
                  <a:pt x="1409087" y="1157896"/>
                  <a:pt x="1407803" y="1159181"/>
                </a:cubicBezTo>
                <a:cubicBezTo>
                  <a:pt x="1403951" y="1160465"/>
                  <a:pt x="1400098" y="1159181"/>
                  <a:pt x="1396245" y="1159181"/>
                </a:cubicBezTo>
                <a:lnTo>
                  <a:pt x="1389824" y="1159181"/>
                </a:lnTo>
                <a:cubicBezTo>
                  <a:pt x="1387256" y="1157896"/>
                  <a:pt x="1387256" y="1156612"/>
                  <a:pt x="1385971" y="1154044"/>
                </a:cubicBezTo>
                <a:cubicBezTo>
                  <a:pt x="1383403" y="1146339"/>
                  <a:pt x="1376981" y="1142486"/>
                  <a:pt x="1373129" y="1136065"/>
                </a:cubicBezTo>
                <a:cubicBezTo>
                  <a:pt x="1369276" y="1128360"/>
                  <a:pt x="1362855" y="1120655"/>
                  <a:pt x="1361571" y="1112950"/>
                </a:cubicBezTo>
                <a:cubicBezTo>
                  <a:pt x="1360286" y="1107813"/>
                  <a:pt x="1360286" y="1102676"/>
                  <a:pt x="1357718" y="1097539"/>
                </a:cubicBezTo>
                <a:cubicBezTo>
                  <a:pt x="1353865" y="1091119"/>
                  <a:pt x="1347444" y="1084697"/>
                  <a:pt x="1344876" y="1076993"/>
                </a:cubicBezTo>
                <a:lnTo>
                  <a:pt x="1343591" y="1065434"/>
                </a:lnTo>
                <a:cubicBezTo>
                  <a:pt x="1342307" y="1062866"/>
                  <a:pt x="1339738" y="1059014"/>
                  <a:pt x="1338454" y="1055161"/>
                </a:cubicBezTo>
                <a:cubicBezTo>
                  <a:pt x="1337170" y="1053877"/>
                  <a:pt x="1330749" y="1047456"/>
                  <a:pt x="1332033" y="1044888"/>
                </a:cubicBezTo>
                <a:close/>
                <a:moveTo>
                  <a:pt x="1419361" y="1034614"/>
                </a:moveTo>
                <a:cubicBezTo>
                  <a:pt x="1421930" y="1038466"/>
                  <a:pt x="1421930" y="1043603"/>
                  <a:pt x="1424498" y="1047456"/>
                </a:cubicBezTo>
                <a:cubicBezTo>
                  <a:pt x="1425962" y="1051116"/>
                  <a:pt x="1428261" y="1052690"/>
                  <a:pt x="1431200" y="1053177"/>
                </a:cubicBezTo>
                <a:lnTo>
                  <a:pt x="1433627" y="1077251"/>
                </a:lnTo>
                <a:lnTo>
                  <a:pt x="1423214" y="1071856"/>
                </a:lnTo>
                <a:cubicBezTo>
                  <a:pt x="1420646" y="1069287"/>
                  <a:pt x="1419361" y="1066719"/>
                  <a:pt x="1418077" y="1064150"/>
                </a:cubicBezTo>
                <a:cubicBezTo>
                  <a:pt x="1418077" y="1061582"/>
                  <a:pt x="1418077" y="1059014"/>
                  <a:pt x="1418077" y="1056445"/>
                </a:cubicBezTo>
                <a:cubicBezTo>
                  <a:pt x="1416793" y="1052593"/>
                  <a:pt x="1414224" y="1050024"/>
                  <a:pt x="1411656" y="1047456"/>
                </a:cubicBezTo>
                <a:cubicBezTo>
                  <a:pt x="1409087" y="1046172"/>
                  <a:pt x="1409087" y="1043603"/>
                  <a:pt x="1407803" y="1041035"/>
                </a:cubicBezTo>
                <a:cubicBezTo>
                  <a:pt x="1407803" y="1035898"/>
                  <a:pt x="1414224" y="1032046"/>
                  <a:pt x="1419361" y="1034614"/>
                </a:cubicBezTo>
                <a:close/>
                <a:moveTo>
                  <a:pt x="586040" y="1028332"/>
                </a:moveTo>
                <a:cubicBezTo>
                  <a:pt x="588608" y="1030899"/>
                  <a:pt x="589892" y="1034750"/>
                  <a:pt x="591176" y="1037317"/>
                </a:cubicBezTo>
                <a:cubicBezTo>
                  <a:pt x="593743" y="1039884"/>
                  <a:pt x="596311" y="1043735"/>
                  <a:pt x="598879" y="1047586"/>
                </a:cubicBezTo>
                <a:cubicBezTo>
                  <a:pt x="604014" y="1056571"/>
                  <a:pt x="607866" y="1065556"/>
                  <a:pt x="613001" y="1074541"/>
                </a:cubicBezTo>
                <a:lnTo>
                  <a:pt x="618136" y="1079675"/>
                </a:lnTo>
                <a:cubicBezTo>
                  <a:pt x="619420" y="1082242"/>
                  <a:pt x="619420" y="1082242"/>
                  <a:pt x="620704" y="1084809"/>
                </a:cubicBezTo>
                <a:cubicBezTo>
                  <a:pt x="621987" y="1087376"/>
                  <a:pt x="623271" y="1088660"/>
                  <a:pt x="623271" y="1091227"/>
                </a:cubicBezTo>
                <a:cubicBezTo>
                  <a:pt x="624555" y="1095078"/>
                  <a:pt x="623271" y="1098929"/>
                  <a:pt x="623271" y="1102779"/>
                </a:cubicBezTo>
                <a:lnTo>
                  <a:pt x="628406" y="1113048"/>
                </a:lnTo>
                <a:cubicBezTo>
                  <a:pt x="630974" y="1115615"/>
                  <a:pt x="633542" y="1115615"/>
                  <a:pt x="637393" y="1116899"/>
                </a:cubicBezTo>
                <a:cubicBezTo>
                  <a:pt x="638677" y="1118182"/>
                  <a:pt x="639961" y="1120750"/>
                  <a:pt x="642528" y="1120750"/>
                </a:cubicBezTo>
                <a:cubicBezTo>
                  <a:pt x="643812" y="1122033"/>
                  <a:pt x="646380" y="1120750"/>
                  <a:pt x="647664" y="1122033"/>
                </a:cubicBezTo>
                <a:cubicBezTo>
                  <a:pt x="648948" y="1123317"/>
                  <a:pt x="648948" y="1124600"/>
                  <a:pt x="650231" y="1124600"/>
                </a:cubicBezTo>
                <a:cubicBezTo>
                  <a:pt x="652800" y="1127167"/>
                  <a:pt x="654083" y="1129735"/>
                  <a:pt x="657935" y="1131018"/>
                </a:cubicBezTo>
                <a:cubicBezTo>
                  <a:pt x="661786" y="1132302"/>
                  <a:pt x="668206" y="1132302"/>
                  <a:pt x="672057" y="1131018"/>
                </a:cubicBezTo>
                <a:cubicBezTo>
                  <a:pt x="675908" y="1129735"/>
                  <a:pt x="679760" y="1128451"/>
                  <a:pt x="683611" y="1129735"/>
                </a:cubicBezTo>
                <a:cubicBezTo>
                  <a:pt x="686179" y="1131018"/>
                  <a:pt x="687463" y="1133585"/>
                  <a:pt x="690030" y="1134869"/>
                </a:cubicBezTo>
                <a:cubicBezTo>
                  <a:pt x="693882" y="1137436"/>
                  <a:pt x="695165" y="1142570"/>
                  <a:pt x="699017" y="1143854"/>
                </a:cubicBezTo>
                <a:cubicBezTo>
                  <a:pt x="700301" y="1145138"/>
                  <a:pt x="701584" y="1145138"/>
                  <a:pt x="702868" y="1145138"/>
                </a:cubicBezTo>
                <a:cubicBezTo>
                  <a:pt x="708004" y="1146421"/>
                  <a:pt x="710571" y="1147705"/>
                  <a:pt x="713139" y="1150271"/>
                </a:cubicBezTo>
                <a:cubicBezTo>
                  <a:pt x="718274" y="1154123"/>
                  <a:pt x="716991" y="1161824"/>
                  <a:pt x="719558" y="1165674"/>
                </a:cubicBezTo>
                <a:cubicBezTo>
                  <a:pt x="722126" y="1168242"/>
                  <a:pt x="724694" y="1168242"/>
                  <a:pt x="727261" y="1169526"/>
                </a:cubicBezTo>
                <a:cubicBezTo>
                  <a:pt x="729829" y="1170809"/>
                  <a:pt x="729829" y="1174659"/>
                  <a:pt x="733680" y="1175943"/>
                </a:cubicBezTo>
                <a:lnTo>
                  <a:pt x="746519" y="1175943"/>
                </a:lnTo>
                <a:cubicBezTo>
                  <a:pt x="749087" y="1175943"/>
                  <a:pt x="752938" y="1174659"/>
                  <a:pt x="756789" y="1175943"/>
                </a:cubicBezTo>
                <a:lnTo>
                  <a:pt x="760641" y="1179794"/>
                </a:lnTo>
                <a:cubicBezTo>
                  <a:pt x="761925" y="1182361"/>
                  <a:pt x="760641" y="1183645"/>
                  <a:pt x="763208" y="1186212"/>
                </a:cubicBezTo>
                <a:cubicBezTo>
                  <a:pt x="768344" y="1190062"/>
                  <a:pt x="765776" y="1196480"/>
                  <a:pt x="764492" y="1202898"/>
                </a:cubicBezTo>
                <a:cubicBezTo>
                  <a:pt x="763208" y="1205465"/>
                  <a:pt x="763208" y="1208033"/>
                  <a:pt x="763208" y="1210600"/>
                </a:cubicBezTo>
                <a:cubicBezTo>
                  <a:pt x="763208" y="1213167"/>
                  <a:pt x="763208" y="1214450"/>
                  <a:pt x="764492" y="1217018"/>
                </a:cubicBezTo>
                <a:cubicBezTo>
                  <a:pt x="764492" y="1220868"/>
                  <a:pt x="763208" y="1222152"/>
                  <a:pt x="761925" y="1224719"/>
                </a:cubicBezTo>
                <a:cubicBezTo>
                  <a:pt x="758073" y="1232421"/>
                  <a:pt x="752938" y="1237554"/>
                  <a:pt x="749087" y="1243973"/>
                </a:cubicBezTo>
                <a:cubicBezTo>
                  <a:pt x="746519" y="1249107"/>
                  <a:pt x="746519" y="1256809"/>
                  <a:pt x="746519" y="1261942"/>
                </a:cubicBezTo>
                <a:cubicBezTo>
                  <a:pt x="747803" y="1270928"/>
                  <a:pt x="751654" y="1276062"/>
                  <a:pt x="758073" y="1282480"/>
                </a:cubicBezTo>
                <a:cubicBezTo>
                  <a:pt x="763208" y="1287614"/>
                  <a:pt x="763208" y="1294032"/>
                  <a:pt x="765776" y="1300450"/>
                </a:cubicBezTo>
                <a:cubicBezTo>
                  <a:pt x="765776" y="1303017"/>
                  <a:pt x="767060" y="1305584"/>
                  <a:pt x="768344" y="1308151"/>
                </a:cubicBezTo>
                <a:cubicBezTo>
                  <a:pt x="769627" y="1310718"/>
                  <a:pt x="772195" y="1312002"/>
                  <a:pt x="772195" y="1315853"/>
                </a:cubicBezTo>
                <a:cubicBezTo>
                  <a:pt x="772195" y="1317136"/>
                  <a:pt x="772195" y="1318420"/>
                  <a:pt x="772195" y="1320987"/>
                </a:cubicBezTo>
                <a:cubicBezTo>
                  <a:pt x="772195" y="1323554"/>
                  <a:pt x="773479" y="1329972"/>
                  <a:pt x="776046" y="1331256"/>
                </a:cubicBezTo>
                <a:cubicBezTo>
                  <a:pt x="777330" y="1332539"/>
                  <a:pt x="779898" y="1333823"/>
                  <a:pt x="782465" y="1333823"/>
                </a:cubicBezTo>
                <a:cubicBezTo>
                  <a:pt x="785033" y="1335106"/>
                  <a:pt x="788885" y="1336390"/>
                  <a:pt x="791452" y="1338957"/>
                </a:cubicBezTo>
                <a:cubicBezTo>
                  <a:pt x="794020" y="1341524"/>
                  <a:pt x="796588" y="1342808"/>
                  <a:pt x="799155" y="1345375"/>
                </a:cubicBezTo>
                <a:cubicBezTo>
                  <a:pt x="800439" y="1346659"/>
                  <a:pt x="800439" y="1349225"/>
                  <a:pt x="801723" y="1351793"/>
                </a:cubicBezTo>
                <a:cubicBezTo>
                  <a:pt x="803007" y="1354360"/>
                  <a:pt x="803007" y="1358211"/>
                  <a:pt x="803007" y="1362062"/>
                </a:cubicBezTo>
                <a:cubicBezTo>
                  <a:pt x="803007" y="1363345"/>
                  <a:pt x="801723" y="1364628"/>
                  <a:pt x="801723" y="1367196"/>
                </a:cubicBezTo>
                <a:cubicBezTo>
                  <a:pt x="801723" y="1368480"/>
                  <a:pt x="803007" y="1369763"/>
                  <a:pt x="801723" y="1371046"/>
                </a:cubicBezTo>
                <a:lnTo>
                  <a:pt x="801723" y="1376181"/>
                </a:lnTo>
                <a:cubicBezTo>
                  <a:pt x="801723" y="1380031"/>
                  <a:pt x="799155" y="1382599"/>
                  <a:pt x="799155" y="1386449"/>
                </a:cubicBezTo>
                <a:cubicBezTo>
                  <a:pt x="799155" y="1390300"/>
                  <a:pt x="800439" y="1392868"/>
                  <a:pt x="800439" y="1395434"/>
                </a:cubicBezTo>
                <a:cubicBezTo>
                  <a:pt x="799155" y="1398001"/>
                  <a:pt x="797872" y="1399285"/>
                  <a:pt x="799155" y="1403136"/>
                </a:cubicBezTo>
                <a:cubicBezTo>
                  <a:pt x="799155" y="1404419"/>
                  <a:pt x="799155" y="1405703"/>
                  <a:pt x="799155" y="1408270"/>
                </a:cubicBezTo>
                <a:cubicBezTo>
                  <a:pt x="799155" y="1409554"/>
                  <a:pt x="797872" y="1410837"/>
                  <a:pt x="797872" y="1413404"/>
                </a:cubicBezTo>
                <a:lnTo>
                  <a:pt x="796588" y="1418539"/>
                </a:lnTo>
                <a:lnTo>
                  <a:pt x="795304" y="1423673"/>
                </a:lnTo>
                <a:cubicBezTo>
                  <a:pt x="796588" y="1424957"/>
                  <a:pt x="796588" y="1426240"/>
                  <a:pt x="796588" y="1428807"/>
                </a:cubicBezTo>
                <a:cubicBezTo>
                  <a:pt x="796588" y="1430091"/>
                  <a:pt x="795304" y="1431375"/>
                  <a:pt x="795304" y="1433942"/>
                </a:cubicBezTo>
                <a:cubicBezTo>
                  <a:pt x="795304" y="1436509"/>
                  <a:pt x="796588" y="1437792"/>
                  <a:pt x="797872" y="1439076"/>
                </a:cubicBezTo>
                <a:cubicBezTo>
                  <a:pt x="800439" y="1444210"/>
                  <a:pt x="794020" y="1449345"/>
                  <a:pt x="792736" y="1454479"/>
                </a:cubicBezTo>
                <a:cubicBezTo>
                  <a:pt x="791452" y="1458330"/>
                  <a:pt x="790168" y="1462180"/>
                  <a:pt x="790168" y="1466031"/>
                </a:cubicBezTo>
                <a:lnTo>
                  <a:pt x="787732" y="1475775"/>
                </a:lnTo>
                <a:cubicBezTo>
                  <a:pt x="653361" y="1402919"/>
                  <a:pt x="563183" y="1260279"/>
                  <a:pt x="563183" y="1096578"/>
                </a:cubicBezTo>
                <a:lnTo>
                  <a:pt x="569630" y="1032630"/>
                </a:lnTo>
                <a:cubicBezTo>
                  <a:pt x="572113" y="1036233"/>
                  <a:pt x="574535" y="1038748"/>
                  <a:pt x="575770" y="1042452"/>
                </a:cubicBezTo>
                <a:cubicBezTo>
                  <a:pt x="578337" y="1045018"/>
                  <a:pt x="575770" y="1047586"/>
                  <a:pt x="575770" y="1050153"/>
                </a:cubicBezTo>
                <a:cubicBezTo>
                  <a:pt x="574486" y="1054003"/>
                  <a:pt x="579621" y="1056571"/>
                  <a:pt x="580905" y="1057855"/>
                </a:cubicBezTo>
                <a:cubicBezTo>
                  <a:pt x="583473" y="1060421"/>
                  <a:pt x="586040" y="1062988"/>
                  <a:pt x="587324" y="1065556"/>
                </a:cubicBezTo>
                <a:cubicBezTo>
                  <a:pt x="589892" y="1068123"/>
                  <a:pt x="591176" y="1071974"/>
                  <a:pt x="592460" y="1075824"/>
                </a:cubicBezTo>
                <a:lnTo>
                  <a:pt x="596311" y="1079675"/>
                </a:lnTo>
                <a:lnTo>
                  <a:pt x="598879" y="1075824"/>
                </a:lnTo>
                <a:lnTo>
                  <a:pt x="596311" y="1070690"/>
                </a:lnTo>
                <a:cubicBezTo>
                  <a:pt x="595027" y="1069406"/>
                  <a:pt x="593743" y="1066839"/>
                  <a:pt x="592460" y="1064272"/>
                </a:cubicBezTo>
                <a:cubicBezTo>
                  <a:pt x="591176" y="1062988"/>
                  <a:pt x="589892" y="1061705"/>
                  <a:pt x="588608" y="1059138"/>
                </a:cubicBezTo>
                <a:cubicBezTo>
                  <a:pt x="586040" y="1056571"/>
                  <a:pt x="584757" y="1054003"/>
                  <a:pt x="583473" y="1050153"/>
                </a:cubicBezTo>
                <a:cubicBezTo>
                  <a:pt x="582189" y="1046302"/>
                  <a:pt x="579621" y="1043735"/>
                  <a:pt x="579621" y="1039884"/>
                </a:cubicBezTo>
                <a:cubicBezTo>
                  <a:pt x="578337" y="1037317"/>
                  <a:pt x="578337" y="1034750"/>
                  <a:pt x="578337" y="1030899"/>
                </a:cubicBezTo>
                <a:cubicBezTo>
                  <a:pt x="578337" y="1027049"/>
                  <a:pt x="582189" y="1025765"/>
                  <a:pt x="586040" y="1028332"/>
                </a:cubicBezTo>
                <a:close/>
                <a:moveTo>
                  <a:pt x="1769979" y="1006408"/>
                </a:moveTo>
                <a:lnTo>
                  <a:pt x="1769979" y="1206966"/>
                </a:lnTo>
                <a:lnTo>
                  <a:pt x="2103009" y="1206966"/>
                </a:lnTo>
                <a:lnTo>
                  <a:pt x="2103009" y="1378873"/>
                </a:lnTo>
                <a:lnTo>
                  <a:pt x="1769979" y="1378873"/>
                </a:lnTo>
                <a:lnTo>
                  <a:pt x="1769979" y="1579431"/>
                </a:lnTo>
                <a:lnTo>
                  <a:pt x="1341008" y="1292920"/>
                </a:lnTo>
                <a:close/>
                <a:moveTo>
                  <a:pt x="874865" y="879164"/>
                </a:moveTo>
                <a:cubicBezTo>
                  <a:pt x="872278" y="879164"/>
                  <a:pt x="872278" y="884318"/>
                  <a:pt x="872278" y="886895"/>
                </a:cubicBezTo>
                <a:cubicBezTo>
                  <a:pt x="870986" y="893336"/>
                  <a:pt x="861933" y="897201"/>
                  <a:pt x="861933" y="902354"/>
                </a:cubicBezTo>
                <a:cubicBezTo>
                  <a:pt x="863226" y="910085"/>
                  <a:pt x="869692" y="911373"/>
                  <a:pt x="874865" y="911373"/>
                </a:cubicBezTo>
                <a:cubicBezTo>
                  <a:pt x="878745" y="910085"/>
                  <a:pt x="881331" y="910085"/>
                  <a:pt x="885210" y="911373"/>
                </a:cubicBezTo>
                <a:cubicBezTo>
                  <a:pt x="887797" y="911373"/>
                  <a:pt x="889090" y="913949"/>
                  <a:pt x="891677" y="913949"/>
                </a:cubicBezTo>
                <a:cubicBezTo>
                  <a:pt x="894263" y="913949"/>
                  <a:pt x="896849" y="913949"/>
                  <a:pt x="898142" y="911373"/>
                </a:cubicBezTo>
                <a:cubicBezTo>
                  <a:pt x="899435" y="907507"/>
                  <a:pt x="896849" y="906219"/>
                  <a:pt x="894263" y="903643"/>
                </a:cubicBezTo>
                <a:cubicBezTo>
                  <a:pt x="892970" y="902354"/>
                  <a:pt x="891677" y="901066"/>
                  <a:pt x="890383" y="899778"/>
                </a:cubicBezTo>
                <a:cubicBezTo>
                  <a:pt x="889090" y="897201"/>
                  <a:pt x="886504" y="893336"/>
                  <a:pt x="882624" y="894624"/>
                </a:cubicBezTo>
                <a:cubicBezTo>
                  <a:pt x="881331" y="894624"/>
                  <a:pt x="881331" y="895912"/>
                  <a:pt x="880038" y="895912"/>
                </a:cubicBezTo>
                <a:lnTo>
                  <a:pt x="876158" y="894624"/>
                </a:lnTo>
                <a:cubicBezTo>
                  <a:pt x="874865" y="893336"/>
                  <a:pt x="876158" y="892048"/>
                  <a:pt x="876158" y="889471"/>
                </a:cubicBezTo>
                <a:cubicBezTo>
                  <a:pt x="877451" y="888183"/>
                  <a:pt x="877451" y="885606"/>
                  <a:pt x="878745" y="883030"/>
                </a:cubicBezTo>
                <a:lnTo>
                  <a:pt x="877451" y="879164"/>
                </a:lnTo>
                <a:cubicBezTo>
                  <a:pt x="876158" y="879164"/>
                  <a:pt x="876158" y="879164"/>
                  <a:pt x="874865" y="879164"/>
                </a:cubicBezTo>
                <a:close/>
                <a:moveTo>
                  <a:pt x="1125354" y="850902"/>
                </a:moveTo>
                <a:cubicBezTo>
                  <a:pt x="1124056" y="850902"/>
                  <a:pt x="1122757" y="852202"/>
                  <a:pt x="1121459" y="853502"/>
                </a:cubicBezTo>
                <a:cubicBezTo>
                  <a:pt x="1120160" y="854801"/>
                  <a:pt x="1118862" y="856101"/>
                  <a:pt x="1117564" y="856101"/>
                </a:cubicBezTo>
                <a:cubicBezTo>
                  <a:pt x="1116265" y="857401"/>
                  <a:pt x="1114967" y="856101"/>
                  <a:pt x="1113669" y="857401"/>
                </a:cubicBezTo>
                <a:cubicBezTo>
                  <a:pt x="1113669" y="858701"/>
                  <a:pt x="1114967" y="858701"/>
                  <a:pt x="1114967" y="860001"/>
                </a:cubicBezTo>
                <a:cubicBezTo>
                  <a:pt x="1114967" y="862600"/>
                  <a:pt x="1111072" y="861300"/>
                  <a:pt x="1112370" y="863900"/>
                </a:cubicBezTo>
                <a:cubicBezTo>
                  <a:pt x="1112370" y="865199"/>
                  <a:pt x="1113669" y="865199"/>
                  <a:pt x="1114967" y="866499"/>
                </a:cubicBezTo>
                <a:lnTo>
                  <a:pt x="1114967" y="870398"/>
                </a:lnTo>
                <a:cubicBezTo>
                  <a:pt x="1114967" y="871698"/>
                  <a:pt x="1114967" y="872997"/>
                  <a:pt x="1111072" y="874297"/>
                </a:cubicBezTo>
                <a:cubicBezTo>
                  <a:pt x="1111072" y="875597"/>
                  <a:pt x="1111072" y="876896"/>
                  <a:pt x="1111072" y="879496"/>
                </a:cubicBezTo>
                <a:lnTo>
                  <a:pt x="1112370" y="879496"/>
                </a:lnTo>
                <a:cubicBezTo>
                  <a:pt x="1113669" y="879496"/>
                  <a:pt x="1113669" y="879496"/>
                  <a:pt x="1114967" y="879496"/>
                </a:cubicBezTo>
                <a:cubicBezTo>
                  <a:pt x="1116265" y="879496"/>
                  <a:pt x="1117564" y="880795"/>
                  <a:pt x="1118862" y="880795"/>
                </a:cubicBezTo>
                <a:cubicBezTo>
                  <a:pt x="1120160" y="880795"/>
                  <a:pt x="1120160" y="879496"/>
                  <a:pt x="1121459" y="878196"/>
                </a:cubicBezTo>
                <a:cubicBezTo>
                  <a:pt x="1122757" y="878196"/>
                  <a:pt x="1122757" y="876896"/>
                  <a:pt x="1124056" y="876896"/>
                </a:cubicBezTo>
                <a:cubicBezTo>
                  <a:pt x="1125354" y="875597"/>
                  <a:pt x="1125354" y="875597"/>
                  <a:pt x="1127950" y="874297"/>
                </a:cubicBezTo>
                <a:cubicBezTo>
                  <a:pt x="1129249" y="872997"/>
                  <a:pt x="1129249" y="871698"/>
                  <a:pt x="1130547" y="871698"/>
                </a:cubicBezTo>
                <a:cubicBezTo>
                  <a:pt x="1130547" y="869098"/>
                  <a:pt x="1129249" y="867799"/>
                  <a:pt x="1129249" y="861300"/>
                </a:cubicBezTo>
                <a:cubicBezTo>
                  <a:pt x="1129249" y="860001"/>
                  <a:pt x="1131845" y="860001"/>
                  <a:pt x="1131845" y="858701"/>
                </a:cubicBezTo>
                <a:lnTo>
                  <a:pt x="1127950" y="852202"/>
                </a:lnTo>
                <a:cubicBezTo>
                  <a:pt x="1126652" y="852202"/>
                  <a:pt x="1126652" y="850902"/>
                  <a:pt x="1125354" y="850902"/>
                </a:cubicBezTo>
                <a:close/>
                <a:moveTo>
                  <a:pt x="1222389" y="844426"/>
                </a:moveTo>
                <a:cubicBezTo>
                  <a:pt x="1221084" y="845060"/>
                  <a:pt x="1220105" y="846645"/>
                  <a:pt x="1220105" y="848548"/>
                </a:cubicBezTo>
                <a:cubicBezTo>
                  <a:pt x="1220105" y="851084"/>
                  <a:pt x="1221410" y="853620"/>
                  <a:pt x="1224019" y="852352"/>
                </a:cubicBezTo>
                <a:cubicBezTo>
                  <a:pt x="1226628" y="852352"/>
                  <a:pt x="1226628" y="848548"/>
                  <a:pt x="1226628" y="846011"/>
                </a:cubicBezTo>
                <a:cubicBezTo>
                  <a:pt x="1225323" y="844108"/>
                  <a:pt x="1223693" y="843792"/>
                  <a:pt x="1222389" y="844426"/>
                </a:cubicBezTo>
                <a:close/>
                <a:moveTo>
                  <a:pt x="1143190" y="820466"/>
                </a:moveTo>
                <a:cubicBezTo>
                  <a:pt x="1141893" y="821747"/>
                  <a:pt x="1140595" y="821747"/>
                  <a:pt x="1139298" y="821747"/>
                </a:cubicBezTo>
                <a:cubicBezTo>
                  <a:pt x="1138001" y="821747"/>
                  <a:pt x="1138001" y="823028"/>
                  <a:pt x="1138001" y="824309"/>
                </a:cubicBezTo>
                <a:cubicBezTo>
                  <a:pt x="1138001" y="825590"/>
                  <a:pt x="1136703" y="824309"/>
                  <a:pt x="1136703" y="825590"/>
                </a:cubicBezTo>
                <a:cubicBezTo>
                  <a:pt x="1135406" y="826871"/>
                  <a:pt x="1136703" y="826871"/>
                  <a:pt x="1134109" y="829434"/>
                </a:cubicBezTo>
                <a:cubicBezTo>
                  <a:pt x="1132811" y="830715"/>
                  <a:pt x="1134109" y="831996"/>
                  <a:pt x="1134109" y="833277"/>
                </a:cubicBezTo>
                <a:cubicBezTo>
                  <a:pt x="1136703" y="833277"/>
                  <a:pt x="1134109" y="835840"/>
                  <a:pt x="1132811" y="837121"/>
                </a:cubicBezTo>
                <a:cubicBezTo>
                  <a:pt x="1132811" y="838402"/>
                  <a:pt x="1134109" y="838402"/>
                  <a:pt x="1134109" y="839683"/>
                </a:cubicBezTo>
                <a:cubicBezTo>
                  <a:pt x="1134109" y="840964"/>
                  <a:pt x="1134109" y="840964"/>
                  <a:pt x="1135406" y="843526"/>
                </a:cubicBezTo>
                <a:cubicBezTo>
                  <a:pt x="1136703" y="844807"/>
                  <a:pt x="1138001" y="844807"/>
                  <a:pt x="1138001" y="848651"/>
                </a:cubicBezTo>
                <a:cubicBezTo>
                  <a:pt x="1138001" y="849932"/>
                  <a:pt x="1139298" y="851213"/>
                  <a:pt x="1140595" y="851213"/>
                </a:cubicBezTo>
                <a:lnTo>
                  <a:pt x="1145785" y="852494"/>
                </a:lnTo>
                <a:cubicBezTo>
                  <a:pt x="1147083" y="853775"/>
                  <a:pt x="1141893" y="856337"/>
                  <a:pt x="1144488" y="857618"/>
                </a:cubicBezTo>
                <a:cubicBezTo>
                  <a:pt x="1145785" y="857618"/>
                  <a:pt x="1147083" y="856337"/>
                  <a:pt x="1148380" y="857618"/>
                </a:cubicBezTo>
                <a:cubicBezTo>
                  <a:pt x="1149677" y="862743"/>
                  <a:pt x="1141893" y="861462"/>
                  <a:pt x="1140595" y="864025"/>
                </a:cubicBezTo>
                <a:cubicBezTo>
                  <a:pt x="1139298" y="865306"/>
                  <a:pt x="1140595" y="865306"/>
                  <a:pt x="1140595" y="866587"/>
                </a:cubicBezTo>
                <a:cubicBezTo>
                  <a:pt x="1140595" y="867868"/>
                  <a:pt x="1139298" y="867868"/>
                  <a:pt x="1139298" y="870430"/>
                </a:cubicBezTo>
                <a:cubicBezTo>
                  <a:pt x="1139298" y="871711"/>
                  <a:pt x="1140595" y="871711"/>
                  <a:pt x="1139298" y="872992"/>
                </a:cubicBezTo>
                <a:cubicBezTo>
                  <a:pt x="1139298" y="874273"/>
                  <a:pt x="1138001" y="874273"/>
                  <a:pt x="1136703" y="875554"/>
                </a:cubicBezTo>
                <a:cubicBezTo>
                  <a:pt x="1140595" y="878117"/>
                  <a:pt x="1140595" y="879398"/>
                  <a:pt x="1141893" y="879398"/>
                </a:cubicBezTo>
                <a:cubicBezTo>
                  <a:pt x="1143190" y="879398"/>
                  <a:pt x="1144488" y="879398"/>
                  <a:pt x="1148380" y="880679"/>
                </a:cubicBezTo>
                <a:lnTo>
                  <a:pt x="1141893" y="881960"/>
                </a:lnTo>
                <a:cubicBezTo>
                  <a:pt x="1140595" y="881960"/>
                  <a:pt x="1139298" y="881960"/>
                  <a:pt x="1138001" y="883241"/>
                </a:cubicBezTo>
                <a:cubicBezTo>
                  <a:pt x="1138001" y="884522"/>
                  <a:pt x="1136703" y="885803"/>
                  <a:pt x="1135406" y="887084"/>
                </a:cubicBezTo>
                <a:cubicBezTo>
                  <a:pt x="1134109" y="888366"/>
                  <a:pt x="1132811" y="888366"/>
                  <a:pt x="1131513" y="889647"/>
                </a:cubicBezTo>
                <a:cubicBezTo>
                  <a:pt x="1131513" y="890928"/>
                  <a:pt x="1131513" y="892209"/>
                  <a:pt x="1132811" y="892209"/>
                </a:cubicBezTo>
                <a:cubicBezTo>
                  <a:pt x="1135406" y="892209"/>
                  <a:pt x="1135406" y="890928"/>
                  <a:pt x="1136703" y="889647"/>
                </a:cubicBezTo>
                <a:cubicBezTo>
                  <a:pt x="1138001" y="889647"/>
                  <a:pt x="1139298" y="888366"/>
                  <a:pt x="1141893" y="888366"/>
                </a:cubicBezTo>
                <a:cubicBezTo>
                  <a:pt x="1143190" y="888366"/>
                  <a:pt x="1144488" y="888366"/>
                  <a:pt x="1145785" y="887084"/>
                </a:cubicBezTo>
                <a:cubicBezTo>
                  <a:pt x="1147083" y="885803"/>
                  <a:pt x="1148380" y="887084"/>
                  <a:pt x="1149677" y="887084"/>
                </a:cubicBezTo>
                <a:cubicBezTo>
                  <a:pt x="1152272" y="887084"/>
                  <a:pt x="1153569" y="885803"/>
                  <a:pt x="1154867" y="884522"/>
                </a:cubicBezTo>
                <a:cubicBezTo>
                  <a:pt x="1157462" y="884522"/>
                  <a:pt x="1158759" y="885803"/>
                  <a:pt x="1160057" y="885803"/>
                </a:cubicBezTo>
                <a:lnTo>
                  <a:pt x="1165246" y="885803"/>
                </a:lnTo>
                <a:lnTo>
                  <a:pt x="1166544" y="879398"/>
                </a:lnTo>
                <a:cubicBezTo>
                  <a:pt x="1169138" y="876836"/>
                  <a:pt x="1170436" y="876836"/>
                  <a:pt x="1170436" y="875554"/>
                </a:cubicBezTo>
                <a:cubicBezTo>
                  <a:pt x="1171733" y="875554"/>
                  <a:pt x="1171733" y="874273"/>
                  <a:pt x="1171733" y="872992"/>
                </a:cubicBezTo>
                <a:cubicBezTo>
                  <a:pt x="1171733" y="870430"/>
                  <a:pt x="1171733" y="867868"/>
                  <a:pt x="1167841" y="867868"/>
                </a:cubicBezTo>
                <a:cubicBezTo>
                  <a:pt x="1166544" y="867868"/>
                  <a:pt x="1165246" y="869149"/>
                  <a:pt x="1163949" y="865306"/>
                </a:cubicBezTo>
                <a:cubicBezTo>
                  <a:pt x="1163949" y="864025"/>
                  <a:pt x="1163949" y="864025"/>
                  <a:pt x="1163949" y="862743"/>
                </a:cubicBezTo>
                <a:cubicBezTo>
                  <a:pt x="1161354" y="858900"/>
                  <a:pt x="1160057" y="858900"/>
                  <a:pt x="1157462" y="855056"/>
                </a:cubicBezTo>
                <a:cubicBezTo>
                  <a:pt x="1156165" y="853775"/>
                  <a:pt x="1156165" y="852494"/>
                  <a:pt x="1154867" y="851213"/>
                </a:cubicBezTo>
                <a:cubicBezTo>
                  <a:pt x="1154867" y="849932"/>
                  <a:pt x="1153569" y="848651"/>
                  <a:pt x="1152272" y="848651"/>
                </a:cubicBezTo>
                <a:cubicBezTo>
                  <a:pt x="1152272" y="847370"/>
                  <a:pt x="1152272" y="846089"/>
                  <a:pt x="1150975" y="846089"/>
                </a:cubicBezTo>
                <a:cubicBezTo>
                  <a:pt x="1150975" y="844807"/>
                  <a:pt x="1149677" y="844807"/>
                  <a:pt x="1148380" y="843526"/>
                </a:cubicBezTo>
                <a:cubicBezTo>
                  <a:pt x="1148380" y="842245"/>
                  <a:pt x="1148380" y="842245"/>
                  <a:pt x="1149677" y="840964"/>
                </a:cubicBezTo>
                <a:cubicBezTo>
                  <a:pt x="1149677" y="839683"/>
                  <a:pt x="1149677" y="839683"/>
                  <a:pt x="1149677" y="838402"/>
                </a:cubicBezTo>
                <a:cubicBezTo>
                  <a:pt x="1149677" y="837121"/>
                  <a:pt x="1150975" y="837121"/>
                  <a:pt x="1153569" y="833277"/>
                </a:cubicBezTo>
                <a:cubicBezTo>
                  <a:pt x="1154867" y="831996"/>
                  <a:pt x="1154867" y="829434"/>
                  <a:pt x="1153569" y="828153"/>
                </a:cubicBezTo>
                <a:cubicBezTo>
                  <a:pt x="1152272" y="828153"/>
                  <a:pt x="1152272" y="828153"/>
                  <a:pt x="1150975" y="828153"/>
                </a:cubicBezTo>
                <a:cubicBezTo>
                  <a:pt x="1149677" y="826871"/>
                  <a:pt x="1144488" y="828153"/>
                  <a:pt x="1145785" y="823028"/>
                </a:cubicBezTo>
                <a:cubicBezTo>
                  <a:pt x="1145785" y="820466"/>
                  <a:pt x="1144488" y="820466"/>
                  <a:pt x="1143190" y="820466"/>
                </a:cubicBezTo>
                <a:close/>
                <a:moveTo>
                  <a:pt x="835030" y="783181"/>
                </a:moveTo>
                <a:cubicBezTo>
                  <a:pt x="833806" y="781877"/>
                  <a:pt x="832584" y="785790"/>
                  <a:pt x="833806" y="785790"/>
                </a:cubicBezTo>
                <a:cubicBezTo>
                  <a:pt x="836252" y="788399"/>
                  <a:pt x="837475" y="784486"/>
                  <a:pt x="835030" y="783181"/>
                </a:cubicBezTo>
                <a:close/>
                <a:moveTo>
                  <a:pt x="724721" y="765209"/>
                </a:moveTo>
                <a:cubicBezTo>
                  <a:pt x="723437" y="765209"/>
                  <a:pt x="723437" y="766477"/>
                  <a:pt x="722152" y="766477"/>
                </a:cubicBezTo>
                <a:cubicBezTo>
                  <a:pt x="720867" y="769014"/>
                  <a:pt x="723437" y="770282"/>
                  <a:pt x="723437" y="771550"/>
                </a:cubicBezTo>
                <a:lnTo>
                  <a:pt x="720867" y="775354"/>
                </a:lnTo>
                <a:cubicBezTo>
                  <a:pt x="715729" y="777891"/>
                  <a:pt x="724721" y="782963"/>
                  <a:pt x="727291" y="780427"/>
                </a:cubicBezTo>
                <a:cubicBezTo>
                  <a:pt x="731145" y="777891"/>
                  <a:pt x="727291" y="771550"/>
                  <a:pt x="732429" y="771550"/>
                </a:cubicBezTo>
                <a:cubicBezTo>
                  <a:pt x="733714" y="771550"/>
                  <a:pt x="733714" y="776623"/>
                  <a:pt x="734998" y="777891"/>
                </a:cubicBezTo>
                <a:lnTo>
                  <a:pt x="742707" y="779159"/>
                </a:lnTo>
                <a:lnTo>
                  <a:pt x="740137" y="774086"/>
                </a:lnTo>
                <a:cubicBezTo>
                  <a:pt x="738852" y="774086"/>
                  <a:pt x="737568" y="772818"/>
                  <a:pt x="736283" y="771550"/>
                </a:cubicBezTo>
                <a:lnTo>
                  <a:pt x="729860" y="765209"/>
                </a:lnTo>
                <a:close/>
                <a:moveTo>
                  <a:pt x="1080541" y="753287"/>
                </a:moveTo>
                <a:lnTo>
                  <a:pt x="1079249" y="754592"/>
                </a:lnTo>
                <a:cubicBezTo>
                  <a:pt x="1077956" y="755897"/>
                  <a:pt x="1076663" y="754592"/>
                  <a:pt x="1075371" y="755897"/>
                </a:cubicBezTo>
                <a:cubicBezTo>
                  <a:pt x="1074078" y="755897"/>
                  <a:pt x="1074078" y="757201"/>
                  <a:pt x="1072785" y="757201"/>
                </a:cubicBezTo>
                <a:cubicBezTo>
                  <a:pt x="1071493" y="757201"/>
                  <a:pt x="1071493" y="755897"/>
                  <a:pt x="1067615" y="755897"/>
                </a:cubicBezTo>
                <a:cubicBezTo>
                  <a:pt x="1066322" y="754592"/>
                  <a:pt x="1066322" y="753287"/>
                  <a:pt x="1065029" y="754592"/>
                </a:cubicBezTo>
                <a:lnTo>
                  <a:pt x="1061151" y="757201"/>
                </a:lnTo>
                <a:lnTo>
                  <a:pt x="1057273" y="761114"/>
                </a:lnTo>
                <a:cubicBezTo>
                  <a:pt x="1055981" y="761114"/>
                  <a:pt x="1055981" y="762418"/>
                  <a:pt x="1053395" y="761114"/>
                </a:cubicBezTo>
                <a:lnTo>
                  <a:pt x="1052103" y="757201"/>
                </a:lnTo>
                <a:cubicBezTo>
                  <a:pt x="1050810" y="757201"/>
                  <a:pt x="1049517" y="757201"/>
                  <a:pt x="1048225" y="757201"/>
                </a:cubicBezTo>
                <a:cubicBezTo>
                  <a:pt x="1046932" y="758505"/>
                  <a:pt x="1046932" y="759810"/>
                  <a:pt x="1048225" y="761114"/>
                </a:cubicBezTo>
                <a:cubicBezTo>
                  <a:pt x="1047255" y="764376"/>
                  <a:pt x="1046932" y="764376"/>
                  <a:pt x="1046932" y="765028"/>
                </a:cubicBezTo>
                <a:cubicBezTo>
                  <a:pt x="1045639" y="767636"/>
                  <a:pt x="1049517" y="767636"/>
                  <a:pt x="1052103" y="770245"/>
                </a:cubicBezTo>
                <a:cubicBezTo>
                  <a:pt x="1052103" y="771549"/>
                  <a:pt x="1050810" y="771549"/>
                  <a:pt x="1049517" y="774159"/>
                </a:cubicBezTo>
                <a:cubicBezTo>
                  <a:pt x="1050810" y="775463"/>
                  <a:pt x="1053395" y="774159"/>
                  <a:pt x="1054688" y="772854"/>
                </a:cubicBezTo>
                <a:cubicBezTo>
                  <a:pt x="1055981" y="772854"/>
                  <a:pt x="1055981" y="772854"/>
                  <a:pt x="1057273" y="774159"/>
                </a:cubicBezTo>
                <a:cubicBezTo>
                  <a:pt x="1058566" y="774159"/>
                  <a:pt x="1057273" y="775463"/>
                  <a:pt x="1058566" y="775463"/>
                </a:cubicBezTo>
                <a:cubicBezTo>
                  <a:pt x="1062444" y="776767"/>
                  <a:pt x="1065029" y="778072"/>
                  <a:pt x="1067615" y="776767"/>
                </a:cubicBezTo>
                <a:cubicBezTo>
                  <a:pt x="1070200" y="776767"/>
                  <a:pt x="1071493" y="774159"/>
                  <a:pt x="1076663" y="774159"/>
                </a:cubicBezTo>
                <a:cubicBezTo>
                  <a:pt x="1079249" y="775463"/>
                  <a:pt x="1081834" y="774159"/>
                  <a:pt x="1083127" y="772854"/>
                </a:cubicBezTo>
                <a:cubicBezTo>
                  <a:pt x="1085712" y="771549"/>
                  <a:pt x="1088297" y="770245"/>
                  <a:pt x="1092175" y="765028"/>
                </a:cubicBezTo>
                <a:cubicBezTo>
                  <a:pt x="1093468" y="763723"/>
                  <a:pt x="1093468" y="761114"/>
                  <a:pt x="1092175" y="759810"/>
                </a:cubicBezTo>
                <a:cubicBezTo>
                  <a:pt x="1090883" y="757201"/>
                  <a:pt x="1087005" y="761114"/>
                  <a:pt x="1085712" y="757201"/>
                </a:cubicBezTo>
                <a:cubicBezTo>
                  <a:pt x="1084419" y="755897"/>
                  <a:pt x="1084419" y="754592"/>
                  <a:pt x="1080541" y="753287"/>
                </a:cubicBezTo>
                <a:close/>
                <a:moveTo>
                  <a:pt x="774894" y="735678"/>
                </a:moveTo>
                <a:cubicBezTo>
                  <a:pt x="771167" y="735678"/>
                  <a:pt x="771167" y="742132"/>
                  <a:pt x="773652" y="743423"/>
                </a:cubicBezTo>
                <a:cubicBezTo>
                  <a:pt x="778621" y="746005"/>
                  <a:pt x="779863" y="735678"/>
                  <a:pt x="774894" y="735678"/>
                </a:cubicBezTo>
                <a:close/>
                <a:moveTo>
                  <a:pt x="1060679" y="666562"/>
                </a:moveTo>
                <a:cubicBezTo>
                  <a:pt x="1131042" y="674596"/>
                  <a:pt x="1195785" y="701162"/>
                  <a:pt x="1250573" y="740911"/>
                </a:cubicBezTo>
                <a:cubicBezTo>
                  <a:pt x="1251422" y="743780"/>
                  <a:pt x="1248221" y="741987"/>
                  <a:pt x="1245989" y="743102"/>
                </a:cubicBezTo>
                <a:cubicBezTo>
                  <a:pt x="1243421" y="744387"/>
                  <a:pt x="1245989" y="745671"/>
                  <a:pt x="1245989" y="746955"/>
                </a:cubicBezTo>
                <a:cubicBezTo>
                  <a:pt x="1245989" y="752092"/>
                  <a:pt x="1240852" y="748239"/>
                  <a:pt x="1238284" y="748239"/>
                </a:cubicBezTo>
                <a:cubicBezTo>
                  <a:pt x="1230578" y="748239"/>
                  <a:pt x="1240852" y="757229"/>
                  <a:pt x="1239568" y="758513"/>
                </a:cubicBezTo>
                <a:cubicBezTo>
                  <a:pt x="1235715" y="762365"/>
                  <a:pt x="1231863" y="754661"/>
                  <a:pt x="1228010" y="759797"/>
                </a:cubicBezTo>
                <a:cubicBezTo>
                  <a:pt x="1226726" y="762365"/>
                  <a:pt x="1225441" y="766218"/>
                  <a:pt x="1222873" y="768787"/>
                </a:cubicBezTo>
                <a:cubicBezTo>
                  <a:pt x="1222231" y="770071"/>
                  <a:pt x="1220625" y="770713"/>
                  <a:pt x="1219823" y="771355"/>
                </a:cubicBezTo>
                <a:lnTo>
                  <a:pt x="1221589" y="773923"/>
                </a:lnTo>
                <a:cubicBezTo>
                  <a:pt x="1222873" y="775207"/>
                  <a:pt x="1225441" y="776492"/>
                  <a:pt x="1222873" y="777776"/>
                </a:cubicBezTo>
                <a:cubicBezTo>
                  <a:pt x="1220304" y="777776"/>
                  <a:pt x="1216451" y="776492"/>
                  <a:pt x="1213883" y="776492"/>
                </a:cubicBezTo>
                <a:cubicBezTo>
                  <a:pt x="1212599" y="775207"/>
                  <a:pt x="1210031" y="775207"/>
                  <a:pt x="1208746" y="776492"/>
                </a:cubicBezTo>
                <a:cubicBezTo>
                  <a:pt x="1207462" y="779060"/>
                  <a:pt x="1210031" y="780344"/>
                  <a:pt x="1208746" y="781628"/>
                </a:cubicBezTo>
                <a:cubicBezTo>
                  <a:pt x="1208746" y="786765"/>
                  <a:pt x="1199756" y="781628"/>
                  <a:pt x="1198473" y="786765"/>
                </a:cubicBezTo>
                <a:lnTo>
                  <a:pt x="1198473" y="791902"/>
                </a:lnTo>
                <a:cubicBezTo>
                  <a:pt x="1197188" y="794470"/>
                  <a:pt x="1193335" y="793186"/>
                  <a:pt x="1190767" y="798323"/>
                </a:cubicBezTo>
                <a:cubicBezTo>
                  <a:pt x="1189483" y="799607"/>
                  <a:pt x="1189483" y="798323"/>
                  <a:pt x="1188198" y="799607"/>
                </a:cubicBezTo>
                <a:cubicBezTo>
                  <a:pt x="1188198" y="799928"/>
                  <a:pt x="1188118" y="800089"/>
                  <a:pt x="1188399" y="800570"/>
                </a:cubicBezTo>
                <a:lnTo>
                  <a:pt x="1190767" y="803459"/>
                </a:lnTo>
                <a:cubicBezTo>
                  <a:pt x="1192051" y="806028"/>
                  <a:pt x="1190767" y="804744"/>
                  <a:pt x="1189483" y="807312"/>
                </a:cubicBezTo>
                <a:cubicBezTo>
                  <a:pt x="1186914" y="809881"/>
                  <a:pt x="1193335" y="808596"/>
                  <a:pt x="1194620" y="809881"/>
                </a:cubicBezTo>
                <a:cubicBezTo>
                  <a:pt x="1198473" y="813733"/>
                  <a:pt x="1188198" y="813733"/>
                  <a:pt x="1189483" y="817586"/>
                </a:cubicBezTo>
                <a:cubicBezTo>
                  <a:pt x="1190767" y="820154"/>
                  <a:pt x="1197188" y="816301"/>
                  <a:pt x="1194620" y="821438"/>
                </a:cubicBezTo>
                <a:cubicBezTo>
                  <a:pt x="1193335" y="822723"/>
                  <a:pt x="1192051" y="822723"/>
                  <a:pt x="1192051" y="824007"/>
                </a:cubicBezTo>
                <a:cubicBezTo>
                  <a:pt x="1192051" y="827859"/>
                  <a:pt x="1194620" y="825291"/>
                  <a:pt x="1195904" y="825291"/>
                </a:cubicBezTo>
                <a:cubicBezTo>
                  <a:pt x="1198473" y="826575"/>
                  <a:pt x="1195904" y="831712"/>
                  <a:pt x="1199756" y="830427"/>
                </a:cubicBezTo>
                <a:cubicBezTo>
                  <a:pt x="1203609" y="830427"/>
                  <a:pt x="1202325" y="825291"/>
                  <a:pt x="1206178" y="825291"/>
                </a:cubicBezTo>
                <a:cubicBezTo>
                  <a:pt x="1207462" y="825291"/>
                  <a:pt x="1208746" y="826575"/>
                  <a:pt x="1210031" y="825291"/>
                </a:cubicBezTo>
                <a:lnTo>
                  <a:pt x="1212599" y="821438"/>
                </a:lnTo>
                <a:cubicBezTo>
                  <a:pt x="1215168" y="820154"/>
                  <a:pt x="1216451" y="822723"/>
                  <a:pt x="1217736" y="822723"/>
                </a:cubicBezTo>
                <a:cubicBezTo>
                  <a:pt x="1220304" y="822723"/>
                  <a:pt x="1221589" y="820154"/>
                  <a:pt x="1222873" y="822723"/>
                </a:cubicBezTo>
                <a:cubicBezTo>
                  <a:pt x="1222873" y="826575"/>
                  <a:pt x="1219020" y="829144"/>
                  <a:pt x="1221589" y="831712"/>
                </a:cubicBezTo>
                <a:lnTo>
                  <a:pt x="1231863" y="836849"/>
                </a:lnTo>
                <a:lnTo>
                  <a:pt x="1232665" y="840059"/>
                </a:lnTo>
                <a:cubicBezTo>
                  <a:pt x="1231863" y="840701"/>
                  <a:pt x="1230578" y="841343"/>
                  <a:pt x="1230578" y="843270"/>
                </a:cubicBezTo>
                <a:cubicBezTo>
                  <a:pt x="1229294" y="848406"/>
                  <a:pt x="1235715" y="850975"/>
                  <a:pt x="1238284" y="845838"/>
                </a:cubicBezTo>
                <a:cubicBezTo>
                  <a:pt x="1239568" y="841986"/>
                  <a:pt x="1238284" y="839417"/>
                  <a:pt x="1244705" y="840701"/>
                </a:cubicBezTo>
                <a:cubicBezTo>
                  <a:pt x="1248558" y="841986"/>
                  <a:pt x="1249842" y="839417"/>
                  <a:pt x="1248558" y="835564"/>
                </a:cubicBezTo>
                <a:cubicBezTo>
                  <a:pt x="1247274" y="830427"/>
                  <a:pt x="1244705" y="826575"/>
                  <a:pt x="1249842" y="824007"/>
                </a:cubicBezTo>
                <a:cubicBezTo>
                  <a:pt x="1252410" y="822723"/>
                  <a:pt x="1256263" y="822723"/>
                  <a:pt x="1257547" y="820154"/>
                </a:cubicBezTo>
                <a:cubicBezTo>
                  <a:pt x="1260116" y="816301"/>
                  <a:pt x="1258832" y="812449"/>
                  <a:pt x="1256263" y="809881"/>
                </a:cubicBezTo>
                <a:cubicBezTo>
                  <a:pt x="1253694" y="807312"/>
                  <a:pt x="1251126" y="804744"/>
                  <a:pt x="1251126" y="802175"/>
                </a:cubicBezTo>
                <a:cubicBezTo>
                  <a:pt x="1251126" y="799607"/>
                  <a:pt x="1253694" y="797039"/>
                  <a:pt x="1253694" y="794470"/>
                </a:cubicBezTo>
                <a:cubicBezTo>
                  <a:pt x="1253694" y="791902"/>
                  <a:pt x="1252410" y="788049"/>
                  <a:pt x="1254979" y="785481"/>
                </a:cubicBezTo>
                <a:cubicBezTo>
                  <a:pt x="1256263" y="784197"/>
                  <a:pt x="1258832" y="785481"/>
                  <a:pt x="1258832" y="781628"/>
                </a:cubicBezTo>
                <a:cubicBezTo>
                  <a:pt x="1260116" y="780344"/>
                  <a:pt x="1258832" y="779060"/>
                  <a:pt x="1261400" y="777776"/>
                </a:cubicBezTo>
                <a:cubicBezTo>
                  <a:pt x="1265253" y="775207"/>
                  <a:pt x="1267821" y="777776"/>
                  <a:pt x="1270390" y="772639"/>
                </a:cubicBezTo>
                <a:cubicBezTo>
                  <a:pt x="1271674" y="770071"/>
                  <a:pt x="1274242" y="766218"/>
                  <a:pt x="1274242" y="762365"/>
                </a:cubicBezTo>
                <a:lnTo>
                  <a:pt x="1275695" y="761639"/>
                </a:lnTo>
                <a:lnTo>
                  <a:pt x="1286268" y="770363"/>
                </a:lnTo>
                <a:cubicBezTo>
                  <a:pt x="1279379" y="775207"/>
                  <a:pt x="1276811" y="776492"/>
                  <a:pt x="1275527" y="779060"/>
                </a:cubicBezTo>
                <a:cubicBezTo>
                  <a:pt x="1274242" y="780344"/>
                  <a:pt x="1274242" y="781628"/>
                  <a:pt x="1274242" y="782913"/>
                </a:cubicBezTo>
                <a:cubicBezTo>
                  <a:pt x="1272958" y="786765"/>
                  <a:pt x="1275527" y="789333"/>
                  <a:pt x="1275527" y="793186"/>
                </a:cubicBezTo>
                <a:cubicBezTo>
                  <a:pt x="1276811" y="795755"/>
                  <a:pt x="1278095" y="797039"/>
                  <a:pt x="1278095" y="799607"/>
                </a:cubicBezTo>
                <a:cubicBezTo>
                  <a:pt x="1280664" y="802175"/>
                  <a:pt x="1279379" y="806028"/>
                  <a:pt x="1281948" y="808596"/>
                </a:cubicBezTo>
                <a:cubicBezTo>
                  <a:pt x="1284517" y="809881"/>
                  <a:pt x="1287085" y="809881"/>
                  <a:pt x="1289653" y="808596"/>
                </a:cubicBezTo>
                <a:cubicBezTo>
                  <a:pt x="1292222" y="806028"/>
                  <a:pt x="1294790" y="803459"/>
                  <a:pt x="1298643" y="803459"/>
                </a:cubicBezTo>
                <a:lnTo>
                  <a:pt x="1303780" y="806028"/>
                </a:lnTo>
                <a:cubicBezTo>
                  <a:pt x="1306348" y="807312"/>
                  <a:pt x="1307633" y="806028"/>
                  <a:pt x="1310201" y="806028"/>
                </a:cubicBezTo>
                <a:cubicBezTo>
                  <a:pt x="1312770" y="807312"/>
                  <a:pt x="1316622" y="811165"/>
                  <a:pt x="1311485" y="812449"/>
                </a:cubicBezTo>
                <a:cubicBezTo>
                  <a:pt x="1308917" y="813733"/>
                  <a:pt x="1306348" y="812449"/>
                  <a:pt x="1303780" y="812449"/>
                </a:cubicBezTo>
                <a:cubicBezTo>
                  <a:pt x="1299927" y="812449"/>
                  <a:pt x="1299927" y="815018"/>
                  <a:pt x="1297359" y="815018"/>
                </a:cubicBezTo>
                <a:cubicBezTo>
                  <a:pt x="1293506" y="816301"/>
                  <a:pt x="1290937" y="812449"/>
                  <a:pt x="1287085" y="815018"/>
                </a:cubicBezTo>
                <a:cubicBezTo>
                  <a:pt x="1279379" y="820154"/>
                  <a:pt x="1290937" y="826575"/>
                  <a:pt x="1285800" y="831712"/>
                </a:cubicBezTo>
                <a:cubicBezTo>
                  <a:pt x="1283232" y="835564"/>
                  <a:pt x="1280664" y="830427"/>
                  <a:pt x="1279379" y="829144"/>
                </a:cubicBezTo>
                <a:lnTo>
                  <a:pt x="1271674" y="832996"/>
                </a:lnTo>
                <a:cubicBezTo>
                  <a:pt x="1270390" y="836849"/>
                  <a:pt x="1272958" y="839417"/>
                  <a:pt x="1271674" y="843270"/>
                </a:cubicBezTo>
                <a:cubicBezTo>
                  <a:pt x="1271674" y="844553"/>
                  <a:pt x="1270390" y="844553"/>
                  <a:pt x="1269105" y="845838"/>
                </a:cubicBezTo>
                <a:cubicBezTo>
                  <a:pt x="1269105" y="848406"/>
                  <a:pt x="1270390" y="848406"/>
                  <a:pt x="1270390" y="849690"/>
                </a:cubicBezTo>
                <a:cubicBezTo>
                  <a:pt x="1269105" y="852259"/>
                  <a:pt x="1267821" y="850975"/>
                  <a:pt x="1266537" y="852259"/>
                </a:cubicBezTo>
                <a:cubicBezTo>
                  <a:pt x="1262684" y="852259"/>
                  <a:pt x="1263969" y="854827"/>
                  <a:pt x="1262684" y="856112"/>
                </a:cubicBezTo>
                <a:cubicBezTo>
                  <a:pt x="1260116" y="859964"/>
                  <a:pt x="1256263" y="858680"/>
                  <a:pt x="1252410" y="858680"/>
                </a:cubicBezTo>
                <a:cubicBezTo>
                  <a:pt x="1247274" y="858680"/>
                  <a:pt x="1244705" y="859964"/>
                  <a:pt x="1239568" y="862532"/>
                </a:cubicBezTo>
                <a:cubicBezTo>
                  <a:pt x="1234431" y="863817"/>
                  <a:pt x="1231863" y="859964"/>
                  <a:pt x="1228010" y="859964"/>
                </a:cubicBezTo>
                <a:cubicBezTo>
                  <a:pt x="1224157" y="858680"/>
                  <a:pt x="1226726" y="861248"/>
                  <a:pt x="1224157" y="862532"/>
                </a:cubicBezTo>
                <a:cubicBezTo>
                  <a:pt x="1221589" y="863817"/>
                  <a:pt x="1220304" y="862532"/>
                  <a:pt x="1219020" y="861248"/>
                </a:cubicBezTo>
                <a:cubicBezTo>
                  <a:pt x="1217736" y="861248"/>
                  <a:pt x="1216451" y="859964"/>
                  <a:pt x="1215168" y="858680"/>
                </a:cubicBezTo>
                <a:cubicBezTo>
                  <a:pt x="1211315" y="854827"/>
                  <a:pt x="1216451" y="853543"/>
                  <a:pt x="1215168" y="850975"/>
                </a:cubicBezTo>
                <a:cubicBezTo>
                  <a:pt x="1215168" y="847122"/>
                  <a:pt x="1213883" y="847122"/>
                  <a:pt x="1215168" y="844553"/>
                </a:cubicBezTo>
                <a:cubicBezTo>
                  <a:pt x="1215168" y="843270"/>
                  <a:pt x="1215168" y="841986"/>
                  <a:pt x="1215168" y="840701"/>
                </a:cubicBezTo>
                <a:cubicBezTo>
                  <a:pt x="1215168" y="839417"/>
                  <a:pt x="1215168" y="838133"/>
                  <a:pt x="1215168" y="835564"/>
                </a:cubicBezTo>
                <a:cubicBezTo>
                  <a:pt x="1216451" y="834280"/>
                  <a:pt x="1217736" y="827859"/>
                  <a:pt x="1213883" y="830427"/>
                </a:cubicBezTo>
                <a:cubicBezTo>
                  <a:pt x="1211315" y="830427"/>
                  <a:pt x="1212599" y="832996"/>
                  <a:pt x="1211315" y="832996"/>
                </a:cubicBezTo>
                <a:cubicBezTo>
                  <a:pt x="1210031" y="834280"/>
                  <a:pt x="1208746" y="832996"/>
                  <a:pt x="1207462" y="832996"/>
                </a:cubicBezTo>
                <a:cubicBezTo>
                  <a:pt x="1204893" y="835564"/>
                  <a:pt x="1211315" y="836849"/>
                  <a:pt x="1211315" y="838133"/>
                </a:cubicBezTo>
                <a:cubicBezTo>
                  <a:pt x="1208746" y="839417"/>
                  <a:pt x="1199756" y="839417"/>
                  <a:pt x="1202325" y="844553"/>
                </a:cubicBezTo>
                <a:cubicBezTo>
                  <a:pt x="1203609" y="845838"/>
                  <a:pt x="1204893" y="845838"/>
                  <a:pt x="1206178" y="847122"/>
                </a:cubicBezTo>
                <a:cubicBezTo>
                  <a:pt x="1206178" y="849690"/>
                  <a:pt x="1204893" y="849690"/>
                  <a:pt x="1204893" y="850975"/>
                </a:cubicBezTo>
                <a:cubicBezTo>
                  <a:pt x="1203609" y="854827"/>
                  <a:pt x="1208746" y="857396"/>
                  <a:pt x="1210031" y="859964"/>
                </a:cubicBezTo>
                <a:cubicBezTo>
                  <a:pt x="1211315" y="866385"/>
                  <a:pt x="1206178" y="865101"/>
                  <a:pt x="1199756" y="867669"/>
                </a:cubicBezTo>
                <a:cubicBezTo>
                  <a:pt x="1198473" y="868953"/>
                  <a:pt x="1197188" y="867669"/>
                  <a:pt x="1195904" y="867669"/>
                </a:cubicBezTo>
                <a:cubicBezTo>
                  <a:pt x="1192051" y="867669"/>
                  <a:pt x="1189483" y="868953"/>
                  <a:pt x="1186914" y="871522"/>
                </a:cubicBezTo>
                <a:cubicBezTo>
                  <a:pt x="1185630" y="875374"/>
                  <a:pt x="1186914" y="877943"/>
                  <a:pt x="1185630" y="880511"/>
                </a:cubicBezTo>
                <a:cubicBezTo>
                  <a:pt x="1183061" y="884364"/>
                  <a:pt x="1177925" y="884364"/>
                  <a:pt x="1174072" y="883080"/>
                </a:cubicBezTo>
                <a:cubicBezTo>
                  <a:pt x="1171503" y="883080"/>
                  <a:pt x="1168935" y="883080"/>
                  <a:pt x="1168935" y="886932"/>
                </a:cubicBezTo>
                <a:cubicBezTo>
                  <a:pt x="1168935" y="889500"/>
                  <a:pt x="1171503" y="890784"/>
                  <a:pt x="1170219" y="893353"/>
                </a:cubicBezTo>
                <a:cubicBezTo>
                  <a:pt x="1170219" y="895921"/>
                  <a:pt x="1166366" y="895921"/>
                  <a:pt x="1163798" y="895921"/>
                </a:cubicBezTo>
                <a:cubicBezTo>
                  <a:pt x="1161230" y="895921"/>
                  <a:pt x="1159945" y="893353"/>
                  <a:pt x="1157377" y="893353"/>
                </a:cubicBezTo>
                <a:lnTo>
                  <a:pt x="1154326" y="894477"/>
                </a:lnTo>
                <a:cubicBezTo>
                  <a:pt x="1154487" y="895600"/>
                  <a:pt x="1155451" y="897206"/>
                  <a:pt x="1156093" y="898490"/>
                </a:cubicBezTo>
                <a:cubicBezTo>
                  <a:pt x="1157377" y="902343"/>
                  <a:pt x="1152240" y="901058"/>
                  <a:pt x="1149671" y="901058"/>
                </a:cubicBezTo>
                <a:cubicBezTo>
                  <a:pt x="1145819" y="902343"/>
                  <a:pt x="1138113" y="899774"/>
                  <a:pt x="1138113" y="904911"/>
                </a:cubicBezTo>
                <a:cubicBezTo>
                  <a:pt x="1138113" y="908763"/>
                  <a:pt x="1143250" y="908763"/>
                  <a:pt x="1147103" y="910047"/>
                </a:cubicBezTo>
                <a:cubicBezTo>
                  <a:pt x="1150955" y="911332"/>
                  <a:pt x="1148387" y="916469"/>
                  <a:pt x="1152240" y="919037"/>
                </a:cubicBezTo>
                <a:cubicBezTo>
                  <a:pt x="1156093" y="921605"/>
                  <a:pt x="1163798" y="921605"/>
                  <a:pt x="1159945" y="928026"/>
                </a:cubicBezTo>
                <a:cubicBezTo>
                  <a:pt x="1158661" y="930595"/>
                  <a:pt x="1157377" y="930595"/>
                  <a:pt x="1156093" y="933163"/>
                </a:cubicBezTo>
                <a:cubicBezTo>
                  <a:pt x="1156093" y="935731"/>
                  <a:pt x="1156093" y="938300"/>
                  <a:pt x="1154808" y="940868"/>
                </a:cubicBezTo>
                <a:cubicBezTo>
                  <a:pt x="1152240" y="944721"/>
                  <a:pt x="1145819" y="944721"/>
                  <a:pt x="1141966" y="944721"/>
                </a:cubicBezTo>
                <a:cubicBezTo>
                  <a:pt x="1139397" y="944721"/>
                  <a:pt x="1135545" y="944721"/>
                  <a:pt x="1132976" y="943437"/>
                </a:cubicBezTo>
                <a:cubicBezTo>
                  <a:pt x="1131692" y="943437"/>
                  <a:pt x="1130407" y="943437"/>
                  <a:pt x="1129124" y="942152"/>
                </a:cubicBezTo>
                <a:cubicBezTo>
                  <a:pt x="1127839" y="942152"/>
                  <a:pt x="1126555" y="939584"/>
                  <a:pt x="1122702" y="940868"/>
                </a:cubicBezTo>
                <a:cubicBezTo>
                  <a:pt x="1121418" y="942152"/>
                  <a:pt x="1121418" y="942152"/>
                  <a:pt x="1120134" y="942152"/>
                </a:cubicBezTo>
                <a:cubicBezTo>
                  <a:pt x="1116281" y="943437"/>
                  <a:pt x="1113712" y="944721"/>
                  <a:pt x="1114997" y="948573"/>
                </a:cubicBezTo>
                <a:cubicBezTo>
                  <a:pt x="1114997" y="953710"/>
                  <a:pt x="1118850" y="957563"/>
                  <a:pt x="1116281" y="962699"/>
                </a:cubicBezTo>
                <a:cubicBezTo>
                  <a:pt x="1113712" y="965268"/>
                  <a:pt x="1112429" y="967836"/>
                  <a:pt x="1113712" y="970405"/>
                </a:cubicBezTo>
                <a:cubicBezTo>
                  <a:pt x="1113712" y="975541"/>
                  <a:pt x="1116281" y="981962"/>
                  <a:pt x="1120134" y="984531"/>
                </a:cubicBezTo>
                <a:lnTo>
                  <a:pt x="1126555" y="985815"/>
                </a:lnTo>
                <a:cubicBezTo>
                  <a:pt x="1129124" y="988383"/>
                  <a:pt x="1131692" y="989668"/>
                  <a:pt x="1135545" y="989668"/>
                </a:cubicBezTo>
                <a:cubicBezTo>
                  <a:pt x="1138113" y="989668"/>
                  <a:pt x="1139397" y="988383"/>
                  <a:pt x="1141966" y="988383"/>
                </a:cubicBezTo>
                <a:cubicBezTo>
                  <a:pt x="1144535" y="988383"/>
                  <a:pt x="1145819" y="990951"/>
                  <a:pt x="1148387" y="989668"/>
                </a:cubicBezTo>
                <a:cubicBezTo>
                  <a:pt x="1150955" y="989668"/>
                  <a:pt x="1152240" y="988383"/>
                  <a:pt x="1153524" y="985815"/>
                </a:cubicBezTo>
                <a:cubicBezTo>
                  <a:pt x="1153524" y="983246"/>
                  <a:pt x="1154808" y="983246"/>
                  <a:pt x="1157377" y="981962"/>
                </a:cubicBezTo>
                <a:cubicBezTo>
                  <a:pt x="1159945" y="980678"/>
                  <a:pt x="1162514" y="978109"/>
                  <a:pt x="1162514" y="975541"/>
                </a:cubicBezTo>
                <a:cubicBezTo>
                  <a:pt x="1163798" y="972973"/>
                  <a:pt x="1162514" y="970405"/>
                  <a:pt x="1163798" y="966552"/>
                </a:cubicBezTo>
                <a:cubicBezTo>
                  <a:pt x="1166366" y="963983"/>
                  <a:pt x="1167650" y="958847"/>
                  <a:pt x="1171503" y="957563"/>
                </a:cubicBezTo>
                <a:lnTo>
                  <a:pt x="1179209" y="953710"/>
                </a:lnTo>
                <a:cubicBezTo>
                  <a:pt x="1180493" y="949857"/>
                  <a:pt x="1177925" y="946005"/>
                  <a:pt x="1180493" y="943437"/>
                </a:cubicBezTo>
                <a:cubicBezTo>
                  <a:pt x="1181778" y="942152"/>
                  <a:pt x="1184346" y="942152"/>
                  <a:pt x="1186914" y="942152"/>
                </a:cubicBezTo>
                <a:lnTo>
                  <a:pt x="1193335" y="943437"/>
                </a:lnTo>
                <a:cubicBezTo>
                  <a:pt x="1194620" y="944721"/>
                  <a:pt x="1195904" y="943437"/>
                  <a:pt x="1198473" y="942152"/>
                </a:cubicBezTo>
                <a:lnTo>
                  <a:pt x="1203609" y="937015"/>
                </a:lnTo>
                <a:cubicBezTo>
                  <a:pt x="1204893" y="935731"/>
                  <a:pt x="1206178" y="935731"/>
                  <a:pt x="1208746" y="935731"/>
                </a:cubicBezTo>
                <a:cubicBezTo>
                  <a:pt x="1212599" y="935731"/>
                  <a:pt x="1215168" y="939584"/>
                  <a:pt x="1216451" y="942152"/>
                </a:cubicBezTo>
                <a:cubicBezTo>
                  <a:pt x="1216451" y="944721"/>
                  <a:pt x="1217736" y="946005"/>
                  <a:pt x="1219020" y="948573"/>
                </a:cubicBezTo>
                <a:cubicBezTo>
                  <a:pt x="1219020" y="949857"/>
                  <a:pt x="1220304" y="951141"/>
                  <a:pt x="1221589" y="952426"/>
                </a:cubicBezTo>
                <a:cubicBezTo>
                  <a:pt x="1224157" y="954994"/>
                  <a:pt x="1228010" y="957563"/>
                  <a:pt x="1230578" y="958847"/>
                </a:cubicBezTo>
                <a:cubicBezTo>
                  <a:pt x="1235715" y="960131"/>
                  <a:pt x="1238284" y="961415"/>
                  <a:pt x="1240852" y="966552"/>
                </a:cubicBezTo>
                <a:cubicBezTo>
                  <a:pt x="1242136" y="969120"/>
                  <a:pt x="1243421" y="971689"/>
                  <a:pt x="1243421" y="975541"/>
                </a:cubicBezTo>
                <a:lnTo>
                  <a:pt x="1242136" y="980678"/>
                </a:lnTo>
                <a:cubicBezTo>
                  <a:pt x="1240852" y="981962"/>
                  <a:pt x="1239568" y="981962"/>
                  <a:pt x="1238284" y="981962"/>
                </a:cubicBezTo>
                <a:cubicBezTo>
                  <a:pt x="1235715" y="981962"/>
                  <a:pt x="1234431" y="980678"/>
                  <a:pt x="1231863" y="980678"/>
                </a:cubicBezTo>
                <a:cubicBezTo>
                  <a:pt x="1228010" y="981962"/>
                  <a:pt x="1228010" y="984531"/>
                  <a:pt x="1230578" y="987099"/>
                </a:cubicBezTo>
                <a:cubicBezTo>
                  <a:pt x="1231863" y="988383"/>
                  <a:pt x="1233147" y="988383"/>
                  <a:pt x="1234431" y="988383"/>
                </a:cubicBezTo>
                <a:cubicBezTo>
                  <a:pt x="1235715" y="989668"/>
                  <a:pt x="1236999" y="989668"/>
                  <a:pt x="1238284" y="988383"/>
                </a:cubicBezTo>
                <a:cubicBezTo>
                  <a:pt x="1239568" y="987099"/>
                  <a:pt x="1239568" y="985815"/>
                  <a:pt x="1240852" y="984531"/>
                </a:cubicBezTo>
                <a:cubicBezTo>
                  <a:pt x="1242136" y="983246"/>
                  <a:pt x="1243421" y="983246"/>
                  <a:pt x="1244705" y="980678"/>
                </a:cubicBezTo>
                <a:cubicBezTo>
                  <a:pt x="1245989" y="979394"/>
                  <a:pt x="1245989" y="979394"/>
                  <a:pt x="1248558" y="975541"/>
                </a:cubicBezTo>
                <a:cubicBezTo>
                  <a:pt x="1249842" y="972973"/>
                  <a:pt x="1249842" y="972973"/>
                  <a:pt x="1248558" y="970405"/>
                </a:cubicBezTo>
                <a:cubicBezTo>
                  <a:pt x="1247274" y="969120"/>
                  <a:pt x="1247274" y="966552"/>
                  <a:pt x="1248558" y="965268"/>
                </a:cubicBezTo>
                <a:cubicBezTo>
                  <a:pt x="1249842" y="962699"/>
                  <a:pt x="1253694" y="967836"/>
                  <a:pt x="1254979" y="966552"/>
                </a:cubicBezTo>
                <a:cubicBezTo>
                  <a:pt x="1257547" y="965268"/>
                  <a:pt x="1252410" y="961415"/>
                  <a:pt x="1251126" y="960131"/>
                </a:cubicBezTo>
                <a:cubicBezTo>
                  <a:pt x="1249842" y="960131"/>
                  <a:pt x="1248558" y="960131"/>
                  <a:pt x="1245989" y="958847"/>
                </a:cubicBezTo>
                <a:cubicBezTo>
                  <a:pt x="1244705" y="957563"/>
                  <a:pt x="1244705" y="956278"/>
                  <a:pt x="1243421" y="954994"/>
                </a:cubicBezTo>
                <a:cubicBezTo>
                  <a:pt x="1239568" y="952426"/>
                  <a:pt x="1235715" y="951141"/>
                  <a:pt x="1233147" y="948573"/>
                </a:cubicBezTo>
                <a:cubicBezTo>
                  <a:pt x="1231863" y="946005"/>
                  <a:pt x="1230578" y="944721"/>
                  <a:pt x="1229294" y="942152"/>
                </a:cubicBezTo>
                <a:cubicBezTo>
                  <a:pt x="1228010" y="939584"/>
                  <a:pt x="1226726" y="938300"/>
                  <a:pt x="1225441" y="937015"/>
                </a:cubicBezTo>
                <a:cubicBezTo>
                  <a:pt x="1224157" y="933163"/>
                  <a:pt x="1224157" y="929311"/>
                  <a:pt x="1228010" y="929311"/>
                </a:cubicBezTo>
                <a:cubicBezTo>
                  <a:pt x="1230578" y="930595"/>
                  <a:pt x="1231863" y="931878"/>
                  <a:pt x="1233147" y="933163"/>
                </a:cubicBezTo>
                <a:cubicBezTo>
                  <a:pt x="1234431" y="935731"/>
                  <a:pt x="1235715" y="938300"/>
                  <a:pt x="1238284" y="939584"/>
                </a:cubicBezTo>
                <a:cubicBezTo>
                  <a:pt x="1240852" y="943437"/>
                  <a:pt x="1244705" y="946005"/>
                  <a:pt x="1248558" y="947289"/>
                </a:cubicBezTo>
                <a:cubicBezTo>
                  <a:pt x="1251126" y="948573"/>
                  <a:pt x="1254979" y="949857"/>
                  <a:pt x="1257547" y="951141"/>
                </a:cubicBezTo>
                <a:cubicBezTo>
                  <a:pt x="1258832" y="952426"/>
                  <a:pt x="1260116" y="953710"/>
                  <a:pt x="1261400" y="956278"/>
                </a:cubicBezTo>
                <a:cubicBezTo>
                  <a:pt x="1261400" y="958847"/>
                  <a:pt x="1261400" y="961415"/>
                  <a:pt x="1261400" y="965268"/>
                </a:cubicBezTo>
                <a:cubicBezTo>
                  <a:pt x="1262684" y="967836"/>
                  <a:pt x="1263969" y="970405"/>
                  <a:pt x="1266537" y="972973"/>
                </a:cubicBezTo>
                <a:cubicBezTo>
                  <a:pt x="1267821" y="974257"/>
                  <a:pt x="1267821" y="974257"/>
                  <a:pt x="1269105" y="975541"/>
                </a:cubicBezTo>
                <a:cubicBezTo>
                  <a:pt x="1270390" y="976825"/>
                  <a:pt x="1270390" y="976825"/>
                  <a:pt x="1271674" y="978109"/>
                </a:cubicBezTo>
                <a:lnTo>
                  <a:pt x="1276811" y="980678"/>
                </a:lnTo>
                <a:cubicBezTo>
                  <a:pt x="1278088" y="983233"/>
                  <a:pt x="1274281" y="981976"/>
                  <a:pt x="1274242" y="981962"/>
                </a:cubicBezTo>
                <a:cubicBezTo>
                  <a:pt x="1271674" y="981962"/>
                  <a:pt x="1271674" y="984531"/>
                  <a:pt x="1272958" y="985815"/>
                </a:cubicBezTo>
                <a:cubicBezTo>
                  <a:pt x="1272958" y="988383"/>
                  <a:pt x="1275527" y="989668"/>
                  <a:pt x="1278095" y="989668"/>
                </a:cubicBezTo>
                <a:cubicBezTo>
                  <a:pt x="1280664" y="989668"/>
                  <a:pt x="1280664" y="988383"/>
                  <a:pt x="1280664" y="987099"/>
                </a:cubicBezTo>
                <a:cubicBezTo>
                  <a:pt x="1280664" y="983246"/>
                  <a:pt x="1281948" y="983246"/>
                  <a:pt x="1284517" y="983246"/>
                </a:cubicBezTo>
                <a:lnTo>
                  <a:pt x="1285800" y="978109"/>
                </a:lnTo>
                <a:cubicBezTo>
                  <a:pt x="1285800" y="976825"/>
                  <a:pt x="1284517" y="975541"/>
                  <a:pt x="1283232" y="974257"/>
                </a:cubicBezTo>
                <a:cubicBezTo>
                  <a:pt x="1281948" y="972973"/>
                  <a:pt x="1280664" y="971689"/>
                  <a:pt x="1280664" y="969120"/>
                </a:cubicBezTo>
                <a:lnTo>
                  <a:pt x="1285800" y="967836"/>
                </a:lnTo>
                <a:cubicBezTo>
                  <a:pt x="1287085" y="966552"/>
                  <a:pt x="1287085" y="966552"/>
                  <a:pt x="1288369" y="966552"/>
                </a:cubicBezTo>
                <a:cubicBezTo>
                  <a:pt x="1288369" y="965268"/>
                  <a:pt x="1288369" y="963983"/>
                  <a:pt x="1288369" y="962699"/>
                </a:cubicBezTo>
                <a:cubicBezTo>
                  <a:pt x="1289653" y="961415"/>
                  <a:pt x="1290937" y="961415"/>
                  <a:pt x="1292222" y="961415"/>
                </a:cubicBezTo>
                <a:cubicBezTo>
                  <a:pt x="1293506" y="961415"/>
                  <a:pt x="1293506" y="961415"/>
                  <a:pt x="1294790" y="961415"/>
                </a:cubicBezTo>
                <a:cubicBezTo>
                  <a:pt x="1297359" y="962699"/>
                  <a:pt x="1297359" y="962699"/>
                  <a:pt x="1298643" y="965268"/>
                </a:cubicBezTo>
                <a:cubicBezTo>
                  <a:pt x="1299927" y="967836"/>
                  <a:pt x="1301212" y="970405"/>
                  <a:pt x="1301212" y="972973"/>
                </a:cubicBezTo>
                <a:cubicBezTo>
                  <a:pt x="1301212" y="978109"/>
                  <a:pt x="1299927" y="981962"/>
                  <a:pt x="1303780" y="987099"/>
                </a:cubicBezTo>
                <a:cubicBezTo>
                  <a:pt x="1305064" y="988383"/>
                  <a:pt x="1307633" y="988383"/>
                  <a:pt x="1308917" y="989668"/>
                </a:cubicBezTo>
                <a:lnTo>
                  <a:pt x="1314054" y="996088"/>
                </a:lnTo>
                <a:cubicBezTo>
                  <a:pt x="1317907" y="998657"/>
                  <a:pt x="1319190" y="993520"/>
                  <a:pt x="1323043" y="993520"/>
                </a:cubicBezTo>
                <a:cubicBezTo>
                  <a:pt x="1326896" y="990951"/>
                  <a:pt x="1328180" y="994804"/>
                  <a:pt x="1330749" y="996088"/>
                </a:cubicBezTo>
                <a:cubicBezTo>
                  <a:pt x="1334602" y="997372"/>
                  <a:pt x="1341023" y="996088"/>
                  <a:pt x="1342307" y="994804"/>
                </a:cubicBezTo>
                <a:cubicBezTo>
                  <a:pt x="1343591" y="993520"/>
                  <a:pt x="1346160" y="988383"/>
                  <a:pt x="1348728" y="992236"/>
                </a:cubicBezTo>
                <a:cubicBezTo>
                  <a:pt x="1353865" y="997372"/>
                  <a:pt x="1342307" y="1007646"/>
                  <a:pt x="1343591" y="1014067"/>
                </a:cubicBezTo>
                <a:cubicBezTo>
                  <a:pt x="1343591" y="1016635"/>
                  <a:pt x="1346160" y="1020488"/>
                  <a:pt x="1342307" y="1023056"/>
                </a:cubicBezTo>
                <a:cubicBezTo>
                  <a:pt x="1338454" y="1024340"/>
                  <a:pt x="1333318" y="1023056"/>
                  <a:pt x="1329465" y="1024340"/>
                </a:cubicBezTo>
                <a:cubicBezTo>
                  <a:pt x="1326896" y="1024340"/>
                  <a:pt x="1324328" y="1025625"/>
                  <a:pt x="1321759" y="1026909"/>
                </a:cubicBezTo>
                <a:cubicBezTo>
                  <a:pt x="1317907" y="1029477"/>
                  <a:pt x="1315338" y="1028193"/>
                  <a:pt x="1311485" y="1026909"/>
                </a:cubicBezTo>
                <a:cubicBezTo>
                  <a:pt x="1310201" y="1025625"/>
                  <a:pt x="1308917" y="1025625"/>
                  <a:pt x="1307633" y="1025625"/>
                </a:cubicBezTo>
                <a:cubicBezTo>
                  <a:pt x="1306348" y="1025625"/>
                  <a:pt x="1306348" y="1026909"/>
                  <a:pt x="1305064" y="1026909"/>
                </a:cubicBezTo>
                <a:cubicBezTo>
                  <a:pt x="1303780" y="1028193"/>
                  <a:pt x="1303780" y="1026909"/>
                  <a:pt x="1301212" y="1026909"/>
                </a:cubicBezTo>
                <a:cubicBezTo>
                  <a:pt x="1296075" y="1026909"/>
                  <a:pt x="1290937" y="1028193"/>
                  <a:pt x="1285800" y="1024340"/>
                </a:cubicBezTo>
                <a:cubicBezTo>
                  <a:pt x="1281948" y="1020488"/>
                  <a:pt x="1278095" y="1016635"/>
                  <a:pt x="1272958" y="1016635"/>
                </a:cubicBezTo>
                <a:cubicBezTo>
                  <a:pt x="1269105" y="1017920"/>
                  <a:pt x="1265253" y="1019203"/>
                  <a:pt x="1263969" y="1024340"/>
                </a:cubicBezTo>
                <a:cubicBezTo>
                  <a:pt x="1263969" y="1026909"/>
                  <a:pt x="1265253" y="1030762"/>
                  <a:pt x="1261400" y="1032046"/>
                </a:cubicBezTo>
                <a:cubicBezTo>
                  <a:pt x="1257547" y="1034614"/>
                  <a:pt x="1245989" y="1030762"/>
                  <a:pt x="1243421" y="1026909"/>
                </a:cubicBezTo>
                <a:cubicBezTo>
                  <a:pt x="1239568" y="1023056"/>
                  <a:pt x="1235715" y="1020488"/>
                  <a:pt x="1229294" y="1019203"/>
                </a:cubicBezTo>
                <a:cubicBezTo>
                  <a:pt x="1224157" y="1017920"/>
                  <a:pt x="1217736" y="1015351"/>
                  <a:pt x="1215168" y="1010214"/>
                </a:cubicBezTo>
                <a:cubicBezTo>
                  <a:pt x="1212599" y="1003794"/>
                  <a:pt x="1221589" y="992236"/>
                  <a:pt x="1213883" y="987099"/>
                </a:cubicBezTo>
                <a:cubicBezTo>
                  <a:pt x="1208746" y="985815"/>
                  <a:pt x="1202325" y="985815"/>
                  <a:pt x="1198473" y="988383"/>
                </a:cubicBezTo>
                <a:cubicBezTo>
                  <a:pt x="1192051" y="989668"/>
                  <a:pt x="1185630" y="990951"/>
                  <a:pt x="1179209" y="989668"/>
                </a:cubicBezTo>
                <a:cubicBezTo>
                  <a:pt x="1172788" y="989668"/>
                  <a:pt x="1168935" y="990951"/>
                  <a:pt x="1163798" y="994804"/>
                </a:cubicBezTo>
                <a:cubicBezTo>
                  <a:pt x="1157377" y="998657"/>
                  <a:pt x="1153524" y="1002509"/>
                  <a:pt x="1147103" y="999941"/>
                </a:cubicBezTo>
                <a:cubicBezTo>
                  <a:pt x="1143250" y="998657"/>
                  <a:pt x="1143250" y="999941"/>
                  <a:pt x="1139397" y="999941"/>
                </a:cubicBezTo>
                <a:cubicBezTo>
                  <a:pt x="1136829" y="999941"/>
                  <a:pt x="1135545" y="996088"/>
                  <a:pt x="1132976" y="996088"/>
                </a:cubicBezTo>
                <a:cubicBezTo>
                  <a:pt x="1125271" y="997372"/>
                  <a:pt x="1129124" y="1003794"/>
                  <a:pt x="1127839" y="1007646"/>
                </a:cubicBezTo>
                <a:cubicBezTo>
                  <a:pt x="1126555" y="1011499"/>
                  <a:pt x="1120134" y="1011499"/>
                  <a:pt x="1117565" y="1014067"/>
                </a:cubicBezTo>
                <a:cubicBezTo>
                  <a:pt x="1112429" y="1019203"/>
                  <a:pt x="1111144" y="1028193"/>
                  <a:pt x="1111144" y="1034614"/>
                </a:cubicBezTo>
                <a:cubicBezTo>
                  <a:pt x="1111144" y="1041035"/>
                  <a:pt x="1108576" y="1046172"/>
                  <a:pt x="1104723" y="1050024"/>
                </a:cubicBezTo>
                <a:cubicBezTo>
                  <a:pt x="1098302" y="1055161"/>
                  <a:pt x="1093165" y="1056445"/>
                  <a:pt x="1090596" y="1062866"/>
                </a:cubicBezTo>
                <a:cubicBezTo>
                  <a:pt x="1088028" y="1068003"/>
                  <a:pt x="1088028" y="1071856"/>
                  <a:pt x="1082891" y="1075708"/>
                </a:cubicBezTo>
                <a:cubicBezTo>
                  <a:pt x="1080322" y="1078276"/>
                  <a:pt x="1079038" y="1079560"/>
                  <a:pt x="1077754" y="1082129"/>
                </a:cubicBezTo>
                <a:cubicBezTo>
                  <a:pt x="1077754" y="1088550"/>
                  <a:pt x="1073901" y="1092402"/>
                  <a:pt x="1076470" y="1097539"/>
                </a:cubicBezTo>
                <a:cubicBezTo>
                  <a:pt x="1079038" y="1100108"/>
                  <a:pt x="1077754" y="1103960"/>
                  <a:pt x="1079038" y="1106528"/>
                </a:cubicBezTo>
                <a:cubicBezTo>
                  <a:pt x="1079038" y="1109097"/>
                  <a:pt x="1080322" y="1111665"/>
                  <a:pt x="1080322" y="1115518"/>
                </a:cubicBezTo>
                <a:cubicBezTo>
                  <a:pt x="1080322" y="1119371"/>
                  <a:pt x="1077754" y="1121939"/>
                  <a:pt x="1076470" y="1125791"/>
                </a:cubicBezTo>
                <a:lnTo>
                  <a:pt x="1075186" y="1141202"/>
                </a:lnTo>
                <a:cubicBezTo>
                  <a:pt x="1075186" y="1148907"/>
                  <a:pt x="1082891" y="1152759"/>
                  <a:pt x="1085459" y="1157896"/>
                </a:cubicBezTo>
                <a:cubicBezTo>
                  <a:pt x="1091881" y="1166885"/>
                  <a:pt x="1094449" y="1184864"/>
                  <a:pt x="1104723" y="1191285"/>
                </a:cubicBezTo>
                <a:cubicBezTo>
                  <a:pt x="1112429" y="1195138"/>
                  <a:pt x="1122702" y="1201559"/>
                  <a:pt x="1131692" y="1197706"/>
                </a:cubicBezTo>
                <a:cubicBezTo>
                  <a:pt x="1136829" y="1196422"/>
                  <a:pt x="1140682" y="1195138"/>
                  <a:pt x="1147103" y="1195138"/>
                </a:cubicBezTo>
                <a:lnTo>
                  <a:pt x="1152240" y="1193853"/>
                </a:lnTo>
                <a:lnTo>
                  <a:pt x="1157377" y="1196422"/>
                </a:lnTo>
                <a:cubicBezTo>
                  <a:pt x="1163798" y="1197706"/>
                  <a:pt x="1168935" y="1193853"/>
                  <a:pt x="1174072" y="1192570"/>
                </a:cubicBezTo>
                <a:lnTo>
                  <a:pt x="1181778" y="1191285"/>
                </a:lnTo>
                <a:cubicBezTo>
                  <a:pt x="1185630" y="1191285"/>
                  <a:pt x="1185630" y="1192570"/>
                  <a:pt x="1188198" y="1193853"/>
                </a:cubicBezTo>
                <a:cubicBezTo>
                  <a:pt x="1192051" y="1196422"/>
                  <a:pt x="1194620" y="1198990"/>
                  <a:pt x="1198473" y="1200275"/>
                </a:cubicBezTo>
                <a:cubicBezTo>
                  <a:pt x="1213883" y="1205412"/>
                  <a:pt x="1210031" y="1222106"/>
                  <a:pt x="1207462" y="1234948"/>
                </a:cubicBezTo>
                <a:cubicBezTo>
                  <a:pt x="1206178" y="1240084"/>
                  <a:pt x="1208746" y="1247790"/>
                  <a:pt x="1212599" y="1252926"/>
                </a:cubicBezTo>
                <a:cubicBezTo>
                  <a:pt x="1216451" y="1258063"/>
                  <a:pt x="1221589" y="1261916"/>
                  <a:pt x="1224157" y="1267052"/>
                </a:cubicBezTo>
                <a:cubicBezTo>
                  <a:pt x="1226726" y="1269621"/>
                  <a:pt x="1228010" y="1273473"/>
                  <a:pt x="1228010" y="1276042"/>
                </a:cubicBezTo>
                <a:cubicBezTo>
                  <a:pt x="1228010" y="1278610"/>
                  <a:pt x="1228010" y="1279895"/>
                  <a:pt x="1229294" y="1281178"/>
                </a:cubicBezTo>
                <a:cubicBezTo>
                  <a:pt x="1229294" y="1287600"/>
                  <a:pt x="1225441" y="1291452"/>
                  <a:pt x="1229294" y="1296589"/>
                </a:cubicBezTo>
                <a:cubicBezTo>
                  <a:pt x="1235715" y="1305578"/>
                  <a:pt x="1225441" y="1317136"/>
                  <a:pt x="1222873" y="1326125"/>
                </a:cubicBezTo>
                <a:cubicBezTo>
                  <a:pt x="1221589" y="1332546"/>
                  <a:pt x="1219020" y="1341535"/>
                  <a:pt x="1222873" y="1346672"/>
                </a:cubicBezTo>
                <a:cubicBezTo>
                  <a:pt x="1224157" y="1347957"/>
                  <a:pt x="1226726" y="1349241"/>
                  <a:pt x="1228010" y="1350525"/>
                </a:cubicBezTo>
                <a:cubicBezTo>
                  <a:pt x="1230578" y="1354377"/>
                  <a:pt x="1230578" y="1358230"/>
                  <a:pt x="1231863" y="1360798"/>
                </a:cubicBezTo>
                <a:cubicBezTo>
                  <a:pt x="1233147" y="1363367"/>
                  <a:pt x="1233147" y="1367220"/>
                  <a:pt x="1233147" y="1369788"/>
                </a:cubicBezTo>
                <a:cubicBezTo>
                  <a:pt x="1234431" y="1373640"/>
                  <a:pt x="1236999" y="1374925"/>
                  <a:pt x="1238284" y="1378777"/>
                </a:cubicBezTo>
                <a:cubicBezTo>
                  <a:pt x="1239568" y="1389051"/>
                  <a:pt x="1236999" y="1398040"/>
                  <a:pt x="1240852" y="1407029"/>
                </a:cubicBezTo>
                <a:cubicBezTo>
                  <a:pt x="1243421" y="1412166"/>
                  <a:pt x="1245989" y="1417303"/>
                  <a:pt x="1248558" y="1422440"/>
                </a:cubicBezTo>
                <a:cubicBezTo>
                  <a:pt x="1251126" y="1425008"/>
                  <a:pt x="1252410" y="1427576"/>
                  <a:pt x="1252410" y="1431429"/>
                </a:cubicBezTo>
                <a:cubicBezTo>
                  <a:pt x="1253694" y="1436566"/>
                  <a:pt x="1251126" y="1442986"/>
                  <a:pt x="1251126" y="1448123"/>
                </a:cubicBezTo>
                <a:lnTo>
                  <a:pt x="1252893" y="1450331"/>
                </a:lnTo>
                <a:cubicBezTo>
                  <a:pt x="1181930" y="1502527"/>
                  <a:pt x="1094187" y="1532774"/>
                  <a:pt x="999379" y="1532774"/>
                </a:cubicBezTo>
                <a:cubicBezTo>
                  <a:pt x="942720" y="1532774"/>
                  <a:pt x="888583" y="1521971"/>
                  <a:pt x="839242" y="1501491"/>
                </a:cubicBezTo>
                <a:cubicBezTo>
                  <a:pt x="842403" y="1500292"/>
                  <a:pt x="844299" y="1496331"/>
                  <a:pt x="841522" y="1491702"/>
                </a:cubicBezTo>
                <a:cubicBezTo>
                  <a:pt x="842485" y="1488815"/>
                  <a:pt x="844089" y="1489136"/>
                  <a:pt x="845373" y="1489136"/>
                </a:cubicBezTo>
                <a:lnTo>
                  <a:pt x="854360" y="1485284"/>
                </a:lnTo>
                <a:cubicBezTo>
                  <a:pt x="858211" y="1485284"/>
                  <a:pt x="860779" y="1485284"/>
                  <a:pt x="863346" y="1484001"/>
                </a:cubicBezTo>
                <a:cubicBezTo>
                  <a:pt x="865914" y="1482717"/>
                  <a:pt x="867198" y="1480151"/>
                  <a:pt x="868482" y="1477583"/>
                </a:cubicBezTo>
                <a:cubicBezTo>
                  <a:pt x="869766" y="1476299"/>
                  <a:pt x="871049" y="1475016"/>
                  <a:pt x="869766" y="1472449"/>
                </a:cubicBezTo>
                <a:lnTo>
                  <a:pt x="865914" y="1468598"/>
                </a:lnTo>
                <a:cubicBezTo>
                  <a:pt x="865914" y="1466031"/>
                  <a:pt x="867198" y="1464748"/>
                  <a:pt x="867198" y="1463464"/>
                </a:cubicBezTo>
                <a:cubicBezTo>
                  <a:pt x="865914" y="1460896"/>
                  <a:pt x="862063" y="1460896"/>
                  <a:pt x="860779" y="1458330"/>
                </a:cubicBezTo>
                <a:cubicBezTo>
                  <a:pt x="859495" y="1455763"/>
                  <a:pt x="858211" y="1453195"/>
                  <a:pt x="858211" y="1450628"/>
                </a:cubicBezTo>
                <a:lnTo>
                  <a:pt x="863346" y="1449345"/>
                </a:lnTo>
                <a:cubicBezTo>
                  <a:pt x="864630" y="1451912"/>
                  <a:pt x="864630" y="1455763"/>
                  <a:pt x="867198" y="1457046"/>
                </a:cubicBezTo>
                <a:cubicBezTo>
                  <a:pt x="868482" y="1459613"/>
                  <a:pt x="871049" y="1460896"/>
                  <a:pt x="873617" y="1459613"/>
                </a:cubicBezTo>
                <a:cubicBezTo>
                  <a:pt x="874901" y="1459613"/>
                  <a:pt x="876185" y="1458330"/>
                  <a:pt x="877469" y="1459613"/>
                </a:cubicBezTo>
                <a:cubicBezTo>
                  <a:pt x="878752" y="1459613"/>
                  <a:pt x="880036" y="1459613"/>
                  <a:pt x="881320" y="1459613"/>
                </a:cubicBezTo>
                <a:cubicBezTo>
                  <a:pt x="882604" y="1459613"/>
                  <a:pt x="886456" y="1454479"/>
                  <a:pt x="889023" y="1450628"/>
                </a:cubicBezTo>
                <a:cubicBezTo>
                  <a:pt x="890307" y="1448061"/>
                  <a:pt x="891591" y="1446777"/>
                  <a:pt x="891591" y="1445494"/>
                </a:cubicBezTo>
                <a:cubicBezTo>
                  <a:pt x="891591" y="1442927"/>
                  <a:pt x="890307" y="1442927"/>
                  <a:pt x="890307" y="1441643"/>
                </a:cubicBezTo>
                <a:lnTo>
                  <a:pt x="894159" y="1436509"/>
                </a:lnTo>
                <a:cubicBezTo>
                  <a:pt x="895442" y="1435225"/>
                  <a:pt x="896726" y="1432658"/>
                  <a:pt x="901862" y="1431375"/>
                </a:cubicBezTo>
                <a:lnTo>
                  <a:pt x="904429" y="1426240"/>
                </a:lnTo>
                <a:cubicBezTo>
                  <a:pt x="905713" y="1423673"/>
                  <a:pt x="906997" y="1422389"/>
                  <a:pt x="909564" y="1419822"/>
                </a:cubicBezTo>
                <a:cubicBezTo>
                  <a:pt x="915983" y="1413404"/>
                  <a:pt x="909564" y="1406987"/>
                  <a:pt x="910848" y="1399285"/>
                </a:cubicBezTo>
                <a:cubicBezTo>
                  <a:pt x="910848" y="1395434"/>
                  <a:pt x="915983" y="1392868"/>
                  <a:pt x="919835" y="1390300"/>
                </a:cubicBezTo>
                <a:cubicBezTo>
                  <a:pt x="921119" y="1389016"/>
                  <a:pt x="923686" y="1387733"/>
                  <a:pt x="926254" y="1385166"/>
                </a:cubicBezTo>
                <a:cubicBezTo>
                  <a:pt x="927538" y="1385166"/>
                  <a:pt x="927538" y="1383882"/>
                  <a:pt x="928821" y="1382599"/>
                </a:cubicBezTo>
                <a:cubicBezTo>
                  <a:pt x="932673" y="1381315"/>
                  <a:pt x="937808" y="1378748"/>
                  <a:pt x="941660" y="1377465"/>
                </a:cubicBezTo>
                <a:cubicBezTo>
                  <a:pt x="944227" y="1376181"/>
                  <a:pt x="948079" y="1376181"/>
                  <a:pt x="949363" y="1372330"/>
                </a:cubicBezTo>
                <a:lnTo>
                  <a:pt x="949363" y="1367196"/>
                </a:lnTo>
                <a:cubicBezTo>
                  <a:pt x="949363" y="1364628"/>
                  <a:pt x="950647" y="1363345"/>
                  <a:pt x="951930" y="1362062"/>
                </a:cubicBezTo>
                <a:lnTo>
                  <a:pt x="957066" y="1355644"/>
                </a:lnTo>
                <a:cubicBezTo>
                  <a:pt x="958350" y="1353077"/>
                  <a:pt x="958350" y="1351793"/>
                  <a:pt x="958350" y="1347942"/>
                </a:cubicBezTo>
                <a:cubicBezTo>
                  <a:pt x="957066" y="1346659"/>
                  <a:pt x="958350" y="1345375"/>
                  <a:pt x="959633" y="1342808"/>
                </a:cubicBezTo>
                <a:cubicBezTo>
                  <a:pt x="960917" y="1340241"/>
                  <a:pt x="960917" y="1336390"/>
                  <a:pt x="960917" y="1333823"/>
                </a:cubicBezTo>
                <a:cubicBezTo>
                  <a:pt x="960917" y="1329972"/>
                  <a:pt x="958350" y="1327405"/>
                  <a:pt x="958350" y="1323554"/>
                </a:cubicBezTo>
                <a:cubicBezTo>
                  <a:pt x="958350" y="1320987"/>
                  <a:pt x="958350" y="1319704"/>
                  <a:pt x="959633" y="1317136"/>
                </a:cubicBezTo>
                <a:cubicBezTo>
                  <a:pt x="960917" y="1315853"/>
                  <a:pt x="962201" y="1313286"/>
                  <a:pt x="963485" y="1312002"/>
                </a:cubicBezTo>
                <a:cubicBezTo>
                  <a:pt x="964769" y="1312002"/>
                  <a:pt x="966053" y="1312002"/>
                  <a:pt x="968620" y="1310718"/>
                </a:cubicBezTo>
                <a:cubicBezTo>
                  <a:pt x="969904" y="1308151"/>
                  <a:pt x="971188" y="1305584"/>
                  <a:pt x="972472" y="1301733"/>
                </a:cubicBezTo>
                <a:cubicBezTo>
                  <a:pt x="973756" y="1300450"/>
                  <a:pt x="973756" y="1299166"/>
                  <a:pt x="975039" y="1297883"/>
                </a:cubicBezTo>
                <a:cubicBezTo>
                  <a:pt x="975039" y="1296599"/>
                  <a:pt x="976323" y="1295316"/>
                  <a:pt x="977607" y="1295316"/>
                </a:cubicBezTo>
                <a:cubicBezTo>
                  <a:pt x="980175" y="1294032"/>
                  <a:pt x="981459" y="1291465"/>
                  <a:pt x="982742" y="1290181"/>
                </a:cubicBezTo>
                <a:cubicBezTo>
                  <a:pt x="984026" y="1286330"/>
                  <a:pt x="985310" y="1281197"/>
                  <a:pt x="984026" y="1276062"/>
                </a:cubicBezTo>
                <a:lnTo>
                  <a:pt x="981459" y="1270928"/>
                </a:lnTo>
                <a:cubicBezTo>
                  <a:pt x="980175" y="1268360"/>
                  <a:pt x="977607" y="1267077"/>
                  <a:pt x="976323" y="1265794"/>
                </a:cubicBezTo>
                <a:cubicBezTo>
                  <a:pt x="972472" y="1263226"/>
                  <a:pt x="968620" y="1259376"/>
                  <a:pt x="964769" y="1256809"/>
                </a:cubicBezTo>
                <a:cubicBezTo>
                  <a:pt x="960917" y="1254241"/>
                  <a:pt x="957066" y="1252957"/>
                  <a:pt x="953214" y="1251674"/>
                </a:cubicBezTo>
                <a:cubicBezTo>
                  <a:pt x="950647" y="1251674"/>
                  <a:pt x="946795" y="1251674"/>
                  <a:pt x="944227" y="1251674"/>
                </a:cubicBezTo>
                <a:cubicBezTo>
                  <a:pt x="940376" y="1250391"/>
                  <a:pt x="936524" y="1249107"/>
                  <a:pt x="933957" y="1245256"/>
                </a:cubicBezTo>
                <a:cubicBezTo>
                  <a:pt x="932673" y="1242689"/>
                  <a:pt x="931389" y="1242689"/>
                  <a:pt x="928821" y="1241406"/>
                </a:cubicBezTo>
                <a:cubicBezTo>
                  <a:pt x="926254" y="1240122"/>
                  <a:pt x="924970" y="1237554"/>
                  <a:pt x="922402" y="1237554"/>
                </a:cubicBezTo>
                <a:cubicBezTo>
                  <a:pt x="919835" y="1237554"/>
                  <a:pt x="918551" y="1237554"/>
                  <a:pt x="915983" y="1237554"/>
                </a:cubicBezTo>
                <a:cubicBezTo>
                  <a:pt x="913416" y="1236271"/>
                  <a:pt x="912132" y="1233704"/>
                  <a:pt x="909564" y="1232421"/>
                </a:cubicBezTo>
                <a:cubicBezTo>
                  <a:pt x="905713" y="1229853"/>
                  <a:pt x="903145" y="1226003"/>
                  <a:pt x="901862" y="1222152"/>
                </a:cubicBezTo>
                <a:cubicBezTo>
                  <a:pt x="900578" y="1219585"/>
                  <a:pt x="899294" y="1215734"/>
                  <a:pt x="898010" y="1213167"/>
                </a:cubicBezTo>
                <a:cubicBezTo>
                  <a:pt x="896726" y="1208033"/>
                  <a:pt x="894159" y="1199047"/>
                  <a:pt x="887739" y="1197764"/>
                </a:cubicBezTo>
                <a:cubicBezTo>
                  <a:pt x="885172" y="1196480"/>
                  <a:pt x="882604" y="1193913"/>
                  <a:pt x="880036" y="1192630"/>
                </a:cubicBezTo>
                <a:cubicBezTo>
                  <a:pt x="876185" y="1191346"/>
                  <a:pt x="872333" y="1190062"/>
                  <a:pt x="868482" y="1188779"/>
                </a:cubicBezTo>
                <a:cubicBezTo>
                  <a:pt x="860779" y="1186212"/>
                  <a:pt x="853076" y="1179794"/>
                  <a:pt x="847941" y="1173376"/>
                </a:cubicBezTo>
                <a:cubicBezTo>
                  <a:pt x="846657" y="1170809"/>
                  <a:pt x="844089" y="1166958"/>
                  <a:pt x="841522" y="1165674"/>
                </a:cubicBezTo>
                <a:cubicBezTo>
                  <a:pt x="838954" y="1164391"/>
                  <a:pt x="835103" y="1164391"/>
                  <a:pt x="831251" y="1163107"/>
                </a:cubicBezTo>
                <a:cubicBezTo>
                  <a:pt x="827400" y="1161824"/>
                  <a:pt x="822264" y="1161824"/>
                  <a:pt x="818413" y="1161824"/>
                </a:cubicBezTo>
                <a:cubicBezTo>
                  <a:pt x="814561" y="1161824"/>
                  <a:pt x="809426" y="1163107"/>
                  <a:pt x="805575" y="1161824"/>
                </a:cubicBezTo>
                <a:cubicBezTo>
                  <a:pt x="803007" y="1161824"/>
                  <a:pt x="800439" y="1161824"/>
                  <a:pt x="795304" y="1168242"/>
                </a:cubicBezTo>
                <a:cubicBezTo>
                  <a:pt x="796588" y="1169526"/>
                  <a:pt x="796588" y="1170809"/>
                  <a:pt x="795304" y="1174659"/>
                </a:cubicBezTo>
                <a:cubicBezTo>
                  <a:pt x="792736" y="1175943"/>
                  <a:pt x="791452" y="1173376"/>
                  <a:pt x="790168" y="1170809"/>
                </a:cubicBezTo>
                <a:lnTo>
                  <a:pt x="788885" y="1164391"/>
                </a:lnTo>
                <a:cubicBezTo>
                  <a:pt x="786317" y="1161824"/>
                  <a:pt x="785033" y="1161824"/>
                  <a:pt x="782465" y="1163107"/>
                </a:cubicBezTo>
                <a:cubicBezTo>
                  <a:pt x="779898" y="1164391"/>
                  <a:pt x="777330" y="1165674"/>
                  <a:pt x="776046" y="1168242"/>
                </a:cubicBezTo>
                <a:cubicBezTo>
                  <a:pt x="774763" y="1170809"/>
                  <a:pt x="774763" y="1174659"/>
                  <a:pt x="772195" y="1175943"/>
                </a:cubicBezTo>
                <a:lnTo>
                  <a:pt x="765776" y="1175943"/>
                </a:lnTo>
                <a:cubicBezTo>
                  <a:pt x="763208" y="1174659"/>
                  <a:pt x="760641" y="1172092"/>
                  <a:pt x="758073" y="1170809"/>
                </a:cubicBezTo>
                <a:cubicBezTo>
                  <a:pt x="754222" y="1169526"/>
                  <a:pt x="750370" y="1172092"/>
                  <a:pt x="746519" y="1172092"/>
                </a:cubicBezTo>
                <a:cubicBezTo>
                  <a:pt x="743951" y="1172092"/>
                  <a:pt x="740100" y="1172092"/>
                  <a:pt x="737532" y="1169526"/>
                </a:cubicBezTo>
                <a:cubicBezTo>
                  <a:pt x="736248" y="1166958"/>
                  <a:pt x="736248" y="1163107"/>
                  <a:pt x="736248" y="1160540"/>
                </a:cubicBezTo>
                <a:cubicBezTo>
                  <a:pt x="734964" y="1157973"/>
                  <a:pt x="733680" y="1156689"/>
                  <a:pt x="732397" y="1154123"/>
                </a:cubicBezTo>
                <a:lnTo>
                  <a:pt x="731113" y="1146421"/>
                </a:lnTo>
                <a:cubicBezTo>
                  <a:pt x="731113" y="1141286"/>
                  <a:pt x="732397" y="1137436"/>
                  <a:pt x="729829" y="1132302"/>
                </a:cubicBezTo>
                <a:lnTo>
                  <a:pt x="725977" y="1128451"/>
                </a:lnTo>
                <a:cubicBezTo>
                  <a:pt x="722126" y="1127167"/>
                  <a:pt x="719558" y="1128451"/>
                  <a:pt x="716991" y="1128451"/>
                </a:cubicBezTo>
                <a:cubicBezTo>
                  <a:pt x="714423" y="1129735"/>
                  <a:pt x="711855" y="1129735"/>
                  <a:pt x="709288" y="1129735"/>
                </a:cubicBezTo>
                <a:cubicBezTo>
                  <a:pt x="706720" y="1129735"/>
                  <a:pt x="704152" y="1128451"/>
                  <a:pt x="705436" y="1125883"/>
                </a:cubicBezTo>
                <a:cubicBezTo>
                  <a:pt x="708004" y="1123317"/>
                  <a:pt x="710571" y="1120750"/>
                  <a:pt x="710571" y="1118182"/>
                </a:cubicBezTo>
                <a:cubicBezTo>
                  <a:pt x="711855" y="1115615"/>
                  <a:pt x="710571" y="1115615"/>
                  <a:pt x="710571" y="1111764"/>
                </a:cubicBezTo>
                <a:cubicBezTo>
                  <a:pt x="711855" y="1111764"/>
                  <a:pt x="713139" y="1111764"/>
                  <a:pt x="714423" y="1111764"/>
                </a:cubicBezTo>
                <a:lnTo>
                  <a:pt x="714423" y="1106630"/>
                </a:lnTo>
                <a:lnTo>
                  <a:pt x="715707" y="1101496"/>
                </a:lnTo>
                <a:cubicBezTo>
                  <a:pt x="715707" y="1098929"/>
                  <a:pt x="716991" y="1096362"/>
                  <a:pt x="715707" y="1093794"/>
                </a:cubicBezTo>
                <a:lnTo>
                  <a:pt x="710571" y="1091227"/>
                </a:lnTo>
                <a:cubicBezTo>
                  <a:pt x="706720" y="1091227"/>
                  <a:pt x="702868" y="1093794"/>
                  <a:pt x="700301" y="1096362"/>
                </a:cubicBezTo>
                <a:cubicBezTo>
                  <a:pt x="697733" y="1098929"/>
                  <a:pt x="696449" y="1102779"/>
                  <a:pt x="695165" y="1105347"/>
                </a:cubicBezTo>
                <a:cubicBezTo>
                  <a:pt x="692598" y="1109197"/>
                  <a:pt x="686179" y="1110481"/>
                  <a:pt x="682327" y="1111764"/>
                </a:cubicBezTo>
                <a:cubicBezTo>
                  <a:pt x="679760" y="1111764"/>
                  <a:pt x="677192" y="1113048"/>
                  <a:pt x="674625" y="1113048"/>
                </a:cubicBezTo>
                <a:cubicBezTo>
                  <a:pt x="672057" y="1111764"/>
                  <a:pt x="672057" y="1107914"/>
                  <a:pt x="670773" y="1105347"/>
                </a:cubicBezTo>
                <a:cubicBezTo>
                  <a:pt x="669489" y="1104063"/>
                  <a:pt x="668206" y="1101496"/>
                  <a:pt x="666922" y="1100212"/>
                </a:cubicBezTo>
                <a:cubicBezTo>
                  <a:pt x="663070" y="1096362"/>
                  <a:pt x="661786" y="1088660"/>
                  <a:pt x="661786" y="1083526"/>
                </a:cubicBezTo>
                <a:cubicBezTo>
                  <a:pt x="661786" y="1079675"/>
                  <a:pt x="661786" y="1075824"/>
                  <a:pt x="663070" y="1073257"/>
                </a:cubicBezTo>
                <a:cubicBezTo>
                  <a:pt x="663070" y="1070690"/>
                  <a:pt x="664354" y="1069406"/>
                  <a:pt x="664354" y="1066839"/>
                </a:cubicBezTo>
                <a:cubicBezTo>
                  <a:pt x="664354" y="1064272"/>
                  <a:pt x="664354" y="1061705"/>
                  <a:pt x="664354" y="1057855"/>
                </a:cubicBezTo>
                <a:cubicBezTo>
                  <a:pt x="665638" y="1054003"/>
                  <a:pt x="666922" y="1051436"/>
                  <a:pt x="670773" y="1045018"/>
                </a:cubicBezTo>
                <a:lnTo>
                  <a:pt x="677192" y="1041168"/>
                </a:lnTo>
                <a:cubicBezTo>
                  <a:pt x="681044" y="1039884"/>
                  <a:pt x="686179" y="1036034"/>
                  <a:pt x="690030" y="1037317"/>
                </a:cubicBezTo>
                <a:cubicBezTo>
                  <a:pt x="695165" y="1037317"/>
                  <a:pt x="699017" y="1042452"/>
                  <a:pt x="704152" y="1041168"/>
                </a:cubicBezTo>
                <a:lnTo>
                  <a:pt x="705436" y="1036034"/>
                </a:lnTo>
                <a:lnTo>
                  <a:pt x="714423" y="1032183"/>
                </a:lnTo>
                <a:cubicBezTo>
                  <a:pt x="720842" y="1032183"/>
                  <a:pt x="725977" y="1033467"/>
                  <a:pt x="731113" y="1038600"/>
                </a:cubicBezTo>
                <a:cubicBezTo>
                  <a:pt x="736248" y="1043735"/>
                  <a:pt x="734964" y="1048869"/>
                  <a:pt x="737532" y="1055287"/>
                </a:cubicBezTo>
                <a:cubicBezTo>
                  <a:pt x="738816" y="1059138"/>
                  <a:pt x="741384" y="1064272"/>
                  <a:pt x="746519" y="1065556"/>
                </a:cubicBezTo>
                <a:cubicBezTo>
                  <a:pt x="751654" y="1066839"/>
                  <a:pt x="751654" y="1060421"/>
                  <a:pt x="751654" y="1056571"/>
                </a:cubicBezTo>
                <a:cubicBezTo>
                  <a:pt x="750370" y="1051436"/>
                  <a:pt x="747803" y="1047586"/>
                  <a:pt x="746519" y="1042452"/>
                </a:cubicBezTo>
                <a:cubicBezTo>
                  <a:pt x="743951" y="1037317"/>
                  <a:pt x="743951" y="1032183"/>
                  <a:pt x="746519" y="1027049"/>
                </a:cubicBezTo>
                <a:cubicBezTo>
                  <a:pt x="749087" y="1021914"/>
                  <a:pt x="754222" y="1018064"/>
                  <a:pt x="758073" y="1014212"/>
                </a:cubicBezTo>
                <a:cubicBezTo>
                  <a:pt x="760641" y="1010362"/>
                  <a:pt x="764492" y="1009079"/>
                  <a:pt x="767060" y="1005228"/>
                </a:cubicBezTo>
                <a:cubicBezTo>
                  <a:pt x="768344" y="1002661"/>
                  <a:pt x="769627" y="1000093"/>
                  <a:pt x="769627" y="997526"/>
                </a:cubicBezTo>
                <a:cubicBezTo>
                  <a:pt x="769627" y="996243"/>
                  <a:pt x="768344" y="994959"/>
                  <a:pt x="768344" y="993676"/>
                </a:cubicBezTo>
                <a:cubicBezTo>
                  <a:pt x="768344" y="991108"/>
                  <a:pt x="768344" y="989825"/>
                  <a:pt x="768344" y="988541"/>
                </a:cubicBezTo>
                <a:cubicBezTo>
                  <a:pt x="768344" y="984691"/>
                  <a:pt x="767060" y="980840"/>
                  <a:pt x="768344" y="976989"/>
                </a:cubicBezTo>
                <a:cubicBezTo>
                  <a:pt x="768344" y="975705"/>
                  <a:pt x="770911" y="970571"/>
                  <a:pt x="772195" y="973138"/>
                </a:cubicBezTo>
                <a:cubicBezTo>
                  <a:pt x="773479" y="974422"/>
                  <a:pt x="773479" y="975705"/>
                  <a:pt x="772195" y="976989"/>
                </a:cubicBezTo>
                <a:cubicBezTo>
                  <a:pt x="772195" y="978273"/>
                  <a:pt x="772195" y="979556"/>
                  <a:pt x="773479" y="980840"/>
                </a:cubicBezTo>
                <a:cubicBezTo>
                  <a:pt x="774763" y="982123"/>
                  <a:pt x="777330" y="983407"/>
                  <a:pt x="778614" y="980840"/>
                </a:cubicBezTo>
                <a:lnTo>
                  <a:pt x="778614" y="974422"/>
                </a:lnTo>
                <a:cubicBezTo>
                  <a:pt x="778614" y="973138"/>
                  <a:pt x="778614" y="973138"/>
                  <a:pt x="778614" y="971855"/>
                </a:cubicBezTo>
                <a:cubicBezTo>
                  <a:pt x="779898" y="969288"/>
                  <a:pt x="782465" y="968004"/>
                  <a:pt x="783749" y="966720"/>
                </a:cubicBezTo>
                <a:cubicBezTo>
                  <a:pt x="783749" y="965437"/>
                  <a:pt x="783749" y="964153"/>
                  <a:pt x="785033" y="962870"/>
                </a:cubicBezTo>
                <a:cubicBezTo>
                  <a:pt x="785033" y="961586"/>
                  <a:pt x="786317" y="960303"/>
                  <a:pt x="787601" y="959019"/>
                </a:cubicBezTo>
                <a:cubicBezTo>
                  <a:pt x="791452" y="953885"/>
                  <a:pt x="795304" y="948750"/>
                  <a:pt x="799155" y="943616"/>
                </a:cubicBezTo>
                <a:cubicBezTo>
                  <a:pt x="801723" y="941049"/>
                  <a:pt x="808142" y="935915"/>
                  <a:pt x="811994" y="935915"/>
                </a:cubicBezTo>
                <a:cubicBezTo>
                  <a:pt x="814561" y="934631"/>
                  <a:pt x="817129" y="935915"/>
                  <a:pt x="818413" y="933347"/>
                </a:cubicBezTo>
                <a:cubicBezTo>
                  <a:pt x="819697" y="930781"/>
                  <a:pt x="818413" y="930781"/>
                  <a:pt x="820981" y="929497"/>
                </a:cubicBezTo>
                <a:cubicBezTo>
                  <a:pt x="822264" y="928213"/>
                  <a:pt x="829967" y="925646"/>
                  <a:pt x="829967" y="929497"/>
                </a:cubicBezTo>
                <a:cubicBezTo>
                  <a:pt x="828684" y="930781"/>
                  <a:pt x="827400" y="932064"/>
                  <a:pt x="826116" y="933347"/>
                </a:cubicBezTo>
                <a:cubicBezTo>
                  <a:pt x="824832" y="934631"/>
                  <a:pt x="823548" y="935915"/>
                  <a:pt x="824832" y="938482"/>
                </a:cubicBezTo>
                <a:cubicBezTo>
                  <a:pt x="826116" y="939765"/>
                  <a:pt x="828684" y="941049"/>
                  <a:pt x="831251" y="941049"/>
                </a:cubicBezTo>
                <a:cubicBezTo>
                  <a:pt x="833819" y="941049"/>
                  <a:pt x="835103" y="939765"/>
                  <a:pt x="837670" y="937198"/>
                </a:cubicBezTo>
                <a:cubicBezTo>
                  <a:pt x="838954" y="935915"/>
                  <a:pt x="838954" y="933347"/>
                  <a:pt x="841522" y="932064"/>
                </a:cubicBezTo>
                <a:lnTo>
                  <a:pt x="847941" y="928213"/>
                </a:lnTo>
                <a:cubicBezTo>
                  <a:pt x="850508" y="924363"/>
                  <a:pt x="838954" y="925646"/>
                  <a:pt x="837670" y="925646"/>
                </a:cubicBezTo>
                <a:lnTo>
                  <a:pt x="831251" y="917944"/>
                </a:lnTo>
                <a:cubicBezTo>
                  <a:pt x="829967" y="914094"/>
                  <a:pt x="831251" y="911527"/>
                  <a:pt x="828684" y="910243"/>
                </a:cubicBezTo>
                <a:cubicBezTo>
                  <a:pt x="827400" y="908960"/>
                  <a:pt x="826116" y="908960"/>
                  <a:pt x="826116" y="905109"/>
                </a:cubicBezTo>
                <a:cubicBezTo>
                  <a:pt x="827400" y="903825"/>
                  <a:pt x="828684" y="905109"/>
                  <a:pt x="829967" y="903825"/>
                </a:cubicBezTo>
                <a:cubicBezTo>
                  <a:pt x="831251" y="902541"/>
                  <a:pt x="832535" y="901258"/>
                  <a:pt x="831251" y="898691"/>
                </a:cubicBezTo>
                <a:cubicBezTo>
                  <a:pt x="829967" y="894840"/>
                  <a:pt x="826116" y="894840"/>
                  <a:pt x="822264" y="896124"/>
                </a:cubicBezTo>
                <a:lnTo>
                  <a:pt x="818413" y="897408"/>
                </a:lnTo>
                <a:cubicBezTo>
                  <a:pt x="815845" y="898691"/>
                  <a:pt x="811994" y="901258"/>
                  <a:pt x="809426" y="903825"/>
                </a:cubicBezTo>
                <a:cubicBezTo>
                  <a:pt x="809426" y="905109"/>
                  <a:pt x="808142" y="906393"/>
                  <a:pt x="806858" y="906393"/>
                </a:cubicBezTo>
                <a:lnTo>
                  <a:pt x="808142" y="901258"/>
                </a:lnTo>
                <a:cubicBezTo>
                  <a:pt x="809426" y="899975"/>
                  <a:pt x="810710" y="897408"/>
                  <a:pt x="811994" y="896124"/>
                </a:cubicBezTo>
                <a:cubicBezTo>
                  <a:pt x="815845" y="892273"/>
                  <a:pt x="819697" y="889706"/>
                  <a:pt x="823548" y="889706"/>
                </a:cubicBezTo>
                <a:cubicBezTo>
                  <a:pt x="826116" y="888422"/>
                  <a:pt x="827400" y="888422"/>
                  <a:pt x="828684" y="888422"/>
                </a:cubicBezTo>
                <a:cubicBezTo>
                  <a:pt x="833819" y="888422"/>
                  <a:pt x="837670" y="889706"/>
                  <a:pt x="841522" y="888422"/>
                </a:cubicBezTo>
                <a:cubicBezTo>
                  <a:pt x="845373" y="888422"/>
                  <a:pt x="849224" y="889706"/>
                  <a:pt x="851792" y="888422"/>
                </a:cubicBezTo>
                <a:cubicBezTo>
                  <a:pt x="853076" y="888422"/>
                  <a:pt x="854360" y="887139"/>
                  <a:pt x="855643" y="887139"/>
                </a:cubicBezTo>
                <a:cubicBezTo>
                  <a:pt x="858211" y="885855"/>
                  <a:pt x="859495" y="884572"/>
                  <a:pt x="860779" y="883288"/>
                </a:cubicBezTo>
                <a:cubicBezTo>
                  <a:pt x="863346" y="882005"/>
                  <a:pt x="862063" y="879437"/>
                  <a:pt x="863346" y="878154"/>
                </a:cubicBezTo>
                <a:cubicBezTo>
                  <a:pt x="867198" y="873020"/>
                  <a:pt x="873617" y="879437"/>
                  <a:pt x="877469" y="875587"/>
                </a:cubicBezTo>
                <a:cubicBezTo>
                  <a:pt x="880036" y="874303"/>
                  <a:pt x="881320" y="870452"/>
                  <a:pt x="881320" y="867885"/>
                </a:cubicBezTo>
                <a:cubicBezTo>
                  <a:pt x="880036" y="865318"/>
                  <a:pt x="878752" y="865318"/>
                  <a:pt x="877469" y="864034"/>
                </a:cubicBezTo>
                <a:cubicBezTo>
                  <a:pt x="874901" y="864034"/>
                  <a:pt x="874901" y="862751"/>
                  <a:pt x="872333" y="862751"/>
                </a:cubicBezTo>
                <a:cubicBezTo>
                  <a:pt x="871049" y="862751"/>
                  <a:pt x="869766" y="864034"/>
                  <a:pt x="868482" y="864034"/>
                </a:cubicBezTo>
                <a:cubicBezTo>
                  <a:pt x="864630" y="866602"/>
                  <a:pt x="862063" y="867885"/>
                  <a:pt x="859495" y="867885"/>
                </a:cubicBezTo>
                <a:cubicBezTo>
                  <a:pt x="856927" y="867885"/>
                  <a:pt x="854360" y="865318"/>
                  <a:pt x="855643" y="862751"/>
                </a:cubicBezTo>
                <a:cubicBezTo>
                  <a:pt x="855643" y="860184"/>
                  <a:pt x="859495" y="860184"/>
                  <a:pt x="860779" y="857617"/>
                </a:cubicBezTo>
                <a:cubicBezTo>
                  <a:pt x="863346" y="856333"/>
                  <a:pt x="864630" y="853766"/>
                  <a:pt x="862063" y="852482"/>
                </a:cubicBezTo>
                <a:cubicBezTo>
                  <a:pt x="859495" y="851199"/>
                  <a:pt x="855643" y="851199"/>
                  <a:pt x="853076" y="851199"/>
                </a:cubicBezTo>
                <a:cubicBezTo>
                  <a:pt x="847941" y="849915"/>
                  <a:pt x="849224" y="847348"/>
                  <a:pt x="849224" y="844781"/>
                </a:cubicBezTo>
                <a:cubicBezTo>
                  <a:pt x="849224" y="843497"/>
                  <a:pt x="849224" y="842214"/>
                  <a:pt x="849224" y="840930"/>
                </a:cubicBezTo>
                <a:cubicBezTo>
                  <a:pt x="847941" y="838363"/>
                  <a:pt x="846657" y="837079"/>
                  <a:pt x="846657" y="835796"/>
                </a:cubicBezTo>
                <a:cubicBezTo>
                  <a:pt x="846657" y="833229"/>
                  <a:pt x="846657" y="831945"/>
                  <a:pt x="845373" y="829378"/>
                </a:cubicBezTo>
                <a:cubicBezTo>
                  <a:pt x="845373" y="826811"/>
                  <a:pt x="845373" y="825527"/>
                  <a:pt x="844089" y="824244"/>
                </a:cubicBezTo>
                <a:cubicBezTo>
                  <a:pt x="842805" y="821676"/>
                  <a:pt x="838954" y="820393"/>
                  <a:pt x="837670" y="817826"/>
                </a:cubicBezTo>
                <a:cubicBezTo>
                  <a:pt x="835103" y="815258"/>
                  <a:pt x="836386" y="813975"/>
                  <a:pt x="835103" y="811408"/>
                </a:cubicBezTo>
                <a:cubicBezTo>
                  <a:pt x="833819" y="808841"/>
                  <a:pt x="831251" y="806273"/>
                  <a:pt x="828684" y="808841"/>
                </a:cubicBezTo>
                <a:cubicBezTo>
                  <a:pt x="827400" y="810125"/>
                  <a:pt x="826116" y="812692"/>
                  <a:pt x="824832" y="813975"/>
                </a:cubicBezTo>
                <a:cubicBezTo>
                  <a:pt x="822264" y="817826"/>
                  <a:pt x="817129" y="817826"/>
                  <a:pt x="813278" y="816542"/>
                </a:cubicBezTo>
                <a:cubicBezTo>
                  <a:pt x="809426" y="815258"/>
                  <a:pt x="806858" y="811408"/>
                  <a:pt x="805575" y="807557"/>
                </a:cubicBezTo>
                <a:cubicBezTo>
                  <a:pt x="805575" y="803707"/>
                  <a:pt x="805575" y="799856"/>
                  <a:pt x="801723" y="797289"/>
                </a:cubicBezTo>
                <a:cubicBezTo>
                  <a:pt x="799155" y="794722"/>
                  <a:pt x="795304" y="793438"/>
                  <a:pt x="791452" y="790870"/>
                </a:cubicBezTo>
                <a:cubicBezTo>
                  <a:pt x="790168" y="788304"/>
                  <a:pt x="787601" y="785737"/>
                  <a:pt x="785033" y="784453"/>
                </a:cubicBezTo>
                <a:cubicBezTo>
                  <a:pt x="781182" y="784453"/>
                  <a:pt x="777330" y="785737"/>
                  <a:pt x="774763" y="788304"/>
                </a:cubicBezTo>
                <a:cubicBezTo>
                  <a:pt x="772195" y="789587"/>
                  <a:pt x="768344" y="788304"/>
                  <a:pt x="765776" y="789587"/>
                </a:cubicBezTo>
                <a:cubicBezTo>
                  <a:pt x="760641" y="790870"/>
                  <a:pt x="764492" y="797289"/>
                  <a:pt x="763208" y="801139"/>
                </a:cubicBezTo>
                <a:cubicBezTo>
                  <a:pt x="763208" y="802423"/>
                  <a:pt x="761925" y="802423"/>
                  <a:pt x="761925" y="803707"/>
                </a:cubicBezTo>
                <a:cubicBezTo>
                  <a:pt x="763208" y="804990"/>
                  <a:pt x="763208" y="804990"/>
                  <a:pt x="764492" y="806273"/>
                </a:cubicBezTo>
                <a:lnTo>
                  <a:pt x="761925" y="811408"/>
                </a:lnTo>
                <a:lnTo>
                  <a:pt x="756789" y="816542"/>
                </a:lnTo>
                <a:cubicBezTo>
                  <a:pt x="756789" y="820393"/>
                  <a:pt x="761925" y="820393"/>
                  <a:pt x="763208" y="822960"/>
                </a:cubicBezTo>
                <a:cubicBezTo>
                  <a:pt x="764492" y="824244"/>
                  <a:pt x="764492" y="825527"/>
                  <a:pt x="765776" y="828094"/>
                </a:cubicBezTo>
                <a:lnTo>
                  <a:pt x="768344" y="834513"/>
                </a:lnTo>
                <a:lnTo>
                  <a:pt x="768344" y="842214"/>
                </a:lnTo>
                <a:lnTo>
                  <a:pt x="764492" y="848632"/>
                </a:lnTo>
                <a:cubicBezTo>
                  <a:pt x="761925" y="849915"/>
                  <a:pt x="759357" y="851199"/>
                  <a:pt x="758073" y="853766"/>
                </a:cubicBezTo>
                <a:cubicBezTo>
                  <a:pt x="755506" y="856333"/>
                  <a:pt x="756789" y="860184"/>
                  <a:pt x="758073" y="862751"/>
                </a:cubicBezTo>
                <a:lnTo>
                  <a:pt x="756789" y="870452"/>
                </a:lnTo>
                <a:cubicBezTo>
                  <a:pt x="754222" y="873020"/>
                  <a:pt x="750370" y="874303"/>
                  <a:pt x="747803" y="873020"/>
                </a:cubicBezTo>
                <a:cubicBezTo>
                  <a:pt x="745235" y="873020"/>
                  <a:pt x="742667" y="867885"/>
                  <a:pt x="742667" y="864034"/>
                </a:cubicBezTo>
                <a:lnTo>
                  <a:pt x="740100" y="851199"/>
                </a:lnTo>
                <a:cubicBezTo>
                  <a:pt x="737532" y="848632"/>
                  <a:pt x="732397" y="848632"/>
                  <a:pt x="728545" y="847348"/>
                </a:cubicBezTo>
                <a:cubicBezTo>
                  <a:pt x="723410" y="847348"/>
                  <a:pt x="719558" y="843497"/>
                  <a:pt x="715707" y="840930"/>
                </a:cubicBezTo>
                <a:cubicBezTo>
                  <a:pt x="713139" y="839646"/>
                  <a:pt x="711855" y="837079"/>
                  <a:pt x="709288" y="837079"/>
                </a:cubicBezTo>
                <a:cubicBezTo>
                  <a:pt x="706720" y="835796"/>
                  <a:pt x="702868" y="834513"/>
                  <a:pt x="700301" y="834513"/>
                </a:cubicBezTo>
                <a:cubicBezTo>
                  <a:pt x="693882" y="833229"/>
                  <a:pt x="686179" y="828094"/>
                  <a:pt x="684895" y="821676"/>
                </a:cubicBezTo>
                <a:cubicBezTo>
                  <a:pt x="683611" y="817826"/>
                  <a:pt x="681044" y="815258"/>
                  <a:pt x="678476" y="811408"/>
                </a:cubicBezTo>
                <a:lnTo>
                  <a:pt x="680631" y="800639"/>
                </a:lnTo>
                <a:lnTo>
                  <a:pt x="687957" y="791759"/>
                </a:lnTo>
                <a:cubicBezTo>
                  <a:pt x="690227" y="790498"/>
                  <a:pt x="691504" y="788209"/>
                  <a:pt x="693882" y="787020"/>
                </a:cubicBezTo>
                <a:lnTo>
                  <a:pt x="694661" y="785073"/>
                </a:lnTo>
                <a:lnTo>
                  <a:pt x="705598" y="776049"/>
                </a:lnTo>
                <a:cubicBezTo>
                  <a:pt x="707144" y="775327"/>
                  <a:pt x="708858" y="774755"/>
                  <a:pt x="710571" y="774184"/>
                </a:cubicBezTo>
                <a:cubicBezTo>
                  <a:pt x="711855" y="772901"/>
                  <a:pt x="713139" y="772901"/>
                  <a:pt x="713139" y="771617"/>
                </a:cubicBezTo>
                <a:lnTo>
                  <a:pt x="712768" y="770133"/>
                </a:lnTo>
                <a:lnTo>
                  <a:pt x="730336" y="755638"/>
                </a:lnTo>
                <a:lnTo>
                  <a:pt x="737532" y="752363"/>
                </a:lnTo>
                <a:cubicBezTo>
                  <a:pt x="741384" y="751080"/>
                  <a:pt x="743951" y="749796"/>
                  <a:pt x="747803" y="749796"/>
                </a:cubicBezTo>
                <a:cubicBezTo>
                  <a:pt x="750370" y="748513"/>
                  <a:pt x="751654" y="747229"/>
                  <a:pt x="750370" y="744662"/>
                </a:cubicBezTo>
                <a:cubicBezTo>
                  <a:pt x="750370" y="742664"/>
                  <a:pt x="749679" y="741703"/>
                  <a:pt x="748668" y="740513"/>
                </a:cubicBezTo>
                <a:cubicBezTo>
                  <a:pt x="757366" y="733451"/>
                  <a:pt x="766760" y="727349"/>
                  <a:pt x="777261" y="723065"/>
                </a:cubicBezTo>
                <a:cubicBezTo>
                  <a:pt x="783363" y="727046"/>
                  <a:pt x="787824" y="733460"/>
                  <a:pt x="788700" y="740472"/>
                </a:cubicBezTo>
                <a:cubicBezTo>
                  <a:pt x="789983" y="745610"/>
                  <a:pt x="787416" y="750749"/>
                  <a:pt x="786132" y="754603"/>
                </a:cubicBezTo>
                <a:lnTo>
                  <a:pt x="786132" y="762310"/>
                </a:lnTo>
                <a:cubicBezTo>
                  <a:pt x="786132" y="764880"/>
                  <a:pt x="783564" y="767449"/>
                  <a:pt x="780997" y="768734"/>
                </a:cubicBezTo>
                <a:lnTo>
                  <a:pt x="770726" y="770019"/>
                </a:lnTo>
                <a:cubicBezTo>
                  <a:pt x="768159" y="770019"/>
                  <a:pt x="764307" y="768734"/>
                  <a:pt x="761740" y="770019"/>
                </a:cubicBezTo>
                <a:cubicBezTo>
                  <a:pt x="759172" y="772588"/>
                  <a:pt x="761740" y="777727"/>
                  <a:pt x="764307" y="779011"/>
                </a:cubicBezTo>
                <a:cubicBezTo>
                  <a:pt x="769443" y="782865"/>
                  <a:pt x="778429" y="775157"/>
                  <a:pt x="783564" y="779011"/>
                </a:cubicBezTo>
                <a:cubicBezTo>
                  <a:pt x="786132" y="780296"/>
                  <a:pt x="787416" y="782865"/>
                  <a:pt x="789983" y="784150"/>
                </a:cubicBezTo>
                <a:cubicBezTo>
                  <a:pt x="792551" y="785434"/>
                  <a:pt x="793835" y="786719"/>
                  <a:pt x="795119" y="786719"/>
                </a:cubicBezTo>
                <a:cubicBezTo>
                  <a:pt x="798970" y="788004"/>
                  <a:pt x="801538" y="786719"/>
                  <a:pt x="805389" y="786719"/>
                </a:cubicBezTo>
                <a:cubicBezTo>
                  <a:pt x="807957" y="786719"/>
                  <a:pt x="811808" y="786719"/>
                  <a:pt x="814376" y="788004"/>
                </a:cubicBezTo>
                <a:cubicBezTo>
                  <a:pt x="815660" y="789288"/>
                  <a:pt x="818227" y="789288"/>
                  <a:pt x="820795" y="790573"/>
                </a:cubicBezTo>
                <a:cubicBezTo>
                  <a:pt x="822079" y="790573"/>
                  <a:pt x="823362" y="790573"/>
                  <a:pt x="823362" y="788004"/>
                </a:cubicBezTo>
                <a:lnTo>
                  <a:pt x="819511" y="785434"/>
                </a:lnTo>
                <a:cubicBezTo>
                  <a:pt x="816943" y="784150"/>
                  <a:pt x="809240" y="782865"/>
                  <a:pt x="810524" y="779011"/>
                </a:cubicBezTo>
                <a:cubicBezTo>
                  <a:pt x="811808" y="776442"/>
                  <a:pt x="814376" y="777727"/>
                  <a:pt x="816943" y="777727"/>
                </a:cubicBezTo>
                <a:cubicBezTo>
                  <a:pt x="819511" y="777727"/>
                  <a:pt x="820795" y="776442"/>
                  <a:pt x="823362" y="776442"/>
                </a:cubicBezTo>
                <a:cubicBezTo>
                  <a:pt x="825930" y="775157"/>
                  <a:pt x="828498" y="775157"/>
                  <a:pt x="828498" y="772588"/>
                </a:cubicBezTo>
                <a:lnTo>
                  <a:pt x="824646" y="766165"/>
                </a:lnTo>
                <a:cubicBezTo>
                  <a:pt x="820795" y="764880"/>
                  <a:pt x="814376" y="759741"/>
                  <a:pt x="816943" y="754603"/>
                </a:cubicBezTo>
                <a:cubicBezTo>
                  <a:pt x="818227" y="752033"/>
                  <a:pt x="825930" y="754603"/>
                  <a:pt x="828498" y="755887"/>
                </a:cubicBezTo>
                <a:cubicBezTo>
                  <a:pt x="831065" y="758456"/>
                  <a:pt x="834917" y="762310"/>
                  <a:pt x="838768" y="762310"/>
                </a:cubicBezTo>
                <a:cubicBezTo>
                  <a:pt x="843903" y="762310"/>
                  <a:pt x="847755" y="757172"/>
                  <a:pt x="849039" y="752033"/>
                </a:cubicBezTo>
                <a:cubicBezTo>
                  <a:pt x="851606" y="746895"/>
                  <a:pt x="847755" y="744325"/>
                  <a:pt x="842620" y="744325"/>
                </a:cubicBezTo>
                <a:cubicBezTo>
                  <a:pt x="838768" y="744325"/>
                  <a:pt x="834917" y="744325"/>
                  <a:pt x="829781" y="741756"/>
                </a:cubicBezTo>
                <a:cubicBezTo>
                  <a:pt x="825930" y="740472"/>
                  <a:pt x="822079" y="739187"/>
                  <a:pt x="818227" y="736618"/>
                </a:cubicBezTo>
                <a:cubicBezTo>
                  <a:pt x="814376" y="731479"/>
                  <a:pt x="813092" y="725055"/>
                  <a:pt x="810524" y="719917"/>
                </a:cubicBezTo>
                <a:cubicBezTo>
                  <a:pt x="809240" y="716063"/>
                  <a:pt x="806673" y="712209"/>
                  <a:pt x="804105" y="709640"/>
                </a:cubicBezTo>
                <a:lnTo>
                  <a:pt x="802798" y="709204"/>
                </a:lnTo>
                <a:cubicBezTo>
                  <a:pt x="825545" y="695518"/>
                  <a:pt x="850387" y="685600"/>
                  <a:pt x="876810" y="680004"/>
                </a:cubicBezTo>
                <a:cubicBezTo>
                  <a:pt x="879309" y="684035"/>
                  <a:pt x="881965" y="688245"/>
                  <a:pt x="879970" y="693231"/>
                </a:cubicBezTo>
                <a:cubicBezTo>
                  <a:pt x="878687" y="694514"/>
                  <a:pt x="877404" y="694514"/>
                  <a:pt x="877404" y="695797"/>
                </a:cubicBezTo>
                <a:cubicBezTo>
                  <a:pt x="877404" y="699646"/>
                  <a:pt x="879970" y="699646"/>
                  <a:pt x="882537" y="699646"/>
                </a:cubicBezTo>
                <a:cubicBezTo>
                  <a:pt x="887670" y="699646"/>
                  <a:pt x="895369" y="699646"/>
                  <a:pt x="897936" y="704778"/>
                </a:cubicBezTo>
                <a:lnTo>
                  <a:pt x="896652" y="709910"/>
                </a:lnTo>
                <a:lnTo>
                  <a:pt x="890236" y="708627"/>
                </a:lnTo>
                <a:lnTo>
                  <a:pt x="881254" y="709910"/>
                </a:lnTo>
                <a:cubicBezTo>
                  <a:pt x="879970" y="712476"/>
                  <a:pt x="882537" y="712476"/>
                  <a:pt x="883820" y="713760"/>
                </a:cubicBezTo>
                <a:cubicBezTo>
                  <a:pt x="885104" y="713760"/>
                  <a:pt x="885104" y="715042"/>
                  <a:pt x="886386" y="716326"/>
                </a:cubicBezTo>
                <a:cubicBezTo>
                  <a:pt x="886364" y="716333"/>
                  <a:pt x="881254" y="717612"/>
                  <a:pt x="881254" y="718892"/>
                </a:cubicBezTo>
                <a:cubicBezTo>
                  <a:pt x="881254" y="721458"/>
                  <a:pt x="883820" y="721458"/>
                  <a:pt x="883820" y="724024"/>
                </a:cubicBezTo>
                <a:cubicBezTo>
                  <a:pt x="885104" y="725307"/>
                  <a:pt x="882537" y="725307"/>
                  <a:pt x="882537" y="727873"/>
                </a:cubicBezTo>
                <a:lnTo>
                  <a:pt x="887670" y="730439"/>
                </a:lnTo>
                <a:cubicBezTo>
                  <a:pt x="895369" y="729156"/>
                  <a:pt x="887670" y="720175"/>
                  <a:pt x="890236" y="717608"/>
                </a:cubicBezTo>
                <a:cubicBezTo>
                  <a:pt x="894086" y="713760"/>
                  <a:pt x="905635" y="718892"/>
                  <a:pt x="908201" y="720175"/>
                </a:cubicBezTo>
                <a:cubicBezTo>
                  <a:pt x="912051" y="721458"/>
                  <a:pt x="912051" y="725307"/>
                  <a:pt x="909485" y="727873"/>
                </a:cubicBezTo>
                <a:cubicBezTo>
                  <a:pt x="906918" y="730439"/>
                  <a:pt x="904352" y="730439"/>
                  <a:pt x="903068" y="734288"/>
                </a:cubicBezTo>
                <a:cubicBezTo>
                  <a:pt x="903068" y="736854"/>
                  <a:pt x="901785" y="738138"/>
                  <a:pt x="900502" y="739420"/>
                </a:cubicBezTo>
                <a:cubicBezTo>
                  <a:pt x="896652" y="740704"/>
                  <a:pt x="894086" y="739420"/>
                  <a:pt x="891520" y="740704"/>
                </a:cubicBezTo>
                <a:cubicBezTo>
                  <a:pt x="890236" y="740704"/>
                  <a:pt x="888953" y="741987"/>
                  <a:pt x="887670" y="743270"/>
                </a:cubicBezTo>
                <a:cubicBezTo>
                  <a:pt x="887670" y="745836"/>
                  <a:pt x="888953" y="745836"/>
                  <a:pt x="890236" y="747119"/>
                </a:cubicBezTo>
                <a:lnTo>
                  <a:pt x="890236" y="753534"/>
                </a:lnTo>
                <a:cubicBezTo>
                  <a:pt x="888953" y="754817"/>
                  <a:pt x="888953" y="754817"/>
                  <a:pt x="888953" y="756100"/>
                </a:cubicBezTo>
                <a:cubicBezTo>
                  <a:pt x="888953" y="759949"/>
                  <a:pt x="892803" y="761232"/>
                  <a:pt x="894086" y="763798"/>
                </a:cubicBezTo>
                <a:cubicBezTo>
                  <a:pt x="894086" y="765081"/>
                  <a:pt x="894086" y="766364"/>
                  <a:pt x="895369" y="767647"/>
                </a:cubicBezTo>
                <a:cubicBezTo>
                  <a:pt x="896652" y="770213"/>
                  <a:pt x="896652" y="768930"/>
                  <a:pt x="899219" y="770213"/>
                </a:cubicBezTo>
                <a:cubicBezTo>
                  <a:pt x="900502" y="770213"/>
                  <a:pt x="901785" y="770213"/>
                  <a:pt x="900502" y="772780"/>
                </a:cubicBezTo>
                <a:cubicBezTo>
                  <a:pt x="900502" y="774062"/>
                  <a:pt x="897936" y="772780"/>
                  <a:pt x="897936" y="775346"/>
                </a:cubicBezTo>
                <a:lnTo>
                  <a:pt x="903068" y="780478"/>
                </a:lnTo>
                <a:lnTo>
                  <a:pt x="904352" y="784327"/>
                </a:lnTo>
                <a:cubicBezTo>
                  <a:pt x="905635" y="788176"/>
                  <a:pt x="908201" y="786893"/>
                  <a:pt x="910768" y="788176"/>
                </a:cubicBezTo>
                <a:cubicBezTo>
                  <a:pt x="913334" y="788176"/>
                  <a:pt x="913334" y="792025"/>
                  <a:pt x="914617" y="793308"/>
                </a:cubicBezTo>
                <a:cubicBezTo>
                  <a:pt x="915901" y="797157"/>
                  <a:pt x="918467" y="799723"/>
                  <a:pt x="922317" y="799723"/>
                </a:cubicBezTo>
                <a:cubicBezTo>
                  <a:pt x="924883" y="799723"/>
                  <a:pt x="924883" y="798440"/>
                  <a:pt x="927449" y="799723"/>
                </a:cubicBezTo>
                <a:cubicBezTo>
                  <a:pt x="930016" y="801006"/>
                  <a:pt x="931299" y="802289"/>
                  <a:pt x="933866" y="804855"/>
                </a:cubicBezTo>
                <a:lnTo>
                  <a:pt x="938999" y="807421"/>
                </a:lnTo>
                <a:cubicBezTo>
                  <a:pt x="940282" y="806139"/>
                  <a:pt x="940282" y="804855"/>
                  <a:pt x="940282" y="803573"/>
                </a:cubicBezTo>
                <a:cubicBezTo>
                  <a:pt x="941565" y="802289"/>
                  <a:pt x="942848" y="801006"/>
                  <a:pt x="944132" y="799723"/>
                </a:cubicBezTo>
                <a:lnTo>
                  <a:pt x="944132" y="794591"/>
                </a:lnTo>
                <a:cubicBezTo>
                  <a:pt x="945415" y="792025"/>
                  <a:pt x="946698" y="790742"/>
                  <a:pt x="946698" y="789459"/>
                </a:cubicBezTo>
                <a:cubicBezTo>
                  <a:pt x="947981" y="786893"/>
                  <a:pt x="947981" y="785610"/>
                  <a:pt x="949264" y="783044"/>
                </a:cubicBezTo>
                <a:cubicBezTo>
                  <a:pt x="950548" y="781761"/>
                  <a:pt x="950548" y="781761"/>
                  <a:pt x="951831" y="779194"/>
                </a:cubicBezTo>
                <a:cubicBezTo>
                  <a:pt x="951831" y="776628"/>
                  <a:pt x="949264" y="772780"/>
                  <a:pt x="950548" y="770213"/>
                </a:cubicBezTo>
                <a:lnTo>
                  <a:pt x="958247" y="766364"/>
                </a:lnTo>
                <a:lnTo>
                  <a:pt x="962097" y="762515"/>
                </a:lnTo>
                <a:cubicBezTo>
                  <a:pt x="964663" y="758666"/>
                  <a:pt x="964663" y="757383"/>
                  <a:pt x="968513" y="757383"/>
                </a:cubicBezTo>
                <a:cubicBezTo>
                  <a:pt x="972363" y="757383"/>
                  <a:pt x="974929" y="758666"/>
                  <a:pt x="978779" y="756100"/>
                </a:cubicBezTo>
                <a:cubicBezTo>
                  <a:pt x="982628" y="754817"/>
                  <a:pt x="983911" y="752251"/>
                  <a:pt x="986478" y="749685"/>
                </a:cubicBezTo>
                <a:cubicBezTo>
                  <a:pt x="986478" y="748402"/>
                  <a:pt x="987761" y="747119"/>
                  <a:pt x="989044" y="745836"/>
                </a:cubicBezTo>
                <a:cubicBezTo>
                  <a:pt x="990328" y="744553"/>
                  <a:pt x="992894" y="744553"/>
                  <a:pt x="995460" y="743270"/>
                </a:cubicBezTo>
                <a:cubicBezTo>
                  <a:pt x="996744" y="741987"/>
                  <a:pt x="996744" y="740704"/>
                  <a:pt x="998027" y="739420"/>
                </a:cubicBezTo>
                <a:cubicBezTo>
                  <a:pt x="1000593" y="735572"/>
                  <a:pt x="1007010" y="736854"/>
                  <a:pt x="1010859" y="736854"/>
                </a:cubicBezTo>
                <a:cubicBezTo>
                  <a:pt x="1017275" y="736854"/>
                  <a:pt x="1023691" y="734288"/>
                  <a:pt x="1030107" y="731722"/>
                </a:cubicBezTo>
                <a:lnTo>
                  <a:pt x="1036523" y="726590"/>
                </a:lnTo>
                <a:cubicBezTo>
                  <a:pt x="1037807" y="725307"/>
                  <a:pt x="1040373" y="725307"/>
                  <a:pt x="1042940" y="724024"/>
                </a:cubicBezTo>
                <a:cubicBezTo>
                  <a:pt x="1045506" y="722741"/>
                  <a:pt x="1048072" y="721458"/>
                  <a:pt x="1046790" y="718892"/>
                </a:cubicBezTo>
                <a:cubicBezTo>
                  <a:pt x="1045506" y="715042"/>
                  <a:pt x="1039090" y="717608"/>
                  <a:pt x="1036523" y="716326"/>
                </a:cubicBezTo>
                <a:cubicBezTo>
                  <a:pt x="1033957" y="713760"/>
                  <a:pt x="1035240" y="711194"/>
                  <a:pt x="1033957" y="708627"/>
                </a:cubicBezTo>
                <a:lnTo>
                  <a:pt x="1028824" y="708627"/>
                </a:lnTo>
                <a:cubicBezTo>
                  <a:pt x="1028824" y="706061"/>
                  <a:pt x="1028824" y="706061"/>
                  <a:pt x="1027541" y="704778"/>
                </a:cubicBezTo>
                <a:cubicBezTo>
                  <a:pt x="1027541" y="703495"/>
                  <a:pt x="1024975" y="703495"/>
                  <a:pt x="1024975" y="702212"/>
                </a:cubicBezTo>
                <a:lnTo>
                  <a:pt x="1028824" y="699646"/>
                </a:lnTo>
                <a:lnTo>
                  <a:pt x="1039090" y="702212"/>
                </a:lnTo>
                <a:cubicBezTo>
                  <a:pt x="1040373" y="703495"/>
                  <a:pt x="1042940" y="704778"/>
                  <a:pt x="1044223" y="707344"/>
                </a:cubicBezTo>
                <a:cubicBezTo>
                  <a:pt x="1045506" y="708627"/>
                  <a:pt x="1046790" y="709910"/>
                  <a:pt x="1048072" y="711194"/>
                </a:cubicBezTo>
                <a:cubicBezTo>
                  <a:pt x="1050639" y="711194"/>
                  <a:pt x="1051922" y="711194"/>
                  <a:pt x="1051922" y="708627"/>
                </a:cubicBezTo>
                <a:cubicBezTo>
                  <a:pt x="1051922" y="707344"/>
                  <a:pt x="1050639" y="706061"/>
                  <a:pt x="1049356" y="704778"/>
                </a:cubicBezTo>
                <a:cubicBezTo>
                  <a:pt x="1049356" y="702212"/>
                  <a:pt x="1049356" y="700929"/>
                  <a:pt x="1050639" y="699646"/>
                </a:cubicBezTo>
                <a:cubicBezTo>
                  <a:pt x="1051922" y="697080"/>
                  <a:pt x="1051922" y="693231"/>
                  <a:pt x="1049356" y="690665"/>
                </a:cubicBezTo>
                <a:cubicBezTo>
                  <a:pt x="1048072" y="689382"/>
                  <a:pt x="1045506" y="689382"/>
                  <a:pt x="1046790" y="686816"/>
                </a:cubicBezTo>
                <a:lnTo>
                  <a:pt x="1058338" y="686816"/>
                </a:lnTo>
                <a:cubicBezTo>
                  <a:pt x="1059622" y="685533"/>
                  <a:pt x="1060905" y="685533"/>
                  <a:pt x="1060905" y="684250"/>
                </a:cubicBezTo>
                <a:cubicBezTo>
                  <a:pt x="1060905" y="681684"/>
                  <a:pt x="1059622" y="681684"/>
                  <a:pt x="1057055" y="681684"/>
                </a:cubicBezTo>
                <a:lnTo>
                  <a:pt x="1050639" y="677834"/>
                </a:lnTo>
                <a:cubicBezTo>
                  <a:pt x="1050158" y="673986"/>
                  <a:pt x="1056413" y="673986"/>
                  <a:pt x="1058338" y="673986"/>
                </a:cubicBezTo>
                <a:cubicBezTo>
                  <a:pt x="1059622" y="673986"/>
                  <a:pt x="1064754" y="676552"/>
                  <a:pt x="1064754" y="673986"/>
                </a:cubicBezTo>
                <a:cubicBezTo>
                  <a:pt x="1066038" y="671420"/>
                  <a:pt x="1058338" y="671420"/>
                  <a:pt x="1059622" y="667570"/>
                </a:cubicBezTo>
                <a:close/>
                <a:moveTo>
                  <a:pt x="1065059" y="644628"/>
                </a:moveTo>
                <a:lnTo>
                  <a:pt x="1073323" y="646832"/>
                </a:lnTo>
                <a:lnTo>
                  <a:pt x="1068398" y="646336"/>
                </a:lnTo>
                <a:cubicBezTo>
                  <a:pt x="1068086" y="645834"/>
                  <a:pt x="1067679" y="645759"/>
                  <a:pt x="1067321" y="645759"/>
                </a:cubicBezTo>
                <a:close/>
                <a:moveTo>
                  <a:pt x="999379" y="639378"/>
                </a:moveTo>
                <a:cubicBezTo>
                  <a:pt x="998987" y="639378"/>
                  <a:pt x="998595" y="639379"/>
                  <a:pt x="998203" y="639497"/>
                </a:cubicBezTo>
                <a:cubicBezTo>
                  <a:pt x="971578" y="639464"/>
                  <a:pt x="945496" y="641848"/>
                  <a:pt x="920379" y="647342"/>
                </a:cubicBezTo>
                <a:cubicBezTo>
                  <a:pt x="899534" y="649819"/>
                  <a:pt x="879362" y="654810"/>
                  <a:pt x="860441" y="663193"/>
                </a:cubicBezTo>
                <a:lnTo>
                  <a:pt x="858109" y="661862"/>
                </a:lnTo>
                <a:lnTo>
                  <a:pt x="842130" y="668877"/>
                </a:lnTo>
                <a:cubicBezTo>
                  <a:pt x="825571" y="673228"/>
                  <a:pt x="809995" y="679980"/>
                  <a:pt x="795747" y="689240"/>
                </a:cubicBezTo>
                <a:lnTo>
                  <a:pt x="781029" y="695701"/>
                </a:lnTo>
                <a:lnTo>
                  <a:pt x="782872" y="696228"/>
                </a:lnTo>
                <a:cubicBezTo>
                  <a:pt x="768415" y="701624"/>
                  <a:pt x="755385" y="709559"/>
                  <a:pt x="742864" y="718195"/>
                </a:cubicBezTo>
                <a:lnTo>
                  <a:pt x="742177" y="718057"/>
                </a:lnTo>
                <a:lnTo>
                  <a:pt x="737755" y="721706"/>
                </a:lnTo>
                <a:lnTo>
                  <a:pt x="738227" y="722021"/>
                </a:lnTo>
                <a:lnTo>
                  <a:pt x="724694" y="733187"/>
                </a:lnTo>
                <a:lnTo>
                  <a:pt x="724694" y="733110"/>
                </a:lnTo>
                <a:cubicBezTo>
                  <a:pt x="725977" y="731826"/>
                  <a:pt x="725977" y="730543"/>
                  <a:pt x="727261" y="730543"/>
                </a:cubicBezTo>
                <a:lnTo>
                  <a:pt x="727400" y="730249"/>
                </a:lnTo>
                <a:lnTo>
                  <a:pt x="713121" y="742030"/>
                </a:lnTo>
                <a:cubicBezTo>
                  <a:pt x="713116" y="742059"/>
                  <a:pt x="713127" y="742078"/>
                  <a:pt x="713139" y="742095"/>
                </a:cubicBezTo>
                <a:lnTo>
                  <a:pt x="713482" y="742438"/>
                </a:lnTo>
                <a:cubicBezTo>
                  <a:pt x="608487" y="824638"/>
                  <a:pt x="542179" y="952865"/>
                  <a:pt x="542179" y="1096578"/>
                </a:cubicBezTo>
                <a:cubicBezTo>
                  <a:pt x="542179" y="1349083"/>
                  <a:pt x="746874" y="1553778"/>
                  <a:pt x="999379" y="1553778"/>
                </a:cubicBezTo>
                <a:cubicBezTo>
                  <a:pt x="1162388" y="1553778"/>
                  <a:pt x="1305472" y="1468470"/>
                  <a:pt x="1385427" y="1339435"/>
                </a:cubicBezTo>
                <a:lnTo>
                  <a:pt x="1785689" y="1613205"/>
                </a:lnTo>
                <a:lnTo>
                  <a:pt x="1785689" y="1387583"/>
                </a:lnTo>
                <a:lnTo>
                  <a:pt x="2115709" y="1387583"/>
                </a:lnTo>
                <a:lnTo>
                  <a:pt x="2115709" y="1194193"/>
                </a:lnTo>
                <a:lnTo>
                  <a:pt x="1785689" y="1194193"/>
                </a:lnTo>
                <a:lnTo>
                  <a:pt x="1785689" y="968571"/>
                </a:lnTo>
                <a:lnTo>
                  <a:pt x="1442834" y="1203076"/>
                </a:lnTo>
                <a:cubicBezTo>
                  <a:pt x="1452238" y="1169106"/>
                  <a:pt x="1456579" y="1133349"/>
                  <a:pt x="1456579" y="1096578"/>
                </a:cubicBezTo>
                <a:cubicBezTo>
                  <a:pt x="1456579" y="1012997"/>
                  <a:pt x="1434151" y="934654"/>
                  <a:pt x="1393297" y="868220"/>
                </a:cubicBezTo>
                <a:cubicBezTo>
                  <a:pt x="1393106" y="867646"/>
                  <a:pt x="1392810" y="867132"/>
                  <a:pt x="1392448" y="866656"/>
                </a:cubicBezTo>
                <a:cubicBezTo>
                  <a:pt x="1377647" y="837655"/>
                  <a:pt x="1358306" y="811522"/>
                  <a:pt x="1335388" y="788705"/>
                </a:cubicBezTo>
                <a:cubicBezTo>
                  <a:pt x="1335328" y="788596"/>
                  <a:pt x="1335246" y="788507"/>
                  <a:pt x="1335157" y="788425"/>
                </a:cubicBezTo>
                <a:cubicBezTo>
                  <a:pt x="1296816" y="744516"/>
                  <a:pt x="1249305" y="709147"/>
                  <a:pt x="1195456" y="685139"/>
                </a:cubicBezTo>
                <a:cubicBezTo>
                  <a:pt x="1168878" y="668452"/>
                  <a:pt x="1138908" y="657520"/>
                  <a:pt x="1106711" y="653382"/>
                </a:cubicBezTo>
                <a:cubicBezTo>
                  <a:pt x="1100591" y="650570"/>
                  <a:pt x="1094113" y="649156"/>
                  <a:pt x="1087511" y="648263"/>
                </a:cubicBezTo>
                <a:cubicBezTo>
                  <a:pt x="1079872" y="644257"/>
                  <a:pt x="1071681" y="642933"/>
                  <a:pt x="1063417" y="641838"/>
                </a:cubicBezTo>
                <a:lnTo>
                  <a:pt x="1063471" y="641909"/>
                </a:lnTo>
                <a:cubicBezTo>
                  <a:pt x="1064754" y="643193"/>
                  <a:pt x="1063471" y="643193"/>
                  <a:pt x="1064754" y="644475"/>
                </a:cubicBezTo>
                <a:cubicBezTo>
                  <a:pt x="1064754" y="644540"/>
                  <a:pt x="1064758" y="644601"/>
                  <a:pt x="1065059" y="644628"/>
                </a:cubicBezTo>
                <a:lnTo>
                  <a:pt x="999645" y="639378"/>
                </a:lnTo>
                <a:lnTo>
                  <a:pt x="999499" y="639390"/>
                </a:lnTo>
                <a:close/>
                <a:moveTo>
                  <a:pt x="2420008" y="517582"/>
                </a:moveTo>
                <a:lnTo>
                  <a:pt x="2420242" y="517582"/>
                </a:lnTo>
                <a:lnTo>
                  <a:pt x="2420008" y="518739"/>
                </a:lnTo>
                <a:close/>
                <a:moveTo>
                  <a:pt x="311517" y="382148"/>
                </a:moveTo>
                <a:lnTo>
                  <a:pt x="956736" y="425169"/>
                </a:lnTo>
                <a:lnTo>
                  <a:pt x="956736" y="424822"/>
                </a:lnTo>
                <a:lnTo>
                  <a:pt x="2419502" y="521246"/>
                </a:lnTo>
                <a:lnTo>
                  <a:pt x="2419041" y="523529"/>
                </a:lnTo>
                <a:cubicBezTo>
                  <a:pt x="2457627" y="527513"/>
                  <a:pt x="2492277" y="546825"/>
                  <a:pt x="2489692" y="585709"/>
                </a:cubicBezTo>
                <a:lnTo>
                  <a:pt x="2488840" y="670935"/>
                </a:lnTo>
                <a:lnTo>
                  <a:pt x="2487534" y="671173"/>
                </a:lnTo>
                <a:lnTo>
                  <a:pt x="2421648" y="1671080"/>
                </a:lnTo>
                <a:cubicBezTo>
                  <a:pt x="2408325" y="1707656"/>
                  <a:pt x="2386877" y="1726260"/>
                  <a:pt x="2359534" y="1724079"/>
                </a:cubicBezTo>
                <a:lnTo>
                  <a:pt x="145534" y="1736658"/>
                </a:lnTo>
                <a:cubicBezTo>
                  <a:pt x="174077" y="1308592"/>
                  <a:pt x="202622" y="880528"/>
                  <a:pt x="231160" y="452462"/>
                </a:cubicBezTo>
                <a:cubicBezTo>
                  <a:pt x="233930" y="410856"/>
                  <a:pt x="269910" y="379374"/>
                  <a:pt x="311517" y="382148"/>
                </a:cubicBezTo>
                <a:close/>
                <a:moveTo>
                  <a:pt x="1300253" y="0"/>
                </a:moveTo>
                <a:lnTo>
                  <a:pt x="2203833" y="0"/>
                </a:lnTo>
                <a:cubicBezTo>
                  <a:pt x="2251087" y="0"/>
                  <a:pt x="2290930" y="31720"/>
                  <a:pt x="2301543" y="75508"/>
                </a:cubicBezTo>
                <a:lnTo>
                  <a:pt x="2302960" y="75508"/>
                </a:lnTo>
                <a:lnTo>
                  <a:pt x="2302960" y="153340"/>
                </a:lnTo>
                <a:cubicBezTo>
                  <a:pt x="2302960" y="185560"/>
                  <a:pt x="2322135" y="213304"/>
                  <a:pt x="2349730" y="225539"/>
                </a:cubicBezTo>
                <a:lnTo>
                  <a:pt x="2352691" y="225539"/>
                </a:lnTo>
                <a:cubicBezTo>
                  <a:pt x="2390137" y="225539"/>
                  <a:pt x="2420490" y="255892"/>
                  <a:pt x="2420490" y="293337"/>
                </a:cubicBezTo>
                <a:lnTo>
                  <a:pt x="2420490" y="478155"/>
                </a:lnTo>
                <a:lnTo>
                  <a:pt x="2420008" y="478155"/>
                </a:lnTo>
                <a:lnTo>
                  <a:pt x="2418385" y="478044"/>
                </a:lnTo>
                <a:lnTo>
                  <a:pt x="2418385" y="477489"/>
                </a:lnTo>
                <a:lnTo>
                  <a:pt x="955892" y="376628"/>
                </a:lnTo>
                <a:lnTo>
                  <a:pt x="995936" y="380425"/>
                </a:lnTo>
                <a:lnTo>
                  <a:pt x="953777" y="377532"/>
                </a:lnTo>
                <a:lnTo>
                  <a:pt x="953797" y="377981"/>
                </a:lnTo>
                <a:lnTo>
                  <a:pt x="265757" y="332107"/>
                </a:lnTo>
                <a:cubicBezTo>
                  <a:pt x="221689" y="329168"/>
                  <a:pt x="183585" y="362511"/>
                  <a:pt x="180646" y="406578"/>
                </a:cubicBezTo>
                <a:lnTo>
                  <a:pt x="92708" y="1725472"/>
                </a:lnTo>
                <a:lnTo>
                  <a:pt x="75504" y="1725472"/>
                </a:lnTo>
                <a:cubicBezTo>
                  <a:pt x="33806" y="1725472"/>
                  <a:pt x="0" y="1691667"/>
                  <a:pt x="0" y="1649970"/>
                </a:cubicBezTo>
                <a:lnTo>
                  <a:pt x="4" y="307622"/>
                </a:lnTo>
                <a:cubicBezTo>
                  <a:pt x="0" y="265921"/>
                  <a:pt x="33806" y="232116"/>
                  <a:pt x="75504" y="232116"/>
                </a:cubicBezTo>
                <a:lnTo>
                  <a:pt x="996290" y="232116"/>
                </a:lnTo>
                <a:lnTo>
                  <a:pt x="997952" y="231729"/>
                </a:lnTo>
                <a:lnTo>
                  <a:pt x="1163695" y="231729"/>
                </a:lnTo>
                <a:cubicBezTo>
                  <a:pt x="1186126" y="231729"/>
                  <a:pt x="1204309" y="213546"/>
                  <a:pt x="1204309" y="191115"/>
                </a:cubicBezTo>
                <a:lnTo>
                  <a:pt x="1204309" y="71429"/>
                </a:lnTo>
                <a:cubicBezTo>
                  <a:pt x="1215773" y="29676"/>
                  <a:pt x="1254548" y="0"/>
                  <a:pt x="1300253"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111" fontAlgn="base">
              <a:spcBef>
                <a:spcPct val="0"/>
              </a:spcBef>
              <a:spcAft>
                <a:spcPct val="0"/>
              </a:spcAft>
            </a:pPr>
            <a:endParaRPr lang="en-US" sz="1836" spc="-51" dirty="0" err="1">
              <a:ln>
                <a:solidFill>
                  <a:schemeClr val="tx1">
                    <a:alpha val="0"/>
                  </a:schemeClr>
                </a:solidFill>
              </a:ln>
              <a:solidFill>
                <a:schemeClr val="tx1"/>
              </a:solidFill>
              <a:latin typeface="Segoe UI" pitchFamily="34" charset="0"/>
              <a:ea typeface="Segoe UI" pitchFamily="34" charset="0"/>
              <a:cs typeface="Segoe UI" pitchFamily="34" charset="0"/>
            </a:endParaRPr>
          </a:p>
        </p:txBody>
      </p:sp>
      <p:grpSp>
        <p:nvGrpSpPr>
          <p:cNvPr id="10" name="Group 9"/>
          <p:cNvGrpSpPr/>
          <p:nvPr/>
        </p:nvGrpSpPr>
        <p:grpSpPr>
          <a:xfrm flipH="1">
            <a:off x="6393496" y="2369959"/>
            <a:ext cx="975342" cy="665720"/>
            <a:chOff x="8369395" y="1851903"/>
            <a:chExt cx="756172" cy="516127"/>
          </a:xfrm>
          <a:solidFill>
            <a:schemeClr val="tx1"/>
          </a:solidFill>
        </p:grpSpPr>
        <p:sp>
          <p:nvSpPr>
            <p:cNvPr id="11" name="Rounded Rectangle 307"/>
            <p:cNvSpPr/>
            <p:nvPr/>
          </p:nvSpPr>
          <p:spPr bwMode="auto">
            <a:xfrm rot="1411326">
              <a:off x="8816736" y="2158730"/>
              <a:ext cx="308831" cy="209300"/>
            </a:xfrm>
            <a:custGeom>
              <a:avLst/>
              <a:gdLst/>
              <a:ahLst/>
              <a:cxnLst/>
              <a:rect l="l" t="t" r="r" b="b"/>
              <a:pathLst>
                <a:path w="308831" h="209299">
                  <a:moveTo>
                    <a:pt x="6932" y="0"/>
                  </a:moveTo>
                  <a:lnTo>
                    <a:pt x="62731" y="5004"/>
                  </a:lnTo>
                  <a:cubicBezTo>
                    <a:pt x="73820" y="4021"/>
                    <a:pt x="83149" y="12888"/>
                    <a:pt x="85697" y="24169"/>
                  </a:cubicBezTo>
                  <a:lnTo>
                    <a:pt x="85452" y="33272"/>
                  </a:lnTo>
                  <a:cubicBezTo>
                    <a:pt x="85954" y="32635"/>
                    <a:pt x="86485" y="32624"/>
                    <a:pt x="87017" y="32624"/>
                  </a:cubicBezTo>
                  <a:lnTo>
                    <a:pt x="270296" y="32624"/>
                  </a:lnTo>
                  <a:cubicBezTo>
                    <a:pt x="291578" y="32624"/>
                    <a:pt x="308831" y="49877"/>
                    <a:pt x="308831" y="71159"/>
                  </a:cubicBezTo>
                  <a:lnTo>
                    <a:pt x="308831" y="146071"/>
                  </a:lnTo>
                  <a:cubicBezTo>
                    <a:pt x="308831" y="167353"/>
                    <a:pt x="291578" y="184606"/>
                    <a:pt x="270296" y="184606"/>
                  </a:cubicBezTo>
                  <a:lnTo>
                    <a:pt x="87017" y="184606"/>
                  </a:lnTo>
                  <a:lnTo>
                    <a:pt x="81440" y="182295"/>
                  </a:lnTo>
                  <a:lnTo>
                    <a:pt x="81438" y="182371"/>
                  </a:lnTo>
                  <a:cubicBezTo>
                    <a:pt x="82699" y="196467"/>
                    <a:pt x="69880" y="211811"/>
                    <a:pt x="54012" y="208953"/>
                  </a:cubicBezTo>
                  <a:lnTo>
                    <a:pt x="0" y="208054"/>
                  </a:lnTo>
                  <a:cubicBezTo>
                    <a:pt x="11559" y="178614"/>
                    <a:pt x="19544" y="140965"/>
                    <a:pt x="23432" y="105100"/>
                  </a:cubicBezTo>
                  <a:cubicBezTo>
                    <a:pt x="23221" y="71020"/>
                    <a:pt x="17126" y="34619"/>
                    <a:pt x="693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err="1">
                <a:ln>
                  <a:solidFill>
                    <a:schemeClr val="tx1">
                      <a:alpha val="0"/>
                    </a:schemeClr>
                  </a:solidFill>
                </a:ln>
                <a:solidFill>
                  <a:schemeClr val="tx1"/>
                </a:solidFill>
              </a:endParaRPr>
            </a:p>
          </p:txBody>
        </p:sp>
        <p:sp>
          <p:nvSpPr>
            <p:cNvPr id="12" name="Oval 247"/>
            <p:cNvSpPr/>
            <p:nvPr/>
          </p:nvSpPr>
          <p:spPr bwMode="auto">
            <a:xfrm>
              <a:off x="8369395" y="1851903"/>
              <a:ext cx="482863" cy="482863"/>
            </a:xfrm>
            <a:custGeom>
              <a:avLst/>
              <a:gdLst/>
              <a:ahLst/>
              <a:cxnLst/>
              <a:rect l="l" t="t" r="r" b="b"/>
              <a:pathLst>
                <a:path w="573170" h="573170">
                  <a:moveTo>
                    <a:pt x="286585" y="47056"/>
                  </a:moveTo>
                  <a:cubicBezTo>
                    <a:pt x="154297" y="47056"/>
                    <a:pt x="47056" y="154297"/>
                    <a:pt x="47056" y="286585"/>
                  </a:cubicBezTo>
                  <a:cubicBezTo>
                    <a:pt x="47056" y="418873"/>
                    <a:pt x="154297" y="526114"/>
                    <a:pt x="286585" y="526114"/>
                  </a:cubicBezTo>
                  <a:cubicBezTo>
                    <a:pt x="418873" y="526114"/>
                    <a:pt x="526114" y="418873"/>
                    <a:pt x="526114" y="286585"/>
                  </a:cubicBezTo>
                  <a:cubicBezTo>
                    <a:pt x="526114" y="154297"/>
                    <a:pt x="418873" y="47056"/>
                    <a:pt x="286585" y="47056"/>
                  </a:cubicBezTo>
                  <a:close/>
                  <a:moveTo>
                    <a:pt x="286585" y="0"/>
                  </a:moveTo>
                  <a:cubicBezTo>
                    <a:pt x="444862" y="0"/>
                    <a:pt x="573170" y="128308"/>
                    <a:pt x="573170" y="286585"/>
                  </a:cubicBezTo>
                  <a:cubicBezTo>
                    <a:pt x="573170" y="444862"/>
                    <a:pt x="444862" y="573170"/>
                    <a:pt x="286585" y="573170"/>
                  </a:cubicBezTo>
                  <a:cubicBezTo>
                    <a:pt x="128308" y="573170"/>
                    <a:pt x="0" y="444862"/>
                    <a:pt x="0" y="286585"/>
                  </a:cubicBezTo>
                  <a:cubicBezTo>
                    <a:pt x="0" y="128308"/>
                    <a:pt x="128308" y="0"/>
                    <a:pt x="28658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err="1">
                <a:ln>
                  <a:solidFill>
                    <a:schemeClr val="tx1">
                      <a:alpha val="0"/>
                    </a:schemeClr>
                  </a:solidFill>
                </a:ln>
                <a:solidFill>
                  <a:schemeClr val="tx1"/>
                </a:solidFill>
              </a:endParaRPr>
            </a:p>
          </p:txBody>
        </p:sp>
        <p:sp>
          <p:nvSpPr>
            <p:cNvPr id="13" name="Freeform 257"/>
            <p:cNvSpPr>
              <a:spLocks/>
            </p:cNvSpPr>
            <p:nvPr/>
          </p:nvSpPr>
          <p:spPr bwMode="black">
            <a:xfrm>
              <a:off x="8477432" y="1892946"/>
              <a:ext cx="187186" cy="125197"/>
            </a:xfrm>
            <a:custGeom>
              <a:avLst/>
              <a:gdLst>
                <a:gd name="T0" fmla="*/ 39 w 42"/>
                <a:gd name="T1" fmla="*/ 7 h 28"/>
                <a:gd name="T2" fmla="*/ 39 w 42"/>
                <a:gd name="T3" fmla="*/ 7 h 28"/>
                <a:gd name="T4" fmla="*/ 1 w 42"/>
                <a:gd name="T5" fmla="*/ 20 h 28"/>
                <a:gd name="T6" fmla="*/ 3 w 42"/>
                <a:gd name="T7" fmla="*/ 27 h 28"/>
                <a:gd name="T8" fmla="*/ 10 w 42"/>
                <a:gd name="T9" fmla="*/ 24 h 28"/>
                <a:gd name="T10" fmla="*/ 35 w 42"/>
                <a:gd name="T11" fmla="*/ 15 h 28"/>
                <a:gd name="T12" fmla="*/ 41 w 42"/>
                <a:gd name="T13" fmla="*/ 13 h 28"/>
                <a:gd name="T14" fmla="*/ 39 w 42"/>
                <a:gd name="T15" fmla="*/ 7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8">
                  <a:moveTo>
                    <a:pt x="39" y="7"/>
                  </a:moveTo>
                  <a:cubicBezTo>
                    <a:pt x="39" y="7"/>
                    <a:pt x="39" y="7"/>
                    <a:pt x="39" y="7"/>
                  </a:cubicBezTo>
                  <a:cubicBezTo>
                    <a:pt x="25" y="0"/>
                    <a:pt x="8" y="6"/>
                    <a:pt x="1" y="20"/>
                  </a:cubicBezTo>
                  <a:cubicBezTo>
                    <a:pt x="0" y="23"/>
                    <a:pt x="1" y="25"/>
                    <a:pt x="3" y="27"/>
                  </a:cubicBezTo>
                  <a:cubicBezTo>
                    <a:pt x="6" y="28"/>
                    <a:pt x="8" y="27"/>
                    <a:pt x="10" y="24"/>
                  </a:cubicBezTo>
                  <a:cubicBezTo>
                    <a:pt x="14" y="15"/>
                    <a:pt x="25" y="11"/>
                    <a:pt x="35" y="15"/>
                  </a:cubicBezTo>
                  <a:cubicBezTo>
                    <a:pt x="37" y="16"/>
                    <a:pt x="40" y="15"/>
                    <a:pt x="41" y="13"/>
                  </a:cubicBezTo>
                  <a:cubicBezTo>
                    <a:pt x="42" y="11"/>
                    <a:pt x="41" y="8"/>
                    <a:pt x="39"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632">
                <a:ln>
                  <a:solidFill>
                    <a:schemeClr val="tx1">
                      <a:alpha val="0"/>
                    </a:schemeClr>
                  </a:solidFill>
                </a:ln>
              </a:endParaRPr>
            </a:p>
          </p:txBody>
        </p:sp>
        <p:grpSp>
          <p:nvGrpSpPr>
            <p:cNvPr id="14" name="Group 13"/>
            <p:cNvGrpSpPr/>
            <p:nvPr/>
          </p:nvGrpSpPr>
          <p:grpSpPr bwMode="black">
            <a:xfrm>
              <a:off x="8459235" y="1994058"/>
              <a:ext cx="303219" cy="246679"/>
              <a:chOff x="5184779" y="225425"/>
              <a:chExt cx="1500184" cy="1220787"/>
            </a:xfrm>
            <a:grpFill/>
          </p:grpSpPr>
          <p:sp>
            <p:nvSpPr>
              <p:cNvPr id="15" name="Freeform 86"/>
              <p:cNvSpPr>
                <a:spLocks noEditPoints="1"/>
              </p:cNvSpPr>
              <p:nvPr/>
            </p:nvSpPr>
            <p:spPr bwMode="black">
              <a:xfrm>
                <a:off x="5184779" y="344490"/>
                <a:ext cx="1095376" cy="1101722"/>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632">
                  <a:ln>
                    <a:solidFill>
                      <a:schemeClr val="tx1">
                        <a:alpha val="0"/>
                      </a:schemeClr>
                    </a:solidFill>
                  </a:ln>
                </a:endParaRPr>
              </a:p>
            </p:txBody>
          </p:sp>
          <p:sp>
            <p:nvSpPr>
              <p:cNvPr id="16" name="Oval 87"/>
              <p:cNvSpPr>
                <a:spLocks noChangeArrowheads="1"/>
              </p:cNvSpPr>
              <p:nvPr/>
            </p:nvSpPr>
            <p:spPr bwMode="black">
              <a:xfrm>
                <a:off x="5630869" y="812799"/>
                <a:ext cx="203201" cy="20320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632">
                  <a:ln>
                    <a:solidFill>
                      <a:schemeClr val="tx1">
                        <a:alpha val="0"/>
                      </a:schemeClr>
                    </a:solidFill>
                  </a:ln>
                </a:endParaRPr>
              </a:p>
            </p:txBody>
          </p:sp>
          <p:sp>
            <p:nvSpPr>
              <p:cNvPr id="17" name="Freeform 88"/>
              <p:cNvSpPr>
                <a:spLocks noEditPoints="1"/>
              </p:cNvSpPr>
              <p:nvPr/>
            </p:nvSpPr>
            <p:spPr bwMode="black">
              <a:xfrm>
                <a:off x="6129339" y="225425"/>
                <a:ext cx="555624" cy="598489"/>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endParaRPr lang="en-US" sz="1632">
                  <a:ln>
                    <a:solidFill>
                      <a:schemeClr val="tx1">
                        <a:alpha val="0"/>
                      </a:schemeClr>
                    </a:solidFill>
                  </a:ln>
                </a:endParaRPr>
              </a:p>
            </p:txBody>
          </p:sp>
        </p:grpSp>
      </p:grpSp>
      <p:sp>
        <p:nvSpPr>
          <p:cNvPr id="18" name="Rectangle 92166"/>
          <p:cNvSpPr/>
          <p:nvPr/>
        </p:nvSpPr>
        <p:spPr bwMode="auto">
          <a:xfrm flipV="1">
            <a:off x="10419072" y="2333208"/>
            <a:ext cx="634232" cy="739221"/>
          </a:xfrm>
          <a:custGeom>
            <a:avLst/>
            <a:gdLst/>
            <a:ahLst/>
            <a:cxnLst/>
            <a:rect l="l" t="t" r="r" b="b"/>
            <a:pathLst>
              <a:path w="822103" h="1128292">
                <a:moveTo>
                  <a:pt x="698119" y="563492"/>
                </a:moveTo>
                <a:lnTo>
                  <a:pt x="370918" y="284334"/>
                </a:lnTo>
                <a:lnTo>
                  <a:pt x="280941" y="205737"/>
                </a:lnTo>
                <a:lnTo>
                  <a:pt x="128851" y="379847"/>
                </a:lnTo>
                <a:lnTo>
                  <a:pt x="56929" y="317022"/>
                </a:lnTo>
                <a:lnTo>
                  <a:pt x="264169" y="79779"/>
                </a:lnTo>
                <a:cubicBezTo>
                  <a:pt x="269372" y="74505"/>
                  <a:pt x="274695" y="68970"/>
                  <a:pt x="280207" y="63224"/>
                </a:cubicBezTo>
                <a:lnTo>
                  <a:pt x="765173" y="487802"/>
                </a:lnTo>
                <a:lnTo>
                  <a:pt x="702684" y="559339"/>
                </a:lnTo>
                <a:close/>
                <a:moveTo>
                  <a:pt x="574455" y="1110341"/>
                </a:moveTo>
                <a:lnTo>
                  <a:pt x="574455" y="823073"/>
                </a:lnTo>
                <a:lnTo>
                  <a:pt x="803055" y="823073"/>
                </a:lnTo>
                <a:close/>
                <a:moveTo>
                  <a:pt x="0" y="1128292"/>
                </a:moveTo>
                <a:lnTo>
                  <a:pt x="593503" y="1128292"/>
                </a:lnTo>
                <a:lnTo>
                  <a:pt x="822103" y="841025"/>
                </a:lnTo>
                <a:lnTo>
                  <a:pt x="822103" y="0"/>
                </a:lnTo>
                <a:lnTo>
                  <a:pt x="0" y="0"/>
                </a:lnTo>
                <a:close/>
              </a:path>
            </a:pathLst>
          </a:custGeom>
          <a:solidFill>
            <a:schemeClr val="tx1"/>
          </a:solidFill>
          <a:ln w="19050" cap="flat" cmpd="sng" algn="ctr">
            <a:noFill/>
            <a:prstDash val="solid"/>
          </a:ln>
          <a:effectLst/>
        </p:spPr>
        <p:txBody>
          <a:bodyPr rtlCol="0" anchor="ctr"/>
          <a:lstStyle/>
          <a:p>
            <a:pPr algn="ctr" defTabSz="932418"/>
            <a:endParaRPr lang="en-US" sz="1836" kern="0" dirty="0" err="1">
              <a:ln>
                <a:solidFill>
                  <a:schemeClr val="tx1">
                    <a:alpha val="0"/>
                  </a:schemeClr>
                </a:solidFill>
              </a:ln>
            </a:endParaRPr>
          </a:p>
        </p:txBody>
      </p:sp>
    </p:spTree>
    <p:extLst>
      <p:ext uri="{BB962C8B-B14F-4D97-AF65-F5344CB8AC3E}">
        <p14:creationId xmlns:p14="http://schemas.microsoft.com/office/powerpoint/2010/main" val="2994630756"/>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520057" y="229066"/>
            <a:ext cx="11150336" cy="1679908"/>
          </a:xfrm>
        </p:spPr>
        <p:txBody>
          <a:bodyPr/>
          <a:lstStyle/>
          <a:p>
            <a:r>
              <a:rPr lang="en-US" dirty="0"/>
              <a:t>Data fundamentals</a:t>
            </a:r>
            <a:br>
              <a:rPr lang="en-US" dirty="0"/>
            </a:br>
            <a:r>
              <a:rPr lang="en-US" sz="3999" dirty="0"/>
              <a:t>http://msdn.microsoft.com/en-us/library/ms954587.aspx</a:t>
            </a:r>
          </a:p>
        </p:txBody>
      </p:sp>
      <p:sp>
        <p:nvSpPr>
          <p:cNvPr id="14" name="Rectangle 13"/>
          <p:cNvSpPr/>
          <p:nvPr/>
        </p:nvSpPr>
        <p:spPr>
          <a:xfrm>
            <a:off x="3018293" y="2125858"/>
            <a:ext cx="8228432" cy="1051411"/>
          </a:xfrm>
          <a:prstGeom prst="rect">
            <a:avLst/>
          </a:prstGeom>
          <a:solidFill>
            <a:schemeClr val="accent1"/>
          </a:solidFill>
          <a:ln w="9525">
            <a:no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45713" rIns="91427" bIns="45713" numCol="1" rtlCol="0" anchor="ctr" anchorCtr="0" compatLnSpc="1">
            <a:prstTxWarp prst="textNoShape">
              <a:avLst/>
            </a:prstTxWarp>
          </a:bodyPr>
          <a:lstStyle/>
          <a:p>
            <a:pPr marL="226970" lvl="1" indent="-226970">
              <a:buSzPct val="100000"/>
              <a:buFont typeface="Arial" pitchFamily="34" charset="0"/>
              <a:buChar char="•"/>
            </a:pPr>
            <a:r>
              <a:rPr lang="en-US" dirty="0">
                <a:ln>
                  <a:solidFill>
                    <a:schemeClr val="tx1">
                      <a:alpha val="0"/>
                    </a:schemeClr>
                  </a:solidFill>
                </a:ln>
                <a:solidFill>
                  <a:schemeClr val="tx1"/>
                </a:solidFill>
              </a:rPr>
              <a:t>Immutable (versions)</a:t>
            </a:r>
          </a:p>
          <a:p>
            <a:pPr marL="226970" lvl="1" indent="-226970">
              <a:buSzPct val="100000"/>
              <a:buFont typeface="Arial" pitchFamily="34" charset="0"/>
              <a:buChar char="•"/>
            </a:pPr>
            <a:r>
              <a:rPr lang="en-US" dirty="0">
                <a:ln>
                  <a:solidFill>
                    <a:schemeClr val="tx1">
                      <a:alpha val="0"/>
                    </a:schemeClr>
                  </a:solidFill>
                </a:ln>
                <a:solidFill>
                  <a:schemeClr val="tx1"/>
                </a:solidFill>
              </a:rPr>
              <a:t>Requires open schema for </a:t>
            </a:r>
            <a:r>
              <a:rPr lang="en-US" dirty="0" err="1">
                <a:ln>
                  <a:solidFill>
                    <a:schemeClr val="tx1">
                      <a:alpha val="0"/>
                    </a:schemeClr>
                  </a:solidFill>
                </a:ln>
                <a:solidFill>
                  <a:schemeClr val="tx1"/>
                </a:solidFill>
              </a:rPr>
              <a:t>interop</a:t>
            </a:r>
            <a:endParaRPr lang="en-US" dirty="0">
              <a:ln>
                <a:solidFill>
                  <a:schemeClr val="tx1">
                    <a:alpha val="0"/>
                  </a:schemeClr>
                </a:solidFill>
              </a:ln>
              <a:solidFill>
                <a:schemeClr val="tx1"/>
              </a:solidFill>
            </a:endParaRPr>
          </a:p>
          <a:p>
            <a:pPr marL="226970" lvl="1" indent="-226970">
              <a:buSzPct val="100000"/>
              <a:buFont typeface="Arial" pitchFamily="34" charset="0"/>
              <a:buChar char="•"/>
            </a:pPr>
            <a:r>
              <a:rPr lang="en-US" dirty="0">
                <a:ln>
                  <a:solidFill>
                    <a:schemeClr val="tx1">
                      <a:alpha val="0"/>
                    </a:schemeClr>
                  </a:solidFill>
                </a:ln>
                <a:solidFill>
                  <a:schemeClr val="tx1"/>
                </a:solidFill>
              </a:rPr>
              <a:t>Models (e.g. demographics) are common insight-related reference data</a:t>
            </a:r>
          </a:p>
        </p:txBody>
      </p:sp>
      <p:sp>
        <p:nvSpPr>
          <p:cNvPr id="16" name="Rectangle 15"/>
          <p:cNvSpPr/>
          <p:nvPr/>
        </p:nvSpPr>
        <p:spPr>
          <a:xfrm>
            <a:off x="3018293" y="3228965"/>
            <a:ext cx="8228432" cy="1051411"/>
          </a:xfrm>
          <a:prstGeom prst="rect">
            <a:avLst/>
          </a:prstGeom>
          <a:solidFill>
            <a:schemeClr val="accent2"/>
          </a:solidFill>
          <a:ln w="9525">
            <a:no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45713" rIns="91427" bIns="45713" numCol="1" rtlCol="0" anchor="ctr" anchorCtr="0" compatLnSpc="1">
            <a:prstTxWarp prst="textNoShape">
              <a:avLst/>
            </a:prstTxWarp>
          </a:bodyPr>
          <a:lstStyle/>
          <a:p>
            <a:pPr marL="226970" lvl="1" indent="-226970">
              <a:buSzPct val="100000"/>
              <a:buFont typeface="Arial" pitchFamily="34" charset="0"/>
              <a:buChar char="•"/>
            </a:pPr>
            <a:r>
              <a:rPr lang="en-US" dirty="0">
                <a:ln>
                  <a:solidFill>
                    <a:schemeClr val="tx1">
                      <a:alpha val="0"/>
                    </a:schemeClr>
                  </a:solidFill>
                </a:ln>
                <a:solidFill>
                  <a:schemeClr val="tx1"/>
                </a:solidFill>
              </a:rPr>
              <a:t>Low concurrency updates (e.g. shopping basket)</a:t>
            </a:r>
          </a:p>
          <a:p>
            <a:pPr marL="226970" lvl="1" indent="-226970">
              <a:buSzPct val="100000"/>
              <a:buFont typeface="Arial" pitchFamily="34" charset="0"/>
              <a:buChar char="•"/>
            </a:pPr>
            <a:r>
              <a:rPr lang="en-US" dirty="0">
                <a:ln>
                  <a:solidFill>
                    <a:schemeClr val="tx1">
                      <a:alpha val="0"/>
                    </a:schemeClr>
                  </a:solidFill>
                </a:ln>
                <a:solidFill>
                  <a:schemeClr val="tx1"/>
                </a:solidFill>
              </a:rPr>
              <a:t>Ideal encapsulation concept for devices apps</a:t>
            </a:r>
          </a:p>
        </p:txBody>
      </p:sp>
      <p:sp>
        <p:nvSpPr>
          <p:cNvPr id="18" name="Rectangle 17"/>
          <p:cNvSpPr/>
          <p:nvPr/>
        </p:nvSpPr>
        <p:spPr>
          <a:xfrm>
            <a:off x="3018293" y="4332071"/>
            <a:ext cx="8228432" cy="1051411"/>
          </a:xfrm>
          <a:prstGeom prst="rect">
            <a:avLst/>
          </a:prstGeom>
          <a:solidFill>
            <a:schemeClr val="accent3"/>
          </a:solidFill>
          <a:ln w="9525">
            <a:no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45713" rIns="91427" bIns="45713" numCol="1" rtlCol="0" anchor="ctr" anchorCtr="0" compatLnSpc="1">
            <a:prstTxWarp prst="textNoShape">
              <a:avLst/>
            </a:prstTxWarp>
          </a:bodyPr>
          <a:lstStyle/>
          <a:p>
            <a:pPr marL="226970" lvl="1" indent="-226970">
              <a:buSzPct val="100000"/>
              <a:buFont typeface="Arial" pitchFamily="34" charset="0"/>
              <a:buChar char="•"/>
            </a:pPr>
            <a:r>
              <a:rPr lang="en-US" dirty="0">
                <a:ln>
                  <a:solidFill>
                    <a:schemeClr val="tx1">
                      <a:alpha val="0"/>
                    </a:schemeClr>
                  </a:solidFill>
                </a:ln>
                <a:solidFill>
                  <a:schemeClr val="tx1"/>
                </a:solidFill>
              </a:rPr>
              <a:t>Entity data (RESTful design)</a:t>
            </a:r>
          </a:p>
          <a:p>
            <a:pPr marL="226970" lvl="1" indent="-226970">
              <a:buSzPct val="100000"/>
              <a:buFont typeface="Arial" pitchFamily="34" charset="0"/>
              <a:buChar char="•"/>
            </a:pPr>
            <a:r>
              <a:rPr lang="en-US" dirty="0">
                <a:ln>
                  <a:solidFill>
                    <a:schemeClr val="tx1">
                      <a:alpha val="0"/>
                    </a:schemeClr>
                  </a:solidFill>
                </a:ln>
                <a:solidFill>
                  <a:schemeClr val="tx1"/>
                </a:solidFill>
              </a:rPr>
              <a:t>Could either be: Reference Data, Activity Data (reload from cloud), Notifications (real-time or batched)</a:t>
            </a:r>
          </a:p>
        </p:txBody>
      </p:sp>
      <p:sp>
        <p:nvSpPr>
          <p:cNvPr id="20" name="Rectangle 19"/>
          <p:cNvSpPr/>
          <p:nvPr/>
        </p:nvSpPr>
        <p:spPr>
          <a:xfrm>
            <a:off x="3018293" y="5435179"/>
            <a:ext cx="8228432" cy="1051411"/>
          </a:xfrm>
          <a:prstGeom prst="rect">
            <a:avLst/>
          </a:prstGeom>
          <a:solidFill>
            <a:schemeClr val="accent4"/>
          </a:solidFill>
          <a:ln w="9525">
            <a:no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7" tIns="45713" rIns="91427" bIns="45713" numCol="1" rtlCol="0" anchor="ctr" anchorCtr="0" compatLnSpc="1">
            <a:prstTxWarp prst="textNoShape">
              <a:avLst/>
            </a:prstTxWarp>
          </a:bodyPr>
          <a:lstStyle/>
          <a:p>
            <a:pPr marL="226970" lvl="1" indent="-226970">
              <a:buSzPct val="100000"/>
              <a:buFont typeface="Arial" pitchFamily="34" charset="0"/>
              <a:buChar char="•"/>
            </a:pPr>
            <a:r>
              <a:rPr lang="en-US" dirty="0">
                <a:ln>
                  <a:solidFill>
                    <a:schemeClr val="tx1">
                      <a:alpha val="0"/>
                    </a:schemeClr>
                  </a:solidFill>
                </a:ln>
                <a:solidFill>
                  <a:schemeClr val="tx1"/>
                </a:solidFill>
              </a:rPr>
              <a:t>Not part of apps on devices</a:t>
            </a:r>
          </a:p>
          <a:p>
            <a:pPr marL="226970" lvl="1" indent="-226970">
              <a:buSzPct val="100000"/>
              <a:buFont typeface="Arial" pitchFamily="34" charset="0"/>
              <a:buChar char="•"/>
            </a:pPr>
            <a:r>
              <a:rPr lang="en-US" dirty="0">
                <a:ln>
                  <a:solidFill>
                    <a:schemeClr val="tx1">
                      <a:alpha val="0"/>
                    </a:schemeClr>
                  </a:solidFill>
                </a:ln>
                <a:solidFill>
                  <a:schemeClr val="tx1"/>
                </a:solidFill>
              </a:rPr>
              <a:t>Highly concurrent update (e.g. inventory)</a:t>
            </a:r>
          </a:p>
          <a:p>
            <a:pPr marL="226970" lvl="1" indent="-226970">
              <a:buSzPct val="100000"/>
              <a:buFont typeface="Arial" pitchFamily="34" charset="0"/>
              <a:buChar char="•"/>
            </a:pPr>
            <a:r>
              <a:rPr lang="en-US" dirty="0">
                <a:ln>
                  <a:solidFill>
                    <a:schemeClr val="tx1">
                      <a:alpha val="0"/>
                    </a:schemeClr>
                  </a:solidFill>
                </a:ln>
                <a:solidFill>
                  <a:schemeClr val="tx1"/>
                </a:solidFill>
              </a:rPr>
              <a:t>Should live in worker role</a:t>
            </a:r>
          </a:p>
        </p:txBody>
      </p:sp>
      <p:sp>
        <p:nvSpPr>
          <p:cNvPr id="15" name="Rectangle 14"/>
          <p:cNvSpPr/>
          <p:nvPr/>
        </p:nvSpPr>
        <p:spPr>
          <a:xfrm>
            <a:off x="275482" y="2125858"/>
            <a:ext cx="2697097" cy="1051411"/>
          </a:xfrm>
          <a:prstGeom prst="rect">
            <a:avLst/>
          </a:prstGeom>
          <a:solidFill>
            <a:schemeClr val="accent1"/>
          </a:solidFill>
          <a:ln>
            <a:noFill/>
          </a:ln>
          <a:effectLst/>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91427" tIns="45713" rIns="91427" bIns="45713" numCol="1" spcCol="1270" anchor="ctr" anchorCtr="0">
            <a:noAutofit/>
          </a:bodyPr>
          <a:lstStyle/>
          <a:p>
            <a:pPr algn="ctr" defTabSz="1377685"/>
            <a:r>
              <a:rPr lang="en-US" sz="2800" dirty="0">
                <a:ln>
                  <a:solidFill>
                    <a:schemeClr val="tx1">
                      <a:alpha val="0"/>
                    </a:schemeClr>
                  </a:solidFill>
                </a:ln>
                <a:solidFill>
                  <a:schemeClr val="tx1"/>
                </a:solidFill>
                <a:latin typeface="+mj-lt"/>
              </a:rPr>
              <a:t>Reference Data</a:t>
            </a:r>
          </a:p>
        </p:txBody>
      </p:sp>
      <p:sp>
        <p:nvSpPr>
          <p:cNvPr id="17" name="Rectangle 16"/>
          <p:cNvSpPr/>
          <p:nvPr/>
        </p:nvSpPr>
        <p:spPr>
          <a:xfrm>
            <a:off x="275482" y="3228965"/>
            <a:ext cx="2697097" cy="1051411"/>
          </a:xfrm>
          <a:prstGeom prst="rect">
            <a:avLst/>
          </a:prstGeom>
          <a:solidFill>
            <a:schemeClr val="accent2"/>
          </a:solidFill>
          <a:ln>
            <a:noFill/>
          </a:ln>
          <a:effectLst/>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91427" tIns="45713" rIns="91427" bIns="45713" numCol="1" spcCol="1270" anchor="ctr" anchorCtr="0">
            <a:noAutofit/>
          </a:bodyPr>
          <a:lstStyle/>
          <a:p>
            <a:pPr algn="ctr" defTabSz="1377685"/>
            <a:r>
              <a:rPr lang="en-US" sz="2800" dirty="0">
                <a:ln>
                  <a:solidFill>
                    <a:schemeClr val="tx1">
                      <a:alpha val="0"/>
                    </a:schemeClr>
                  </a:solidFill>
                </a:ln>
                <a:solidFill>
                  <a:schemeClr val="tx1"/>
                </a:solidFill>
                <a:latin typeface="+mj-lt"/>
              </a:rPr>
              <a:t>Activity Data</a:t>
            </a:r>
          </a:p>
        </p:txBody>
      </p:sp>
      <p:sp>
        <p:nvSpPr>
          <p:cNvPr id="19" name="Rectangle 18"/>
          <p:cNvSpPr/>
          <p:nvPr/>
        </p:nvSpPr>
        <p:spPr>
          <a:xfrm>
            <a:off x="275482" y="4332071"/>
            <a:ext cx="2697097" cy="1051411"/>
          </a:xfrm>
          <a:prstGeom prst="rect">
            <a:avLst/>
          </a:prstGeom>
          <a:solidFill>
            <a:schemeClr val="accent3"/>
          </a:solidFill>
          <a:ln>
            <a:noFill/>
          </a:ln>
          <a:effectLst/>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91427" tIns="45713" rIns="91427" bIns="45713" numCol="1" spcCol="1270" anchor="ctr" anchorCtr="0">
            <a:noAutofit/>
          </a:bodyPr>
          <a:lstStyle/>
          <a:p>
            <a:pPr algn="ctr" defTabSz="1377685"/>
            <a:r>
              <a:rPr lang="en-US" sz="2800" dirty="0">
                <a:ln>
                  <a:solidFill>
                    <a:schemeClr val="tx1">
                      <a:alpha val="0"/>
                    </a:schemeClr>
                  </a:solidFill>
                </a:ln>
                <a:solidFill>
                  <a:schemeClr val="tx1"/>
                </a:solidFill>
                <a:latin typeface="+mj-lt"/>
              </a:rPr>
              <a:t>Messages</a:t>
            </a:r>
            <a:br>
              <a:rPr lang="en-US" sz="2800" dirty="0">
                <a:ln>
                  <a:solidFill>
                    <a:schemeClr val="tx1">
                      <a:alpha val="0"/>
                    </a:schemeClr>
                  </a:solidFill>
                </a:ln>
                <a:solidFill>
                  <a:schemeClr val="tx1"/>
                </a:solidFill>
                <a:latin typeface="+mj-lt"/>
              </a:rPr>
            </a:br>
            <a:r>
              <a:rPr lang="en-US" sz="2800" dirty="0">
                <a:ln>
                  <a:solidFill>
                    <a:schemeClr val="tx1">
                      <a:alpha val="0"/>
                    </a:schemeClr>
                  </a:solidFill>
                </a:ln>
                <a:solidFill>
                  <a:schemeClr val="tx1"/>
                </a:solidFill>
                <a:latin typeface="+mj-lt"/>
              </a:rPr>
              <a:t>(data exchange)</a:t>
            </a:r>
          </a:p>
        </p:txBody>
      </p:sp>
      <p:sp>
        <p:nvSpPr>
          <p:cNvPr id="21" name="Rectangle 20"/>
          <p:cNvSpPr/>
          <p:nvPr/>
        </p:nvSpPr>
        <p:spPr>
          <a:xfrm>
            <a:off x="275482" y="5435179"/>
            <a:ext cx="2697097" cy="1051411"/>
          </a:xfrm>
          <a:prstGeom prst="rect">
            <a:avLst/>
          </a:prstGeom>
          <a:solidFill>
            <a:schemeClr val="accent4"/>
          </a:solidFill>
          <a:ln>
            <a:noFill/>
          </a:ln>
          <a:effectLst/>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91427" tIns="45713" rIns="91427" bIns="45713" numCol="1" spcCol="1270" anchor="ctr" anchorCtr="0">
            <a:noAutofit/>
          </a:bodyPr>
          <a:lstStyle/>
          <a:p>
            <a:pPr algn="ctr" defTabSz="1377685"/>
            <a:r>
              <a:rPr lang="en-US" sz="2800" dirty="0">
                <a:ln>
                  <a:solidFill>
                    <a:schemeClr val="tx1">
                      <a:alpha val="0"/>
                    </a:schemeClr>
                  </a:solidFill>
                </a:ln>
                <a:solidFill>
                  <a:schemeClr val="tx1"/>
                </a:solidFill>
                <a:latin typeface="+mj-lt"/>
              </a:rPr>
              <a:t>Resource (shared) Data</a:t>
            </a:r>
          </a:p>
        </p:txBody>
      </p:sp>
    </p:spTree>
    <p:extLst>
      <p:ext uri="{BB962C8B-B14F-4D97-AF65-F5344CB8AC3E}">
        <p14:creationId xmlns:p14="http://schemas.microsoft.com/office/powerpoint/2010/main" val="4147405810"/>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5"/>
          <p:cNvSpPr txBox="1">
            <a:spLocks/>
          </p:cNvSpPr>
          <p:nvPr/>
        </p:nvSpPr>
        <p:spPr>
          <a:xfrm>
            <a:off x="444855" y="322296"/>
            <a:ext cx="11089600" cy="1831975"/>
          </a:xfrm>
          <a:prstGeom prst="rect">
            <a:avLst/>
          </a:prstGeom>
        </p:spPr>
        <p:txBody>
          <a:bodyPr/>
          <a:lst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6119" dirty="0">
                <a:solidFill>
                  <a:srgbClr val="FFFFFF"/>
                </a:solidFill>
              </a:rPr>
              <a:t>D</a:t>
            </a:r>
            <a:r>
              <a:rPr sz="6119" dirty="0">
                <a:solidFill>
                  <a:srgbClr val="FFFFFF"/>
                </a:solidFill>
              </a:rPr>
              <a:t>evices change the picture</a:t>
            </a:r>
          </a:p>
        </p:txBody>
      </p:sp>
      <p:sp>
        <p:nvSpPr>
          <p:cNvPr id="9" name="Oval 8"/>
          <p:cNvSpPr/>
          <p:nvPr/>
        </p:nvSpPr>
        <p:spPr bwMode="auto">
          <a:xfrm>
            <a:off x="7653713" y="1796632"/>
            <a:ext cx="3689270" cy="3689270"/>
          </a:xfrm>
          <a:prstGeom prst="ellipse">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Oval 11"/>
          <p:cNvSpPr/>
          <p:nvPr/>
        </p:nvSpPr>
        <p:spPr bwMode="auto">
          <a:xfrm>
            <a:off x="2560966" y="2733807"/>
            <a:ext cx="1814919" cy="1814919"/>
          </a:xfrm>
          <a:prstGeom prst="ellipse">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Oval 10"/>
          <p:cNvSpPr/>
          <p:nvPr/>
        </p:nvSpPr>
        <p:spPr bwMode="auto">
          <a:xfrm>
            <a:off x="4695897" y="2347509"/>
            <a:ext cx="2587518" cy="2587518"/>
          </a:xfrm>
          <a:prstGeom prst="ellipse">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Oval 12"/>
          <p:cNvSpPr/>
          <p:nvPr/>
        </p:nvSpPr>
        <p:spPr bwMode="auto">
          <a:xfrm>
            <a:off x="1395213" y="3453831"/>
            <a:ext cx="374871" cy="374871"/>
          </a:xfrm>
          <a:prstGeom prst="ellipse">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pic>
        <p:nvPicPr>
          <p:cNvPr id="4" name="Original" hidden="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4213" y="1618341"/>
            <a:ext cx="11507783" cy="5005885"/>
          </a:xfrm>
          <a:prstGeom prst="rect">
            <a:avLst/>
          </a:prstGeom>
        </p:spPr>
      </p:pic>
      <p:pic>
        <p:nvPicPr>
          <p:cNvPr id="5" name="Picture 4"/>
          <p:cNvPicPr>
            <a:picLocks noChangeAspect="1"/>
          </p:cNvPicPr>
          <p:nvPr/>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616032" y="2758951"/>
            <a:ext cx="1764632" cy="1764632"/>
          </a:xfrm>
          <a:prstGeom prst="rect">
            <a:avLst/>
          </a:prstGeom>
        </p:spPr>
      </p:pic>
      <p:pic>
        <p:nvPicPr>
          <p:cNvPr id="6" name="Picture 5"/>
          <p:cNvPicPr>
            <a:picLocks noChangeAspect="1"/>
          </p:cNvPicPr>
          <p:nvPr/>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6619" y="2758951"/>
            <a:ext cx="1764632" cy="1764632"/>
          </a:xfrm>
          <a:prstGeom prst="rect">
            <a:avLst/>
          </a:prstGeom>
        </p:spPr>
      </p:pic>
      <p:pic>
        <p:nvPicPr>
          <p:cNvPr id="7" name="Picture 6"/>
          <p:cNvPicPr>
            <a:picLocks noChangeAspect="1"/>
          </p:cNvPicPr>
          <p:nvPr/>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586110" y="2758951"/>
            <a:ext cx="1764632" cy="1764632"/>
          </a:xfrm>
          <a:prstGeom prst="rect">
            <a:avLst/>
          </a:prstGeom>
        </p:spPr>
      </p:pic>
      <p:pic>
        <p:nvPicPr>
          <p:cNvPr id="8" name="Picture 7"/>
          <p:cNvPicPr>
            <a:picLocks noChangeAspect="1"/>
          </p:cNvPicPr>
          <p:nvPr/>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107339" y="2758951"/>
            <a:ext cx="1764632" cy="1764632"/>
          </a:xfrm>
          <a:prstGeom prst="rect">
            <a:avLst/>
          </a:prstGeom>
        </p:spPr>
      </p:pic>
      <p:sp>
        <p:nvSpPr>
          <p:cNvPr id="14" name="TextBox 13"/>
          <p:cNvSpPr txBox="1"/>
          <p:nvPr/>
        </p:nvSpPr>
        <p:spPr>
          <a:xfrm>
            <a:off x="864822" y="4443580"/>
            <a:ext cx="1408227" cy="820073"/>
          </a:xfrm>
          <a:prstGeom prst="rect">
            <a:avLst/>
          </a:prstGeom>
          <a:noFill/>
        </p:spPr>
        <p:txBody>
          <a:bodyPr wrap="square" lIns="186521" tIns="149217" rIns="186521" bIns="149217" rtlCol="0">
            <a:spAutoFit/>
          </a:bodyPr>
          <a:lstStyle/>
          <a:p>
            <a:pPr algn="ctr" defTabSz="932597">
              <a:lnSpc>
                <a:spcPct val="90000"/>
              </a:lnSpc>
              <a:spcAft>
                <a:spcPts val="612"/>
              </a:spcAft>
            </a:pPr>
            <a:r>
              <a:rPr lang="en-US" sz="3672" dirty="0">
                <a:solidFill>
                  <a:srgbClr val="FFFFFF"/>
                </a:solidFill>
                <a:latin typeface="Segoe UI Light"/>
              </a:rPr>
              <a:t>2003</a:t>
            </a:r>
          </a:p>
        </p:txBody>
      </p:sp>
      <p:sp>
        <p:nvSpPr>
          <p:cNvPr id="15" name="TextBox 14"/>
          <p:cNvSpPr txBox="1"/>
          <p:nvPr/>
        </p:nvSpPr>
        <p:spPr>
          <a:xfrm>
            <a:off x="2764312" y="4681303"/>
            <a:ext cx="1408227" cy="820073"/>
          </a:xfrm>
          <a:prstGeom prst="rect">
            <a:avLst/>
          </a:prstGeom>
          <a:noFill/>
        </p:spPr>
        <p:txBody>
          <a:bodyPr wrap="square" lIns="186521" tIns="149217" rIns="186521" bIns="149217" rtlCol="0">
            <a:spAutoFit/>
          </a:bodyPr>
          <a:lstStyle/>
          <a:p>
            <a:pPr algn="ctr" defTabSz="932597">
              <a:lnSpc>
                <a:spcPct val="90000"/>
              </a:lnSpc>
              <a:spcAft>
                <a:spcPts val="612"/>
              </a:spcAft>
            </a:pPr>
            <a:r>
              <a:rPr lang="en-US" sz="3672" dirty="0">
                <a:solidFill>
                  <a:srgbClr val="FFFFFF"/>
                </a:solidFill>
                <a:latin typeface="Segoe UI Light"/>
              </a:rPr>
              <a:t>2010</a:t>
            </a:r>
          </a:p>
        </p:txBody>
      </p:sp>
      <p:sp>
        <p:nvSpPr>
          <p:cNvPr id="16" name="TextBox 15"/>
          <p:cNvSpPr txBox="1"/>
          <p:nvPr/>
        </p:nvSpPr>
        <p:spPr>
          <a:xfrm>
            <a:off x="5338883" y="5165891"/>
            <a:ext cx="1301546" cy="820073"/>
          </a:xfrm>
          <a:prstGeom prst="rect">
            <a:avLst/>
          </a:prstGeom>
          <a:noFill/>
        </p:spPr>
        <p:txBody>
          <a:bodyPr wrap="square" lIns="186521" tIns="149217" rIns="186521" bIns="149217" rtlCol="0">
            <a:spAutoFit/>
          </a:bodyPr>
          <a:lstStyle/>
          <a:p>
            <a:pPr algn="ctr" defTabSz="932597">
              <a:lnSpc>
                <a:spcPct val="90000"/>
              </a:lnSpc>
              <a:spcAft>
                <a:spcPts val="612"/>
              </a:spcAft>
            </a:pPr>
            <a:r>
              <a:rPr lang="en-US" sz="3672" dirty="0">
                <a:solidFill>
                  <a:srgbClr val="FFFFFF"/>
                </a:solidFill>
                <a:latin typeface="Segoe UI Light"/>
              </a:rPr>
              <a:t>2015</a:t>
            </a:r>
          </a:p>
        </p:txBody>
      </p:sp>
      <p:sp>
        <p:nvSpPr>
          <p:cNvPr id="17" name="TextBox 16"/>
          <p:cNvSpPr txBox="1"/>
          <p:nvPr/>
        </p:nvSpPr>
        <p:spPr>
          <a:xfrm>
            <a:off x="8794234" y="5595619"/>
            <a:ext cx="1408227" cy="820073"/>
          </a:xfrm>
          <a:prstGeom prst="rect">
            <a:avLst/>
          </a:prstGeom>
          <a:noFill/>
        </p:spPr>
        <p:txBody>
          <a:bodyPr wrap="square" lIns="186521" tIns="149217" rIns="186521" bIns="149217" rtlCol="0">
            <a:spAutoFit/>
          </a:bodyPr>
          <a:lstStyle/>
          <a:p>
            <a:pPr algn="ctr" defTabSz="932597">
              <a:lnSpc>
                <a:spcPct val="90000"/>
              </a:lnSpc>
              <a:spcAft>
                <a:spcPts val="612"/>
              </a:spcAft>
            </a:pPr>
            <a:r>
              <a:rPr lang="en-US" sz="3672" dirty="0">
                <a:solidFill>
                  <a:srgbClr val="FFFFFF"/>
                </a:solidFill>
                <a:latin typeface="Segoe UI Light"/>
              </a:rPr>
              <a:t>2020</a:t>
            </a:r>
          </a:p>
        </p:txBody>
      </p:sp>
      <p:sp>
        <p:nvSpPr>
          <p:cNvPr id="18" name="TextBox 17"/>
          <p:cNvSpPr txBox="1"/>
          <p:nvPr/>
        </p:nvSpPr>
        <p:spPr>
          <a:xfrm>
            <a:off x="8371452" y="2075499"/>
            <a:ext cx="2285795" cy="820073"/>
          </a:xfrm>
          <a:prstGeom prst="rect">
            <a:avLst/>
          </a:prstGeom>
          <a:noFill/>
        </p:spPr>
        <p:txBody>
          <a:bodyPr wrap="square" lIns="186521" tIns="149217" rIns="186521" bIns="149217" rtlCol="0">
            <a:spAutoFit/>
          </a:bodyPr>
          <a:lstStyle/>
          <a:p>
            <a:pPr defTabSz="932597">
              <a:lnSpc>
                <a:spcPct val="90000"/>
              </a:lnSpc>
              <a:spcAft>
                <a:spcPts val="612"/>
              </a:spcAft>
            </a:pPr>
            <a:r>
              <a:rPr lang="en-US" sz="3672" dirty="0">
                <a:solidFill>
                  <a:srgbClr val="FFFFFF"/>
                </a:solidFill>
                <a:latin typeface="Segoe UI Light"/>
              </a:rPr>
              <a:t>50 billion</a:t>
            </a:r>
          </a:p>
        </p:txBody>
      </p:sp>
      <p:sp>
        <p:nvSpPr>
          <p:cNvPr id="10" name="TextBox 9"/>
          <p:cNvSpPr txBox="1"/>
          <p:nvPr/>
        </p:nvSpPr>
        <p:spPr>
          <a:xfrm>
            <a:off x="11342984" y="6000556"/>
            <a:ext cx="1092609" cy="555610"/>
          </a:xfrm>
          <a:prstGeom prst="rect">
            <a:avLst/>
          </a:prstGeom>
          <a:noFill/>
        </p:spPr>
        <p:txBody>
          <a:bodyPr wrap="square" lIns="186521" tIns="149217" rIns="186521" bIns="149217" rtlCol="0">
            <a:spAutoFit/>
          </a:bodyPr>
          <a:lstStyle/>
          <a:p>
            <a:pPr defTabSz="932597">
              <a:lnSpc>
                <a:spcPct val="90000"/>
              </a:lnSpc>
              <a:spcAft>
                <a:spcPts val="612"/>
              </a:spcAft>
            </a:pPr>
            <a:r>
              <a:rPr lang="en-US" sz="1836" i="1" dirty="0">
                <a:gradFill>
                  <a:gsLst>
                    <a:gs pos="2917">
                      <a:srgbClr val="505050"/>
                    </a:gs>
                    <a:gs pos="30000">
                      <a:srgbClr val="505050"/>
                    </a:gs>
                  </a:gsLst>
                  <a:lin ang="5400000" scaled="0"/>
                </a:gradFill>
              </a:rPr>
              <a:t>Cisco</a:t>
            </a:r>
            <a:endParaRPr lang="en-US" sz="2040" i="1" dirty="0">
              <a:gradFill>
                <a:gsLst>
                  <a:gs pos="2917">
                    <a:srgbClr val="505050"/>
                  </a:gs>
                  <a:gs pos="30000">
                    <a:srgbClr val="505050"/>
                  </a:gs>
                </a:gsLst>
                <a:lin ang="5400000" scaled="0"/>
              </a:gradFill>
            </a:endParaRPr>
          </a:p>
        </p:txBody>
      </p:sp>
    </p:spTree>
    <p:extLst>
      <p:ext uri="{BB962C8B-B14F-4D97-AF65-F5344CB8AC3E}">
        <p14:creationId xmlns:p14="http://schemas.microsoft.com/office/powerpoint/2010/main" val="35062951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500"/>
                                        <p:tgtEl>
                                          <p:spTgt spid="1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500"/>
                                        <p:tgtEl>
                                          <p:spTgt spid="16"/>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5"/>
                                        </p:tgtEl>
                                        <p:attrNameLst>
                                          <p:attrName>style.visibility</p:attrName>
                                        </p:attrNameLst>
                                      </p:cBhvr>
                                      <p:to>
                                        <p:strVal val="visible"/>
                                      </p:to>
                                    </p:set>
                                    <p:animEffect transition="in" filter="fade">
                                      <p:cBhvr>
                                        <p:cTn id="31" dur="500"/>
                                        <p:tgtEl>
                                          <p:spTgt spid="5"/>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17"/>
                                        </p:tgtEl>
                                        <p:attrNameLst>
                                          <p:attrName>style.visibility</p:attrName>
                                        </p:attrNameLst>
                                      </p:cBhvr>
                                      <p:to>
                                        <p:strVal val="visible"/>
                                      </p:to>
                                    </p:set>
                                    <p:animEffect transition="in" filter="fade">
                                      <p:cBhvr>
                                        <p:cTn id="35" dur="500"/>
                                        <p:tgtEl>
                                          <p:spTgt spid="17"/>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13"/>
                                        </p:tgtEl>
                                        <p:attrNameLst>
                                          <p:attrName>style.visibility</p:attrName>
                                        </p:attrNameLst>
                                      </p:cBhvr>
                                      <p:to>
                                        <p:strVal val="visible"/>
                                      </p:to>
                                    </p:set>
                                    <p:animEffect transition="in" filter="fade">
                                      <p:cBhvr>
                                        <p:cTn id="40" dur="500"/>
                                        <p:tgtEl>
                                          <p:spTgt spid="13"/>
                                        </p:tgtEl>
                                      </p:cBhvr>
                                    </p:animEffect>
                                  </p:childTnLst>
                                </p:cTn>
                              </p:par>
                            </p:childTnLst>
                          </p:cTn>
                        </p:par>
                        <p:par>
                          <p:cTn id="41" fill="hold">
                            <p:stCondLst>
                              <p:cond delay="500"/>
                            </p:stCondLst>
                            <p:childTnLst>
                              <p:par>
                                <p:cTn id="42" presetID="10" presetClass="entr" presetSubtype="0" fill="hold" grpId="0" nodeType="afterEffect">
                                  <p:stCondLst>
                                    <p:cond delay="0"/>
                                  </p:stCondLst>
                                  <p:childTnLst>
                                    <p:set>
                                      <p:cBhvr>
                                        <p:cTn id="43" dur="1" fill="hold">
                                          <p:stCondLst>
                                            <p:cond delay="0"/>
                                          </p:stCondLst>
                                        </p:cTn>
                                        <p:tgtEl>
                                          <p:spTgt spid="12"/>
                                        </p:tgtEl>
                                        <p:attrNameLst>
                                          <p:attrName>style.visibility</p:attrName>
                                        </p:attrNameLst>
                                      </p:cBhvr>
                                      <p:to>
                                        <p:strVal val="visible"/>
                                      </p:to>
                                    </p:set>
                                    <p:animEffect transition="in" filter="fade">
                                      <p:cBhvr>
                                        <p:cTn id="44" dur="500"/>
                                        <p:tgtEl>
                                          <p:spTgt spid="12"/>
                                        </p:tgtEl>
                                      </p:cBhvr>
                                    </p:animEffect>
                                  </p:childTnLst>
                                </p:cTn>
                              </p:par>
                            </p:childTnLst>
                          </p:cTn>
                        </p:par>
                        <p:par>
                          <p:cTn id="45" fill="hold">
                            <p:stCondLst>
                              <p:cond delay="1000"/>
                            </p:stCondLst>
                            <p:childTnLst>
                              <p:par>
                                <p:cTn id="46" presetID="10" presetClass="entr" presetSubtype="0" fill="hold" grpId="0" nodeType="afterEffect">
                                  <p:stCondLst>
                                    <p:cond delay="0"/>
                                  </p:stCondLst>
                                  <p:childTnLst>
                                    <p:set>
                                      <p:cBhvr>
                                        <p:cTn id="47" dur="1" fill="hold">
                                          <p:stCondLst>
                                            <p:cond delay="0"/>
                                          </p:stCondLst>
                                        </p:cTn>
                                        <p:tgtEl>
                                          <p:spTgt spid="11"/>
                                        </p:tgtEl>
                                        <p:attrNameLst>
                                          <p:attrName>style.visibility</p:attrName>
                                        </p:attrNameLst>
                                      </p:cBhvr>
                                      <p:to>
                                        <p:strVal val="visible"/>
                                      </p:to>
                                    </p:set>
                                    <p:animEffect transition="in" filter="fade">
                                      <p:cBhvr>
                                        <p:cTn id="48" dur="500"/>
                                        <p:tgtEl>
                                          <p:spTgt spid="11"/>
                                        </p:tgtEl>
                                      </p:cBhvr>
                                    </p:animEffect>
                                  </p:childTnLst>
                                </p:cTn>
                              </p:par>
                            </p:childTnLst>
                          </p:cTn>
                        </p:par>
                        <p:par>
                          <p:cTn id="49" fill="hold">
                            <p:stCondLst>
                              <p:cond delay="1500"/>
                            </p:stCondLst>
                            <p:childTnLst>
                              <p:par>
                                <p:cTn id="50" presetID="10" presetClass="entr" presetSubtype="0" fill="hold" grpId="0" nodeType="afterEffect">
                                  <p:stCondLst>
                                    <p:cond delay="0"/>
                                  </p:stCondLst>
                                  <p:childTnLst>
                                    <p:set>
                                      <p:cBhvr>
                                        <p:cTn id="51" dur="1" fill="hold">
                                          <p:stCondLst>
                                            <p:cond delay="0"/>
                                          </p:stCondLst>
                                        </p:cTn>
                                        <p:tgtEl>
                                          <p:spTgt spid="9"/>
                                        </p:tgtEl>
                                        <p:attrNameLst>
                                          <p:attrName>style.visibility</p:attrName>
                                        </p:attrNameLst>
                                      </p:cBhvr>
                                      <p:to>
                                        <p:strVal val="visible"/>
                                      </p:to>
                                    </p:set>
                                    <p:animEffect transition="in" filter="fade">
                                      <p:cBhvr>
                                        <p:cTn id="52" dur="500"/>
                                        <p:tgtEl>
                                          <p:spTgt spid="9"/>
                                        </p:tgtEl>
                                      </p:cBhvr>
                                    </p:animEffect>
                                  </p:childTnLst>
                                </p:cTn>
                              </p:par>
                            </p:childTnLst>
                          </p:cTn>
                        </p:par>
                        <p:par>
                          <p:cTn id="53" fill="hold">
                            <p:stCondLst>
                              <p:cond delay="2000"/>
                            </p:stCondLst>
                            <p:childTnLst>
                              <p:par>
                                <p:cTn id="54" presetID="10" presetClass="entr" presetSubtype="0" fill="hold" grpId="0" nodeType="afterEffect">
                                  <p:stCondLst>
                                    <p:cond delay="0"/>
                                  </p:stCondLst>
                                  <p:childTnLst>
                                    <p:set>
                                      <p:cBhvr>
                                        <p:cTn id="55" dur="1" fill="hold">
                                          <p:stCondLst>
                                            <p:cond delay="0"/>
                                          </p:stCondLst>
                                        </p:cTn>
                                        <p:tgtEl>
                                          <p:spTgt spid="18"/>
                                        </p:tgtEl>
                                        <p:attrNameLst>
                                          <p:attrName>style.visibility</p:attrName>
                                        </p:attrNameLst>
                                      </p:cBhvr>
                                      <p:to>
                                        <p:strVal val="visible"/>
                                      </p:to>
                                    </p:set>
                                    <p:animEffect transition="in" filter="fade">
                                      <p:cBhvr>
                                        <p:cTn id="56"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2" grpId="0" animBg="1"/>
      <p:bldP spid="11" grpId="0" animBg="1"/>
      <p:bldP spid="13" grpId="0" animBg="1"/>
      <p:bldP spid="14" grpId="0"/>
      <p:bldP spid="15" grpId="0"/>
      <p:bldP spid="16" grpId="0"/>
      <p:bldP spid="17" grpId="0"/>
      <p:bldP spid="18"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effectLst/>
        </p:spPr>
        <p:txBody>
          <a:bodyPr/>
          <a:lstStyle/>
          <a:p>
            <a:r>
              <a:rPr lang="en-US" dirty="0" smtClean="0"/>
              <a:t>Consuming insight</a:t>
            </a:r>
            <a:endParaRPr lang="en-US" dirty="0"/>
          </a:p>
        </p:txBody>
      </p:sp>
      <p:sp>
        <p:nvSpPr>
          <p:cNvPr id="4" name="Rectangle 3"/>
          <p:cNvSpPr/>
          <p:nvPr>
            <p:custDataLst>
              <p:tags r:id="rId1"/>
            </p:custDataLst>
          </p:nvPr>
        </p:nvSpPr>
        <p:spPr bwMode="auto">
          <a:xfrm>
            <a:off x="3018293" y="2116719"/>
            <a:ext cx="8228432" cy="1417119"/>
          </a:xfrm>
          <a:prstGeom prst="rect">
            <a:avLst/>
          </a:prstGeom>
          <a:solidFill>
            <a:schemeClr val="accent1"/>
          </a:solidFill>
          <a:ln w="9525">
            <a:noFill/>
            <a:prstDash val="soli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7" tIns="45713" rIns="91427" bIns="45713" numCol="1" rtlCol="0" anchor="ctr" anchorCtr="0" compatLnSpc="1">
            <a:prstTxWarp prst="textNoShape">
              <a:avLst/>
            </a:prstTxWarp>
          </a:bodyPr>
          <a:lstStyle/>
          <a:p>
            <a:pPr marL="282520" lvl="1" indent="-282520">
              <a:spcBef>
                <a:spcPts val="600"/>
              </a:spcBef>
              <a:buSzPct val="100000"/>
              <a:buFont typeface="Arial" pitchFamily="34" charset="0"/>
              <a:buChar char="•"/>
            </a:pPr>
            <a:r>
              <a:rPr lang="en-US" sz="2000" dirty="0">
                <a:ln>
                  <a:solidFill>
                    <a:schemeClr val="tx1">
                      <a:alpha val="0"/>
                    </a:schemeClr>
                  </a:solidFill>
                </a:ln>
                <a:solidFill>
                  <a:schemeClr val="tx1"/>
                </a:solidFill>
              </a:rPr>
              <a:t>Inform the app or service about relevant changes in conditions, etc. </a:t>
            </a:r>
          </a:p>
        </p:txBody>
      </p:sp>
      <p:sp>
        <p:nvSpPr>
          <p:cNvPr id="5" name="Rectangle 4"/>
          <p:cNvSpPr/>
          <p:nvPr>
            <p:custDataLst>
              <p:tags r:id="rId2"/>
            </p:custDataLst>
          </p:nvPr>
        </p:nvSpPr>
        <p:spPr bwMode="auto">
          <a:xfrm>
            <a:off x="275483" y="3579551"/>
            <a:ext cx="2697097" cy="1417119"/>
          </a:xfrm>
          <a:prstGeom prst="rect">
            <a:avLst/>
          </a:prstGeom>
          <a:solidFill>
            <a:schemeClr val="accent2"/>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marL="0" lvl="1" algn="ctr" defTabSz="699348"/>
            <a:r>
              <a:rPr lang="en-US" sz="3199" dirty="0">
                <a:ln>
                  <a:solidFill>
                    <a:schemeClr val="tx1">
                      <a:alpha val="0"/>
                    </a:schemeClr>
                  </a:solidFill>
                </a:ln>
                <a:solidFill>
                  <a:schemeClr val="tx1"/>
                </a:solidFill>
                <a:latin typeface="Segoe UI Light" pitchFamily="34" charset="0"/>
              </a:rPr>
              <a:t>Command &amp; Control</a:t>
            </a:r>
          </a:p>
        </p:txBody>
      </p:sp>
      <p:sp>
        <p:nvSpPr>
          <p:cNvPr id="6" name="Rectangle 5"/>
          <p:cNvSpPr/>
          <p:nvPr>
            <p:custDataLst>
              <p:tags r:id="rId3"/>
            </p:custDataLst>
          </p:nvPr>
        </p:nvSpPr>
        <p:spPr bwMode="auto">
          <a:xfrm>
            <a:off x="3018293" y="3579551"/>
            <a:ext cx="8228432" cy="1417119"/>
          </a:xfrm>
          <a:prstGeom prst="rect">
            <a:avLst/>
          </a:prstGeom>
          <a:solidFill>
            <a:schemeClr val="accent2"/>
          </a:solidFill>
          <a:ln w="9525">
            <a:noFill/>
            <a:prstDash val="soli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7" tIns="45713" rIns="91427" bIns="45713" numCol="1" rtlCol="0" anchor="ctr" anchorCtr="0" compatLnSpc="1">
            <a:prstTxWarp prst="textNoShape">
              <a:avLst/>
            </a:prstTxWarp>
          </a:bodyPr>
          <a:lstStyle/>
          <a:p>
            <a:pPr marL="282520" lvl="1" indent="-282520">
              <a:spcBef>
                <a:spcPts val="600"/>
              </a:spcBef>
              <a:buSzPct val="100000"/>
              <a:buFont typeface="Arial" pitchFamily="34" charset="0"/>
              <a:buChar char="•"/>
            </a:pPr>
            <a:r>
              <a:rPr lang="en-US" sz="2000" dirty="0">
                <a:ln>
                  <a:solidFill>
                    <a:schemeClr val="tx1">
                      <a:alpha val="0"/>
                    </a:schemeClr>
                  </a:solidFill>
                </a:ln>
                <a:solidFill>
                  <a:schemeClr val="tx1"/>
                </a:solidFill>
              </a:rPr>
              <a:t>Reacting to external insights with immediate action inside the app</a:t>
            </a:r>
          </a:p>
        </p:txBody>
      </p:sp>
      <p:sp>
        <p:nvSpPr>
          <p:cNvPr id="7" name="Rectangle 6"/>
          <p:cNvSpPr/>
          <p:nvPr>
            <p:custDataLst>
              <p:tags r:id="rId4"/>
            </p:custDataLst>
          </p:nvPr>
        </p:nvSpPr>
        <p:spPr bwMode="auto">
          <a:xfrm>
            <a:off x="275483" y="5042384"/>
            <a:ext cx="2697097" cy="1417119"/>
          </a:xfrm>
          <a:prstGeom prst="rect">
            <a:avLst/>
          </a:prstGeom>
          <a:solidFill>
            <a:schemeClr val="accent3"/>
          </a:solidFill>
          <a:ln w="952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7" tIns="45713" rIns="91427" bIns="45713" numCol="1" rtlCol="0" anchor="ctr" anchorCtr="0" compatLnSpc="1">
            <a:prstTxWarp prst="textNoShape">
              <a:avLst/>
            </a:prstTxWarp>
            <a:noAutofit/>
          </a:bodyPr>
          <a:lstStyle/>
          <a:p>
            <a:pPr marL="0" lvl="1" algn="ctr" defTabSz="699348"/>
            <a:r>
              <a:rPr lang="en-US" sz="3199" dirty="0">
                <a:ln>
                  <a:solidFill>
                    <a:schemeClr val="tx1">
                      <a:alpha val="0"/>
                    </a:schemeClr>
                  </a:solidFill>
                </a:ln>
                <a:solidFill>
                  <a:schemeClr val="tx1"/>
                </a:solidFill>
                <a:latin typeface="Segoe UI Light" pitchFamily="34" charset="0"/>
              </a:rPr>
              <a:t>Enhanced Data</a:t>
            </a:r>
          </a:p>
        </p:txBody>
      </p:sp>
      <p:sp>
        <p:nvSpPr>
          <p:cNvPr id="8" name="Rectangle 7"/>
          <p:cNvSpPr/>
          <p:nvPr>
            <p:custDataLst>
              <p:tags r:id="rId5"/>
            </p:custDataLst>
          </p:nvPr>
        </p:nvSpPr>
        <p:spPr bwMode="auto">
          <a:xfrm>
            <a:off x="3018293" y="5042384"/>
            <a:ext cx="8228432" cy="1417119"/>
          </a:xfrm>
          <a:prstGeom prst="rect">
            <a:avLst/>
          </a:prstGeom>
          <a:solidFill>
            <a:schemeClr val="accent3"/>
          </a:solidFill>
          <a:ln w="9525">
            <a:noFill/>
            <a:prstDash val="soli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27" tIns="45713" rIns="91427" bIns="45713" numCol="1" rtlCol="0" anchor="ctr" anchorCtr="0" compatLnSpc="1">
            <a:prstTxWarp prst="textNoShape">
              <a:avLst/>
            </a:prstTxWarp>
          </a:bodyPr>
          <a:lstStyle/>
          <a:p>
            <a:pPr marL="282520" lvl="1" indent="-282520">
              <a:spcBef>
                <a:spcPts val="600"/>
              </a:spcBef>
              <a:buSzPct val="100000"/>
              <a:buFont typeface="Arial" pitchFamily="34" charset="0"/>
              <a:buChar char="•"/>
            </a:pPr>
            <a:r>
              <a:rPr lang="en-US" sz="2000" dirty="0">
                <a:ln>
                  <a:solidFill>
                    <a:schemeClr val="tx1">
                      <a:alpha val="0"/>
                    </a:schemeClr>
                  </a:solidFill>
                </a:ln>
                <a:solidFill>
                  <a:schemeClr val="tx1"/>
                </a:solidFill>
              </a:rPr>
              <a:t>Providing new or enhanced data or models for app or service</a:t>
            </a:r>
          </a:p>
          <a:p>
            <a:pPr marL="282520" lvl="1" indent="-282520">
              <a:spcBef>
                <a:spcPts val="600"/>
              </a:spcBef>
              <a:buSzPct val="100000"/>
              <a:buFont typeface="Arial" pitchFamily="34" charset="0"/>
              <a:buChar char="•"/>
            </a:pPr>
            <a:r>
              <a:rPr lang="en-US" sz="2000" dirty="0">
                <a:ln>
                  <a:solidFill>
                    <a:schemeClr val="tx1">
                      <a:alpha val="0"/>
                    </a:schemeClr>
                  </a:solidFill>
                </a:ln>
                <a:solidFill>
                  <a:schemeClr val="tx1"/>
                </a:solidFill>
              </a:rPr>
              <a:t>Spans the entire data landscape (see slide 5 for reference)</a:t>
            </a:r>
          </a:p>
        </p:txBody>
      </p:sp>
      <p:sp>
        <p:nvSpPr>
          <p:cNvPr id="10" name="Rectangle 9"/>
          <p:cNvSpPr/>
          <p:nvPr>
            <p:custDataLst>
              <p:tags r:id="rId6"/>
            </p:custDataLst>
          </p:nvPr>
        </p:nvSpPr>
        <p:spPr bwMode="auto">
          <a:xfrm>
            <a:off x="275481" y="2116719"/>
            <a:ext cx="2697097" cy="1417119"/>
          </a:xfrm>
          <a:prstGeom prst="rect">
            <a:avLst/>
          </a:prstGeom>
          <a:solidFill>
            <a:schemeClr val="accent1"/>
          </a:solidFill>
          <a:ln w="9525" cap="flat" cmpd="sng" algn="ctr">
            <a:noFill/>
            <a:prstDash val="solid"/>
            <a:headEnd type="none" w="med" len="med"/>
            <a:tailEnd type="none" w="med" len="med"/>
          </a:ln>
          <a:effectLst/>
        </p:spPr>
        <p:txBody>
          <a:bodyPr vert="horz" wrap="square" lIns="93247" tIns="46623" rIns="93247" bIns="46623" numCol="1" rtlCol="0" anchor="ctr" anchorCtr="0" compatLnSpc="1">
            <a:prstTxWarp prst="textNoShape">
              <a:avLst/>
            </a:prstTxWarp>
            <a:noAutofit/>
          </a:bodyPr>
          <a:lstStyle/>
          <a:p>
            <a:pPr marL="0" lvl="1" algn="ctr" defTabSz="699348">
              <a:buSzPct val="90000"/>
            </a:pPr>
            <a:r>
              <a:rPr lang="en-US" sz="3199" dirty="0">
                <a:ln>
                  <a:solidFill>
                    <a:schemeClr val="tx1">
                      <a:alpha val="0"/>
                    </a:schemeClr>
                  </a:solidFill>
                </a:ln>
                <a:latin typeface="Segoe UI Light" pitchFamily="34" charset="0"/>
              </a:rPr>
              <a:t>Inform</a:t>
            </a:r>
          </a:p>
        </p:txBody>
      </p:sp>
    </p:spTree>
    <p:extLst>
      <p:ext uri="{BB962C8B-B14F-4D97-AF65-F5344CB8AC3E}">
        <p14:creationId xmlns:p14="http://schemas.microsoft.com/office/powerpoint/2010/main" val="3604397870"/>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24" name="Content Placeholder 4"/>
          <p:cNvGraphicFramePr>
            <a:graphicFrameLocks/>
          </p:cNvGraphicFramePr>
          <p:nvPr>
            <p:extLst/>
          </p:nvPr>
        </p:nvGraphicFramePr>
        <p:xfrm>
          <a:off x="274637" y="830262"/>
          <a:ext cx="11887201" cy="5439620"/>
        </p:xfrm>
        <a:graphic>
          <a:graphicData uri="http://schemas.openxmlformats.org/drawingml/2006/table">
            <a:tbl>
              <a:tblPr firstRow="1" firstCol="1">
                <a:tableStyleId>{37CE84F3-28C3-443E-9E96-99CF82512B78}</a:tableStyleId>
              </a:tblPr>
              <a:tblGrid>
                <a:gridCol w="2475587"/>
                <a:gridCol w="3468014"/>
                <a:gridCol w="2529521"/>
                <a:gridCol w="3414079"/>
              </a:tblGrid>
              <a:tr h="381425">
                <a:tc>
                  <a:txBody>
                    <a:bodyPr/>
                    <a:lstStyle/>
                    <a:p>
                      <a:pPr marL="0" indent="0" algn="ctr" defTabSz="914363" rtl="0" eaLnBrk="1" latinLnBrk="0" hangingPunct="1">
                        <a:lnSpc>
                          <a:spcPct val="100000"/>
                        </a:lnSpc>
                        <a:spcBef>
                          <a:spcPts val="0"/>
                        </a:spcBef>
                        <a:buSzPct val="90000"/>
                        <a:buFont typeface="Wingdings" pitchFamily="2" charset="2"/>
                        <a:buNone/>
                      </a:pPr>
                      <a:r>
                        <a:rPr lang="en-US" sz="2800" b="0" kern="1200" spc="0" dirty="0" smtClean="0">
                          <a:ln>
                            <a:solidFill>
                              <a:schemeClr val="tx1">
                                <a:alpha val="0"/>
                              </a:schemeClr>
                            </a:solidFill>
                          </a:ln>
                          <a:solidFill>
                            <a:schemeClr val="tx1"/>
                          </a:solidFill>
                          <a:latin typeface="+mj-lt"/>
                          <a:ea typeface="+mn-ea"/>
                          <a:cs typeface="+mn-cs"/>
                        </a:rPr>
                        <a:t>Progression level</a:t>
                      </a:r>
                    </a:p>
                  </a:txBody>
                  <a:tcPr marL="93260" marR="93260" marT="46630" marB="46630" anchor="ctr">
                    <a:lnL w="9525"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indent="0" algn="ctr" defTabSz="914363" rtl="0" eaLnBrk="1" latinLnBrk="0" hangingPunct="1">
                        <a:lnSpc>
                          <a:spcPct val="100000"/>
                        </a:lnSpc>
                        <a:spcBef>
                          <a:spcPts val="0"/>
                        </a:spcBef>
                        <a:buSzPct val="90000"/>
                        <a:buFont typeface="Wingdings" pitchFamily="2" charset="2"/>
                        <a:buNone/>
                      </a:pPr>
                      <a:r>
                        <a:rPr lang="en-US" sz="2800" b="0" kern="1200" spc="0" dirty="0" smtClean="0">
                          <a:ln>
                            <a:solidFill>
                              <a:schemeClr val="tx1">
                                <a:alpha val="0"/>
                              </a:schemeClr>
                            </a:solidFill>
                          </a:ln>
                          <a:solidFill>
                            <a:schemeClr val="tx1"/>
                          </a:solidFill>
                          <a:latin typeface="+mj-lt"/>
                          <a:ea typeface="+mn-ea"/>
                          <a:cs typeface="+mn-cs"/>
                        </a:rPr>
                        <a:t>Device focus</a:t>
                      </a:r>
                    </a:p>
                  </a:txBody>
                  <a:tcPr marL="93260" marR="93260" marT="46630" marB="46630" anchor="ctr">
                    <a:lnL w="9525"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indent="0" algn="ctr" defTabSz="914363" rtl="0" eaLnBrk="1" latinLnBrk="0" hangingPunct="1">
                        <a:lnSpc>
                          <a:spcPct val="100000"/>
                        </a:lnSpc>
                        <a:spcBef>
                          <a:spcPts val="0"/>
                        </a:spcBef>
                        <a:buSzPct val="90000"/>
                        <a:buFont typeface="Wingdings" pitchFamily="2" charset="2"/>
                        <a:buNone/>
                      </a:pPr>
                      <a:r>
                        <a:rPr lang="en-US" sz="2800" b="0" kern="1200" spc="0" dirty="0" smtClean="0">
                          <a:ln>
                            <a:solidFill>
                              <a:schemeClr val="tx1">
                                <a:alpha val="0"/>
                              </a:schemeClr>
                            </a:solidFill>
                          </a:ln>
                          <a:solidFill>
                            <a:schemeClr val="tx1"/>
                          </a:solidFill>
                          <a:latin typeface="+mj-lt"/>
                          <a:ea typeface="+mn-ea"/>
                          <a:cs typeface="+mn-cs"/>
                        </a:rPr>
                        <a:t>(+) focus</a:t>
                      </a:r>
                    </a:p>
                  </a:txBody>
                  <a:tcPr marL="93260" marR="93260" marT="46630" marB="46630" anchor="ctr">
                    <a:lnL>
                      <a:noFill/>
                    </a:lnL>
                    <a:lnR>
                      <a:noFill/>
                    </a:lnR>
                    <a:lnT w="9525" cap="flat" cmpd="sng" algn="ctr">
                      <a:noFill/>
                      <a:prstDash val="solid"/>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indent="0" algn="ctr" defTabSz="914363" rtl="0" eaLnBrk="1" latinLnBrk="0" hangingPunct="1">
                        <a:lnSpc>
                          <a:spcPct val="100000"/>
                        </a:lnSpc>
                        <a:spcBef>
                          <a:spcPts val="0"/>
                        </a:spcBef>
                        <a:buSzPct val="90000"/>
                        <a:buFont typeface="Wingdings" pitchFamily="2" charset="2"/>
                        <a:buNone/>
                      </a:pPr>
                      <a:r>
                        <a:rPr lang="en-US" sz="2800" b="0" kern="1200" spc="0" dirty="0" smtClean="0">
                          <a:ln>
                            <a:solidFill>
                              <a:schemeClr val="tx1">
                                <a:alpha val="0"/>
                              </a:schemeClr>
                            </a:solidFill>
                          </a:ln>
                          <a:solidFill>
                            <a:schemeClr val="tx1"/>
                          </a:solidFill>
                          <a:latin typeface="+mj-lt"/>
                          <a:ea typeface="+mn-ea"/>
                          <a:cs typeface="+mn-cs"/>
                        </a:rPr>
                        <a:t>Services focus</a:t>
                      </a:r>
                    </a:p>
                  </a:txBody>
                  <a:tcPr marL="93260" marR="93260" marT="46630" marB="46630" anchor="ctr">
                    <a:lnL>
                      <a:noFill/>
                    </a:lnL>
                    <a:lnR>
                      <a:noFill/>
                    </a:lnR>
                    <a:lnT w="9525" cap="flat" cmpd="sng" algn="ctr">
                      <a:noFill/>
                      <a:prstDash val="solid"/>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solidFill>
                  </a:tcPr>
                </a:tc>
              </a:tr>
              <a:tr h="826727">
                <a:tc>
                  <a:txBody>
                    <a:bodyPr/>
                    <a:lstStyle/>
                    <a:p>
                      <a:pPr algn="ctr">
                        <a:lnSpc>
                          <a:spcPct val="100000"/>
                        </a:lnSpc>
                        <a:spcBef>
                          <a:spcPts val="0"/>
                        </a:spcBef>
                      </a:pPr>
                      <a:r>
                        <a:rPr lang="en-US" sz="2800" b="0" spc="0" dirty="0" smtClean="0">
                          <a:ln>
                            <a:solidFill>
                              <a:schemeClr val="tx1">
                                <a:alpha val="0"/>
                              </a:schemeClr>
                            </a:solidFill>
                          </a:ln>
                          <a:solidFill>
                            <a:schemeClr val="tx1"/>
                          </a:solidFill>
                          <a:effectLst/>
                          <a:latin typeface="+mj-lt"/>
                        </a:rPr>
                        <a:t>3</a:t>
                      </a:r>
                      <a:endParaRPr lang="en-US" sz="2800" b="0" spc="0" dirty="0">
                        <a:ln>
                          <a:solidFill>
                            <a:schemeClr val="tx1">
                              <a:alpha val="0"/>
                            </a:schemeClr>
                          </a:solidFill>
                        </a:ln>
                        <a:solidFill>
                          <a:schemeClr val="tx1"/>
                        </a:solidFill>
                        <a:effectLst/>
                        <a:latin typeface="+mj-lt"/>
                      </a:endParaRPr>
                    </a:p>
                  </a:txBody>
                  <a:tcPr marL="93260" marR="93260" marT="46630" marB="46630" anchor="ctr">
                    <a:lnL w="9525" cap="flat" cmpd="sng" algn="ctr">
                      <a:noFill/>
                      <a:prstDash val="solid"/>
                      <a:round/>
                      <a:headEnd type="none" w="med" len="med"/>
                      <a:tailEnd type="none" w="med" len="med"/>
                    </a:lnL>
                    <a:lnR w="25400" cmpd="sng">
                      <a:noFill/>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0" marR="0" lvl="0" indent="0" algn="l" defTabSz="932559" rtl="0" eaLnBrk="1" fontAlgn="auto" latinLnBrk="0" hangingPunct="1">
                        <a:lnSpc>
                          <a:spcPct val="100000"/>
                        </a:lnSpc>
                        <a:spcBef>
                          <a:spcPts val="450"/>
                        </a:spcBef>
                        <a:spcAft>
                          <a:spcPts val="0"/>
                        </a:spcAft>
                        <a:buClrTx/>
                        <a:buSzTx/>
                        <a:buFontTx/>
                        <a:buNone/>
                        <a:tabLst/>
                        <a:defRPr/>
                      </a:pPr>
                      <a:r>
                        <a:rPr kumimoji="0" lang="en-US" sz="20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t>Insight-enabled:</a:t>
                      </a:r>
                    </a:p>
                    <a:p>
                      <a:pPr marL="292100" marR="0" lvl="0" indent="-188913" algn="l" defTabSz="932559" rtl="0" eaLnBrk="1" fontAlgn="auto" latinLnBrk="0" hangingPunct="1">
                        <a:lnSpc>
                          <a:spcPct val="100000"/>
                        </a:lnSpc>
                        <a:spcBef>
                          <a:spcPts val="2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t>Telemetry: emitting events </a:t>
                      </a:r>
                    </a:p>
                    <a:p>
                      <a:pPr marL="292100" marR="0" lvl="0" indent="-188913" algn="l" defTabSz="932559" rtl="0" eaLnBrk="1" fontAlgn="auto" latinLnBrk="0" hangingPunct="1">
                        <a:lnSpc>
                          <a:spcPct val="100000"/>
                        </a:lnSpc>
                        <a:spcBef>
                          <a:spcPts val="2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t>Models: accept models and adjust based upon insight model</a:t>
                      </a:r>
                      <a:endParaRPr kumimoji="0" lang="en-US" sz="1400" b="0" i="0" u="none" strike="noStrike" kern="1200" cap="none" spc="0" normalizeH="0" baseline="0" noProof="0" dirty="0">
                        <a:ln>
                          <a:solidFill>
                            <a:schemeClr val="tx1">
                              <a:alpha val="0"/>
                            </a:schemeClr>
                          </a:solidFill>
                        </a:ln>
                        <a:solidFill>
                          <a:schemeClr val="tx1"/>
                        </a:solidFill>
                        <a:effectLst/>
                        <a:uLnTx/>
                        <a:uFillTx/>
                        <a:latin typeface="+mn-lt"/>
                        <a:ea typeface="+mn-ea"/>
                        <a:cs typeface="+mn-cs"/>
                      </a:endParaRPr>
                    </a:p>
                  </a:txBody>
                  <a:tcPr marL="93260" marR="93260" marT="46630" marB="46630" anchor="ctr">
                    <a:lnL w="9525" cap="flat" cmpd="sng" algn="ctr">
                      <a:noFill/>
                      <a:prstDash val="solid"/>
                      <a:round/>
                      <a:headEnd type="none" w="med" len="med"/>
                      <a:tailEnd type="none" w="med" len="med"/>
                    </a:lnL>
                    <a:lnR w="25400" cmpd="sng">
                      <a:noFill/>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0" marR="0" lvl="0" indent="0" algn="ctr" defTabSz="932559"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t>No change to 1</a:t>
                      </a:r>
                      <a:endParaRPr kumimoji="0" lang="en-US" sz="2000" b="0" i="0" u="none" strike="noStrike" kern="1200" cap="none" spc="0" normalizeH="0" baseline="0" noProof="0" dirty="0">
                        <a:ln>
                          <a:solidFill>
                            <a:schemeClr val="tx1">
                              <a:alpha val="0"/>
                            </a:schemeClr>
                          </a:solidFill>
                        </a:ln>
                        <a:solidFill>
                          <a:schemeClr val="tx1"/>
                        </a:solidFill>
                        <a:effectLst/>
                        <a:uLnTx/>
                        <a:uFillTx/>
                        <a:latin typeface="+mn-lt"/>
                        <a:ea typeface="+mn-ea"/>
                        <a:cs typeface="+mn-cs"/>
                      </a:endParaRPr>
                    </a:p>
                  </a:txBody>
                  <a:tcPr marL="93260" marR="93260" marT="46630" marB="46630" anchor="ctr">
                    <a:lnL w="25400" cmpd="sng">
                      <a:noFill/>
                    </a:lnL>
                    <a:lnR>
                      <a:noFill/>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188913" marR="0" lvl="0" indent="-188913" algn="l" defTabSz="932559" rtl="0" eaLnBrk="1" fontAlgn="auto" latinLnBrk="0" hangingPunct="1">
                        <a:lnSpc>
                          <a:spcPct val="100000"/>
                        </a:lnSpc>
                        <a:spcBef>
                          <a:spcPts val="75"/>
                        </a:spcBef>
                        <a:spcAft>
                          <a:spcPts val="150"/>
                        </a:spcAft>
                        <a:buClrTx/>
                        <a:buSzTx/>
                        <a:buFont typeface="Arial" panose="020B0604020202020204" pitchFamily="34" charset="0"/>
                        <a:buChar char="•"/>
                        <a:tabLst/>
                        <a:defRPr/>
                      </a:pPr>
                      <a:r>
                        <a:rPr kumimoji="0" lang="en-US" sz="14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t>Consumption of event data (mobile services? 2-way notifications?)</a:t>
                      </a:r>
                    </a:p>
                    <a:p>
                      <a:pPr marL="188913" marR="0" lvl="0" indent="-188913" algn="l" defTabSz="932559" rtl="0" eaLnBrk="1" fontAlgn="auto" latinLnBrk="0" hangingPunct="1">
                        <a:lnSpc>
                          <a:spcPct val="100000"/>
                        </a:lnSpc>
                        <a:spcBef>
                          <a:spcPts val="75"/>
                        </a:spcBef>
                        <a:spcAft>
                          <a:spcPts val="150"/>
                        </a:spcAft>
                        <a:buClrTx/>
                        <a:buSzTx/>
                        <a:buFont typeface="Arial" panose="020B0604020202020204" pitchFamily="34" charset="0"/>
                        <a:buChar char="•"/>
                        <a:tabLst/>
                        <a:defRPr/>
                      </a:pPr>
                      <a:r>
                        <a:rPr kumimoji="0" lang="en-US" sz="14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t>Model analysis</a:t>
                      </a:r>
                    </a:p>
                    <a:p>
                      <a:pPr marL="188913" marR="0" lvl="0" indent="-188913" algn="l" defTabSz="932559" rtl="0" eaLnBrk="1" fontAlgn="auto" latinLnBrk="0" hangingPunct="1">
                        <a:lnSpc>
                          <a:spcPct val="100000"/>
                        </a:lnSpc>
                        <a:spcBef>
                          <a:spcPts val="75"/>
                        </a:spcBef>
                        <a:spcAft>
                          <a:spcPts val="150"/>
                        </a:spcAft>
                        <a:buClrTx/>
                        <a:buSzTx/>
                        <a:buFont typeface="Arial" panose="020B0604020202020204" pitchFamily="34" charset="0"/>
                        <a:buChar char="•"/>
                        <a:tabLst/>
                        <a:defRPr/>
                      </a:pPr>
                      <a:r>
                        <a:rPr kumimoji="0" lang="en-US" sz="14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t>Model output: recommendations, etc.</a:t>
                      </a:r>
                      <a:endParaRPr kumimoji="0" lang="en-US" sz="1400" b="0" i="0" u="none" strike="noStrike" kern="1200" cap="none" spc="0" normalizeH="0" baseline="0" noProof="0" dirty="0">
                        <a:ln>
                          <a:solidFill>
                            <a:schemeClr val="tx1">
                              <a:alpha val="0"/>
                            </a:schemeClr>
                          </a:solidFill>
                        </a:ln>
                        <a:solidFill>
                          <a:schemeClr val="tx1"/>
                        </a:solidFill>
                        <a:effectLst/>
                        <a:uLnTx/>
                        <a:uFillTx/>
                        <a:latin typeface="+mn-lt"/>
                        <a:ea typeface="+mn-ea"/>
                        <a:cs typeface="+mn-cs"/>
                      </a:endParaRPr>
                    </a:p>
                  </a:txBody>
                  <a:tcPr marL="93260" marR="93260" marT="46630" marB="46630" anchor="ctr">
                    <a:lnL>
                      <a:noFill/>
                    </a:lnL>
                    <a:lnR>
                      <a:noFill/>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r>
              <a:tr h="826727">
                <a:tc>
                  <a:txBody>
                    <a:bodyPr/>
                    <a:lstStyle/>
                    <a:p>
                      <a:pPr algn="ctr">
                        <a:lnSpc>
                          <a:spcPct val="100000"/>
                        </a:lnSpc>
                        <a:spcBef>
                          <a:spcPts val="0"/>
                        </a:spcBef>
                      </a:pPr>
                      <a:r>
                        <a:rPr lang="en-US" sz="2800" b="0" spc="0" dirty="0" smtClean="0">
                          <a:ln>
                            <a:solidFill>
                              <a:schemeClr val="tx1">
                                <a:alpha val="0"/>
                              </a:schemeClr>
                            </a:solidFill>
                          </a:ln>
                          <a:solidFill>
                            <a:schemeClr val="tx1"/>
                          </a:solidFill>
                          <a:effectLst/>
                          <a:latin typeface="+mj-lt"/>
                        </a:rPr>
                        <a:t>2</a:t>
                      </a:r>
                      <a:endParaRPr lang="en-US" sz="2800" b="0" spc="0" dirty="0">
                        <a:ln>
                          <a:solidFill>
                            <a:schemeClr val="tx1">
                              <a:alpha val="0"/>
                            </a:schemeClr>
                          </a:solidFill>
                        </a:ln>
                        <a:solidFill>
                          <a:schemeClr val="tx1"/>
                        </a:solidFill>
                        <a:effectLst/>
                        <a:latin typeface="+mj-lt"/>
                      </a:endParaRPr>
                    </a:p>
                  </a:txBody>
                  <a:tcPr marL="93260" marR="93260" marT="46630" marB="46630" anchor="ctr">
                    <a:lnL w="9525" cap="flat" cmpd="sng" algn="ctr">
                      <a:noFill/>
                      <a:prstDash val="solid"/>
                      <a:round/>
                      <a:headEnd type="none" w="med" len="med"/>
                      <a:tailEnd type="none" w="med" len="med"/>
                    </a:lnL>
                    <a:lnR w="25400" cmpd="sng">
                      <a:noFill/>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0" marR="0" lvl="0" indent="0" algn="l" defTabSz="932559" rtl="0" eaLnBrk="1" fontAlgn="auto" latinLnBrk="0" hangingPunct="1">
                        <a:lnSpc>
                          <a:spcPct val="100000"/>
                        </a:lnSpc>
                        <a:spcBef>
                          <a:spcPts val="450"/>
                        </a:spcBef>
                        <a:spcAft>
                          <a:spcPts val="0"/>
                        </a:spcAft>
                        <a:buClrTx/>
                        <a:buSzTx/>
                        <a:buFontTx/>
                        <a:buNone/>
                        <a:tabLst/>
                        <a:defRPr/>
                      </a:pPr>
                      <a:r>
                        <a:rPr kumimoji="0" lang="en-US" sz="20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t>Social-enabled:</a:t>
                      </a:r>
                    </a:p>
                    <a:p>
                      <a:pPr marL="292100" marR="0" lvl="0" indent="-188913" algn="l" defTabSz="932559" rtl="0" eaLnBrk="1" fontAlgn="auto" latinLnBrk="0" hangingPunct="1">
                        <a:lnSpc>
                          <a:spcPct val="100000"/>
                        </a:lnSpc>
                        <a:spcBef>
                          <a:spcPts val="2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t>Consumer: social contracts (Windows - share/connected address books)</a:t>
                      </a:r>
                    </a:p>
                    <a:p>
                      <a:pPr marL="292100" marR="0" lvl="0" indent="-188913" algn="l" defTabSz="932559" rtl="0" eaLnBrk="1" fontAlgn="auto" latinLnBrk="0" hangingPunct="1">
                        <a:lnSpc>
                          <a:spcPct val="100000"/>
                        </a:lnSpc>
                        <a:spcBef>
                          <a:spcPts val="2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t>Enterprise: Open Graph API</a:t>
                      </a:r>
                      <a:endParaRPr kumimoji="0" lang="en-US" sz="1400" b="0" i="0" u="none" strike="noStrike" kern="1200" cap="none" spc="0" normalizeH="0" baseline="0" noProof="0" dirty="0">
                        <a:ln>
                          <a:solidFill>
                            <a:schemeClr val="tx1">
                              <a:alpha val="0"/>
                            </a:schemeClr>
                          </a:solidFill>
                        </a:ln>
                        <a:solidFill>
                          <a:schemeClr val="tx1"/>
                        </a:solidFill>
                        <a:effectLst/>
                        <a:uLnTx/>
                        <a:uFillTx/>
                        <a:latin typeface="+mn-lt"/>
                        <a:ea typeface="+mn-ea"/>
                        <a:cs typeface="+mn-cs"/>
                      </a:endParaRPr>
                    </a:p>
                  </a:txBody>
                  <a:tcPr marL="93260" marR="93260" marT="46630" marB="46630" anchor="ctr">
                    <a:lnL w="9525" cap="flat" cmpd="sng" algn="ctr">
                      <a:noFill/>
                      <a:prstDash val="solid"/>
                      <a:round/>
                      <a:headEnd type="none" w="med" len="med"/>
                      <a:tailEnd type="none" w="med" len="med"/>
                    </a:lnL>
                    <a:lnR w="25400" cmpd="sng">
                      <a:noFill/>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0" marR="0" lvl="0" indent="0" algn="ctr" defTabSz="932559"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t>No change to 1</a:t>
                      </a:r>
                      <a:endParaRPr kumimoji="0" lang="en-US" sz="2000" b="0" i="0" u="none" strike="noStrike" kern="1200" cap="none" spc="0" normalizeH="0" baseline="0" noProof="0" dirty="0">
                        <a:ln>
                          <a:solidFill>
                            <a:schemeClr val="tx1">
                              <a:alpha val="0"/>
                            </a:schemeClr>
                          </a:solidFill>
                        </a:ln>
                        <a:solidFill>
                          <a:schemeClr val="tx1"/>
                        </a:solidFill>
                        <a:effectLst/>
                        <a:uLnTx/>
                        <a:uFillTx/>
                        <a:latin typeface="+mn-lt"/>
                        <a:ea typeface="+mn-ea"/>
                        <a:cs typeface="+mn-cs"/>
                      </a:endParaRPr>
                    </a:p>
                  </a:txBody>
                  <a:tcPr marL="93260" marR="93260" marT="46630" marB="46630" anchor="ctr">
                    <a:lnL w="25400" cmpd="sng">
                      <a:noFill/>
                    </a:lnL>
                    <a:lnR>
                      <a:noFill/>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188913" marR="0" lvl="0" indent="-188913" algn="l" defTabSz="932559" rtl="0" eaLnBrk="1" fontAlgn="auto" latinLnBrk="0" hangingPunct="1">
                        <a:lnSpc>
                          <a:spcPct val="100000"/>
                        </a:lnSpc>
                        <a:spcBef>
                          <a:spcPts val="75"/>
                        </a:spcBef>
                        <a:spcAft>
                          <a:spcPts val="150"/>
                        </a:spcAft>
                        <a:buClrTx/>
                        <a:buSzTx/>
                        <a:buFont typeface="Arial" panose="020B0604020202020204" pitchFamily="34" charset="0"/>
                        <a:buChar char="•"/>
                        <a:tabLst/>
                        <a:defRPr/>
                      </a:pPr>
                      <a:r>
                        <a:rPr kumimoji="0" lang="en-US" sz="14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t>Open Graph API integration</a:t>
                      </a:r>
                    </a:p>
                    <a:p>
                      <a:pPr marL="188913" marR="0" lvl="0" indent="-188913" algn="l" defTabSz="932559" rtl="0" eaLnBrk="1" fontAlgn="auto" latinLnBrk="0" hangingPunct="1">
                        <a:lnSpc>
                          <a:spcPct val="100000"/>
                        </a:lnSpc>
                        <a:spcBef>
                          <a:spcPts val="75"/>
                        </a:spcBef>
                        <a:spcAft>
                          <a:spcPts val="150"/>
                        </a:spcAft>
                        <a:buClrTx/>
                        <a:buSzTx/>
                        <a:buFont typeface="Arial" panose="020B0604020202020204" pitchFamily="34" charset="0"/>
                        <a:buChar char="•"/>
                        <a:tabLst/>
                        <a:defRPr/>
                      </a:pPr>
                      <a:r>
                        <a:rPr kumimoji="0" lang="en-US" sz="14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t>Introduction of social signals against service objects or actions based upon signals</a:t>
                      </a:r>
                      <a:endParaRPr kumimoji="0" lang="en-US" sz="1400" b="0" i="0" u="none" strike="noStrike" kern="1200" cap="none" spc="0" normalizeH="0" baseline="0" noProof="0" dirty="0">
                        <a:ln>
                          <a:solidFill>
                            <a:schemeClr val="tx1">
                              <a:alpha val="0"/>
                            </a:schemeClr>
                          </a:solidFill>
                        </a:ln>
                        <a:solidFill>
                          <a:schemeClr val="tx1"/>
                        </a:solidFill>
                        <a:effectLst/>
                        <a:uLnTx/>
                        <a:uFillTx/>
                        <a:latin typeface="+mn-lt"/>
                        <a:ea typeface="+mn-ea"/>
                        <a:cs typeface="+mn-cs"/>
                      </a:endParaRPr>
                    </a:p>
                  </a:txBody>
                  <a:tcPr marL="93260" marR="93260" marT="46630" marB="46630" anchor="ctr">
                    <a:lnL>
                      <a:noFill/>
                    </a:lnL>
                    <a:lnR>
                      <a:noFill/>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r>
              <a:tr h="1018635">
                <a:tc>
                  <a:txBody>
                    <a:bodyPr/>
                    <a:lstStyle/>
                    <a:p>
                      <a:pPr algn="ctr">
                        <a:lnSpc>
                          <a:spcPct val="100000"/>
                        </a:lnSpc>
                        <a:spcBef>
                          <a:spcPts val="0"/>
                        </a:spcBef>
                      </a:pPr>
                      <a:r>
                        <a:rPr lang="en-US" sz="2800" b="0" spc="0" dirty="0" smtClean="0">
                          <a:ln>
                            <a:solidFill>
                              <a:schemeClr val="tx1">
                                <a:alpha val="0"/>
                              </a:schemeClr>
                            </a:solidFill>
                          </a:ln>
                          <a:solidFill>
                            <a:schemeClr val="bg1"/>
                          </a:solidFill>
                          <a:effectLst/>
                          <a:latin typeface="+mj-lt"/>
                        </a:rPr>
                        <a:t>1</a:t>
                      </a:r>
                      <a:endParaRPr lang="en-US" sz="2800" b="0" spc="0" dirty="0">
                        <a:ln>
                          <a:solidFill>
                            <a:schemeClr val="tx1">
                              <a:alpha val="0"/>
                            </a:schemeClr>
                          </a:solidFill>
                        </a:ln>
                        <a:solidFill>
                          <a:schemeClr val="bg1"/>
                        </a:solidFill>
                        <a:effectLst/>
                        <a:latin typeface="+mj-lt"/>
                      </a:endParaRPr>
                    </a:p>
                  </a:txBody>
                  <a:tcPr marL="93260" marR="93260" marT="46630" marB="46630" anchor="ctr">
                    <a:lnL w="9525" cap="flat" cmpd="sng" algn="ctr">
                      <a:noFill/>
                      <a:prstDash val="solid"/>
                      <a:round/>
                      <a:headEnd type="none" w="med" len="med"/>
                      <a:tailEnd type="none" w="med" len="med"/>
                    </a:lnL>
                    <a:lnR w="25400" cmpd="sng">
                      <a:noFill/>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932559" rtl="0" eaLnBrk="1" fontAlgn="auto" latinLnBrk="0" hangingPunct="1">
                        <a:lnSpc>
                          <a:spcPct val="100000"/>
                        </a:lnSpc>
                        <a:spcBef>
                          <a:spcPts val="450"/>
                        </a:spcBef>
                        <a:spcAft>
                          <a:spcPts val="0"/>
                        </a:spcAft>
                        <a:buClrTx/>
                        <a:buSzTx/>
                        <a:buFontTx/>
                        <a:buNone/>
                        <a:tabLst/>
                        <a:defRPr/>
                      </a:pPr>
                      <a:r>
                        <a:rPr kumimoji="0" lang="en-US" sz="2000" b="0" i="0" u="none" strike="noStrike" kern="1200" cap="none" spc="0" normalizeH="0" baseline="0" noProof="0" dirty="0" smtClean="0">
                          <a:ln>
                            <a:solidFill>
                              <a:schemeClr val="tx1">
                                <a:alpha val="0"/>
                              </a:schemeClr>
                            </a:solidFill>
                          </a:ln>
                          <a:solidFill>
                            <a:schemeClr val="bg1"/>
                          </a:solidFill>
                          <a:effectLst/>
                          <a:uLnTx/>
                          <a:uFillTx/>
                          <a:latin typeface="+mn-lt"/>
                          <a:ea typeface="+mn-ea"/>
                          <a:cs typeface="+mn-cs"/>
                        </a:rPr>
                        <a:t>Device App:</a:t>
                      </a:r>
                    </a:p>
                    <a:p>
                      <a:pPr marL="292100" marR="0" lvl="0" indent="-188913" algn="l" defTabSz="932559" rtl="0" eaLnBrk="1" fontAlgn="auto" latinLnBrk="0" hangingPunct="1">
                        <a:lnSpc>
                          <a:spcPct val="100000"/>
                        </a:lnSpc>
                        <a:spcBef>
                          <a:spcPts val="2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smtClean="0">
                          <a:ln>
                            <a:solidFill>
                              <a:schemeClr val="tx1">
                                <a:alpha val="0"/>
                              </a:schemeClr>
                            </a:solidFill>
                          </a:ln>
                          <a:solidFill>
                            <a:schemeClr val="bg1"/>
                          </a:solidFill>
                          <a:effectLst/>
                          <a:uLnTx/>
                          <a:uFillTx/>
                          <a:latin typeface="+mn-lt"/>
                          <a:ea typeface="+mn-ea"/>
                          <a:cs typeface="+mn-cs"/>
                        </a:rPr>
                        <a:t>Data and Settings are cached (Apps </a:t>
                      </a:r>
                      <a:br>
                        <a:rPr kumimoji="0" lang="en-US" sz="1400" b="0" i="0" u="none" strike="noStrike" kern="1200" cap="none" spc="0" normalizeH="0" baseline="0" noProof="0" dirty="0" smtClean="0">
                          <a:ln>
                            <a:solidFill>
                              <a:schemeClr val="tx1">
                                <a:alpha val="0"/>
                              </a:schemeClr>
                            </a:solidFill>
                          </a:ln>
                          <a:solidFill>
                            <a:schemeClr val="bg1"/>
                          </a:solidFill>
                          <a:effectLst/>
                          <a:uLnTx/>
                          <a:uFillTx/>
                          <a:latin typeface="+mn-lt"/>
                          <a:ea typeface="+mn-ea"/>
                          <a:cs typeface="+mn-cs"/>
                        </a:rPr>
                      </a:br>
                      <a:r>
                        <a:rPr kumimoji="0" lang="en-US" sz="1400" b="0" i="0" u="none" strike="noStrike" kern="1200" cap="none" spc="0" normalizeH="0" baseline="0" noProof="0" dirty="0" smtClean="0">
                          <a:ln>
                            <a:solidFill>
                              <a:schemeClr val="tx1">
                                <a:alpha val="0"/>
                              </a:schemeClr>
                            </a:solidFill>
                          </a:ln>
                          <a:solidFill>
                            <a:schemeClr val="bg1"/>
                          </a:solidFill>
                          <a:effectLst/>
                          <a:uLnTx/>
                          <a:uFillTx/>
                          <a:latin typeface="+mn-lt"/>
                          <a:ea typeface="+mn-ea"/>
                          <a:cs typeface="+mn-cs"/>
                        </a:rPr>
                        <a:t>&amp; Users)</a:t>
                      </a:r>
                    </a:p>
                    <a:p>
                      <a:pPr marL="292100" marR="0" lvl="0" indent="-188913" algn="l" defTabSz="932559" rtl="0" eaLnBrk="1" fontAlgn="auto" latinLnBrk="0" hangingPunct="1">
                        <a:lnSpc>
                          <a:spcPct val="100000"/>
                        </a:lnSpc>
                        <a:spcBef>
                          <a:spcPts val="2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smtClean="0">
                          <a:ln>
                            <a:solidFill>
                              <a:schemeClr val="tx1">
                                <a:alpha val="0"/>
                              </a:schemeClr>
                            </a:solidFill>
                          </a:ln>
                          <a:solidFill>
                            <a:schemeClr val="bg1"/>
                          </a:solidFill>
                          <a:effectLst/>
                          <a:uLnTx/>
                          <a:uFillTx/>
                          <a:latin typeface="+mn-lt"/>
                          <a:ea typeface="+mn-ea"/>
                          <a:cs typeface="+mn-cs"/>
                        </a:rPr>
                        <a:t>Notifications (Live tiles) are enabled</a:t>
                      </a:r>
                      <a:endParaRPr kumimoji="0" lang="en-US" sz="1400" b="0" i="0" u="none" strike="noStrike" kern="1200" cap="none" spc="0" normalizeH="0" baseline="0" noProof="0" dirty="0">
                        <a:ln>
                          <a:solidFill>
                            <a:schemeClr val="tx1">
                              <a:alpha val="0"/>
                            </a:schemeClr>
                          </a:solidFill>
                        </a:ln>
                        <a:solidFill>
                          <a:schemeClr val="bg1"/>
                        </a:solidFill>
                        <a:effectLst/>
                        <a:uLnTx/>
                        <a:uFillTx/>
                        <a:latin typeface="+mn-lt"/>
                        <a:ea typeface="+mn-ea"/>
                        <a:cs typeface="+mn-cs"/>
                      </a:endParaRPr>
                    </a:p>
                  </a:txBody>
                  <a:tcPr marL="93260" marR="93260" marT="46630" marB="46630" anchor="ctr">
                    <a:lnL w="9525" cap="flat" cmpd="sng" algn="ctr">
                      <a:noFill/>
                      <a:prstDash val="solid"/>
                      <a:round/>
                      <a:headEnd type="none" w="med" len="med"/>
                      <a:tailEnd type="none" w="med" len="med"/>
                    </a:lnL>
                    <a:lnR w="25400" cmpd="sng">
                      <a:noFill/>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88913" marR="0" lvl="0" indent="-188913" algn="l" defTabSz="93255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solidFill>
                              <a:schemeClr val="tx1">
                                <a:alpha val="0"/>
                              </a:schemeClr>
                            </a:solidFill>
                          </a:ln>
                          <a:solidFill>
                            <a:schemeClr val="bg1"/>
                          </a:solidFill>
                          <a:effectLst/>
                          <a:uLnTx/>
                          <a:uFillTx/>
                          <a:latin typeface="+mn-lt"/>
                          <a:ea typeface="+mn-ea"/>
                          <a:cs typeface="+mn-cs"/>
                        </a:rPr>
                        <a:t>HTTP/s</a:t>
                      </a:r>
                    </a:p>
                    <a:p>
                      <a:pPr marL="188913" marR="0" lvl="0" indent="-188913" algn="l" defTabSz="93255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solidFill>
                              <a:schemeClr val="tx1">
                                <a:alpha val="0"/>
                              </a:schemeClr>
                            </a:solidFill>
                          </a:ln>
                          <a:solidFill>
                            <a:schemeClr val="bg1"/>
                          </a:solidFill>
                          <a:effectLst/>
                          <a:uLnTx/>
                          <a:uFillTx/>
                          <a:latin typeface="+mn-lt"/>
                          <a:ea typeface="+mn-ea"/>
                          <a:cs typeface="+mn-cs"/>
                        </a:rPr>
                        <a:t>Azure mobile services</a:t>
                      </a:r>
                    </a:p>
                    <a:p>
                      <a:pPr marL="188913" marR="0" lvl="0" indent="-188913" algn="l" defTabSz="93255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solidFill>
                              <a:schemeClr val="tx1">
                                <a:alpha val="0"/>
                              </a:schemeClr>
                            </a:solidFill>
                          </a:ln>
                          <a:solidFill>
                            <a:schemeClr val="bg1"/>
                          </a:solidFill>
                          <a:effectLst/>
                          <a:uLnTx/>
                          <a:uFillTx/>
                          <a:latin typeface="+mn-lt"/>
                          <a:ea typeface="+mn-ea"/>
                          <a:cs typeface="+mn-cs"/>
                        </a:rPr>
                        <a:t>[ISB integration patterns]</a:t>
                      </a:r>
                    </a:p>
                    <a:p>
                      <a:pPr marL="188913" marR="0" lvl="0" indent="-188913" algn="l" defTabSz="93255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solidFill>
                              <a:schemeClr val="tx1">
                                <a:alpha val="0"/>
                              </a:schemeClr>
                            </a:solidFill>
                          </a:ln>
                          <a:solidFill>
                            <a:schemeClr val="bg1"/>
                          </a:solidFill>
                          <a:effectLst/>
                          <a:uLnTx/>
                          <a:uFillTx/>
                          <a:latin typeface="+mn-lt"/>
                          <a:ea typeface="+mn-ea"/>
                          <a:cs typeface="+mn-cs"/>
                        </a:rPr>
                        <a:t>[Service-specific RESTful API’s]</a:t>
                      </a:r>
                      <a:endParaRPr kumimoji="0" lang="en-US" sz="1400" b="0" i="0" u="none" strike="noStrike" kern="1200" cap="none" spc="0" normalizeH="0" baseline="0" noProof="0" dirty="0">
                        <a:ln>
                          <a:solidFill>
                            <a:schemeClr val="tx1">
                              <a:alpha val="0"/>
                            </a:schemeClr>
                          </a:solidFill>
                        </a:ln>
                        <a:solidFill>
                          <a:schemeClr val="bg1"/>
                        </a:solidFill>
                        <a:effectLst/>
                        <a:uLnTx/>
                        <a:uFillTx/>
                        <a:latin typeface="+mn-lt"/>
                        <a:ea typeface="+mn-ea"/>
                        <a:cs typeface="+mn-cs"/>
                      </a:endParaRPr>
                    </a:p>
                  </a:txBody>
                  <a:tcPr marL="93260" marR="93260" marT="46630" marB="46630" anchor="ctr">
                    <a:lnL w="25400" cmpd="sng">
                      <a:noFill/>
                    </a:lnL>
                    <a:lnR>
                      <a:noFill/>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88913" marR="0" lvl="0" indent="-188913" algn="l" defTabSz="93255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solidFill>
                              <a:schemeClr val="tx1">
                                <a:alpha val="0"/>
                              </a:schemeClr>
                            </a:solidFill>
                          </a:ln>
                          <a:solidFill>
                            <a:schemeClr val="bg1"/>
                          </a:solidFill>
                          <a:effectLst/>
                          <a:uLnTx/>
                          <a:uFillTx/>
                          <a:latin typeface="+mn-lt"/>
                          <a:ea typeface="+mn-ea"/>
                          <a:cs typeface="+mn-cs"/>
                        </a:rPr>
                        <a:t>One or more services are being accessed</a:t>
                      </a:r>
                    </a:p>
                    <a:p>
                      <a:pPr marL="188913" marR="0" lvl="0" indent="-188913" algn="l" defTabSz="93255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solidFill>
                              <a:schemeClr val="tx1">
                                <a:alpha val="0"/>
                              </a:schemeClr>
                            </a:solidFill>
                          </a:ln>
                          <a:solidFill>
                            <a:schemeClr val="bg1"/>
                          </a:solidFill>
                          <a:effectLst/>
                          <a:uLnTx/>
                          <a:uFillTx/>
                          <a:latin typeface="+mn-lt"/>
                          <a:ea typeface="+mn-ea"/>
                          <a:cs typeface="+mn-cs"/>
                        </a:rPr>
                        <a:t>Data is exchanged between app &amp; service(s)</a:t>
                      </a:r>
                      <a:endParaRPr kumimoji="0" lang="en-US" sz="1400" b="0" i="0" u="none" strike="noStrike" kern="1200" cap="none" spc="0" normalizeH="0" baseline="0" noProof="0" dirty="0">
                        <a:ln>
                          <a:solidFill>
                            <a:schemeClr val="tx1">
                              <a:alpha val="0"/>
                            </a:schemeClr>
                          </a:solidFill>
                        </a:ln>
                        <a:solidFill>
                          <a:schemeClr val="bg1"/>
                        </a:solidFill>
                        <a:effectLst/>
                        <a:uLnTx/>
                        <a:uFillTx/>
                        <a:latin typeface="+mn-lt"/>
                        <a:ea typeface="+mn-ea"/>
                        <a:cs typeface="+mn-cs"/>
                      </a:endParaRPr>
                    </a:p>
                  </a:txBody>
                  <a:tcPr marL="93260" marR="93260" marT="46630" marB="46630" anchor="ctr">
                    <a:lnL>
                      <a:noFill/>
                    </a:lnL>
                    <a:lnR>
                      <a:noFill/>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623639">
                <a:tc>
                  <a:txBody>
                    <a:bodyPr/>
                    <a:lstStyle/>
                    <a:p>
                      <a:pPr algn="ctr">
                        <a:lnSpc>
                          <a:spcPct val="100000"/>
                        </a:lnSpc>
                        <a:spcBef>
                          <a:spcPts val="0"/>
                        </a:spcBef>
                      </a:pPr>
                      <a:r>
                        <a:rPr lang="en-US" sz="2800" b="0" spc="0" dirty="0" smtClean="0">
                          <a:ln>
                            <a:solidFill>
                              <a:schemeClr val="tx1">
                                <a:alpha val="0"/>
                              </a:schemeClr>
                            </a:solidFill>
                          </a:ln>
                          <a:solidFill>
                            <a:schemeClr val="tx1"/>
                          </a:solidFill>
                          <a:effectLst/>
                          <a:latin typeface="+mj-lt"/>
                        </a:rPr>
                        <a:t>0</a:t>
                      </a:r>
                      <a:endParaRPr lang="en-US" sz="2800" b="0" spc="0" dirty="0">
                        <a:ln>
                          <a:solidFill>
                            <a:schemeClr val="tx1">
                              <a:alpha val="0"/>
                            </a:schemeClr>
                          </a:solidFill>
                        </a:ln>
                        <a:solidFill>
                          <a:schemeClr val="tx1"/>
                        </a:solidFill>
                        <a:effectLst/>
                        <a:latin typeface="+mj-lt"/>
                      </a:endParaRPr>
                    </a:p>
                  </a:txBody>
                  <a:tcPr marL="93260" marR="93260" marT="46630" marB="46630" anchor="ctr">
                    <a:lnL w="9525" cap="flat" cmpd="sng" algn="ctr">
                      <a:noFill/>
                      <a:prstDash val="solid"/>
                      <a:round/>
                      <a:headEnd type="none" w="med" len="med"/>
                      <a:tailEnd type="none" w="med" len="med"/>
                    </a:lnL>
                    <a:lnR w="25400" cmpd="sng">
                      <a:noFill/>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0" marR="0" lvl="0" indent="0" algn="l" defTabSz="932559"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t>Native Device App:</a:t>
                      </a:r>
                    </a:p>
                    <a:p>
                      <a:pPr marL="292100" marR="0" lvl="0" indent="-188913" algn="l" defTabSz="932559" rtl="0" eaLnBrk="1" fontAlgn="auto" latinLnBrk="0" hangingPunct="1">
                        <a:lnSpc>
                          <a:spcPct val="100000"/>
                        </a:lnSpc>
                        <a:spcBef>
                          <a:spcPts val="2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t>Data and Settings are cached (Apps </a:t>
                      </a:r>
                      <a:br>
                        <a:rPr kumimoji="0" lang="en-US" sz="14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br>
                      <a:r>
                        <a:rPr kumimoji="0" lang="en-US" sz="14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t>&amp; Users)</a:t>
                      </a:r>
                      <a:endParaRPr kumimoji="0" lang="en-US" sz="1400" b="0" i="0" u="none" strike="noStrike" kern="1200" cap="none" spc="0" normalizeH="0" baseline="0" noProof="0" dirty="0">
                        <a:ln>
                          <a:solidFill>
                            <a:schemeClr val="tx1">
                              <a:alpha val="0"/>
                            </a:schemeClr>
                          </a:solidFill>
                        </a:ln>
                        <a:solidFill>
                          <a:schemeClr val="tx1"/>
                        </a:solidFill>
                        <a:effectLst/>
                        <a:uLnTx/>
                        <a:uFillTx/>
                        <a:latin typeface="+mn-lt"/>
                        <a:ea typeface="+mn-ea"/>
                        <a:cs typeface="+mn-cs"/>
                      </a:endParaRPr>
                    </a:p>
                  </a:txBody>
                  <a:tcPr marL="93260" marR="93260" marT="46630" marB="46630" anchor="ctr">
                    <a:lnL w="9525" cap="flat" cmpd="sng" algn="ctr">
                      <a:noFill/>
                      <a:prstDash val="solid"/>
                      <a:round/>
                      <a:headEnd type="none" w="med" len="med"/>
                      <a:tailEnd type="none" w="med" len="med"/>
                    </a:lnL>
                    <a:lnR w="25400" cmpd="sng">
                      <a:noFill/>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0" marR="0" lvl="0" indent="0" algn="l" defTabSz="932559"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t>HTTP/s</a:t>
                      </a:r>
                    </a:p>
                    <a:p>
                      <a:pPr marL="0" marR="0" lvl="0" indent="0" algn="l" defTabSz="932559"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t>Simple RESTful API’s</a:t>
                      </a:r>
                      <a:endParaRPr kumimoji="0" lang="en-US" sz="2000" b="0" i="0" u="none" strike="noStrike" kern="1200" cap="none" spc="0" normalizeH="0" baseline="0" noProof="0" dirty="0">
                        <a:ln>
                          <a:solidFill>
                            <a:schemeClr val="tx1">
                              <a:alpha val="0"/>
                            </a:schemeClr>
                          </a:solidFill>
                        </a:ln>
                        <a:solidFill>
                          <a:schemeClr val="tx1"/>
                        </a:solidFill>
                        <a:effectLst/>
                        <a:uLnTx/>
                        <a:uFillTx/>
                        <a:latin typeface="+mn-lt"/>
                        <a:ea typeface="+mn-ea"/>
                        <a:cs typeface="+mn-cs"/>
                      </a:endParaRPr>
                    </a:p>
                  </a:txBody>
                  <a:tcPr marL="93260" marR="93260" marT="46630" marB="46630" anchor="ctr">
                    <a:lnL w="25400" cmpd="sng">
                      <a:noFill/>
                    </a:lnL>
                    <a:lnR>
                      <a:noFill/>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0" marR="0" lvl="0" indent="0" algn="l" defTabSz="932559"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t>Cloud storage: SkyDrive (default)</a:t>
                      </a:r>
                      <a:endParaRPr kumimoji="0" lang="en-US" sz="2000" b="0" i="0" u="none" strike="noStrike" kern="1200" cap="none" spc="0" normalizeH="0" baseline="0" noProof="0" dirty="0">
                        <a:ln>
                          <a:solidFill>
                            <a:schemeClr val="tx1">
                              <a:alpha val="0"/>
                            </a:schemeClr>
                          </a:solidFill>
                        </a:ln>
                        <a:solidFill>
                          <a:schemeClr val="tx1"/>
                        </a:solidFill>
                        <a:effectLst/>
                        <a:uLnTx/>
                        <a:uFillTx/>
                        <a:latin typeface="+mn-lt"/>
                        <a:ea typeface="+mn-ea"/>
                        <a:cs typeface="+mn-cs"/>
                      </a:endParaRPr>
                    </a:p>
                  </a:txBody>
                  <a:tcPr marL="93260" marR="93260" marT="46630" marB="46630" anchor="ctr">
                    <a:lnL>
                      <a:noFill/>
                    </a:lnL>
                    <a:lnR>
                      <a:noFill/>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r>
            </a:tbl>
          </a:graphicData>
        </a:graphic>
      </p:graphicFrame>
    </p:spTree>
    <p:extLst>
      <p:ext uri="{BB962C8B-B14F-4D97-AF65-F5344CB8AC3E}">
        <p14:creationId xmlns:p14="http://schemas.microsoft.com/office/powerpoint/2010/main" val="3414277854"/>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p:cNvGraphicFramePr>
          <p:nvPr>
            <p:custDataLst>
              <p:tags r:id="rId2"/>
            </p:custDataLst>
            <p:extLst/>
          </p:nvPr>
        </p:nvGraphicFramePr>
        <p:xfrm>
          <a:off x="5004" y="2117"/>
          <a:ext cx="1618" cy="1618"/>
        </p:xfrm>
        <a:graphic>
          <a:graphicData uri="http://schemas.openxmlformats.org/presentationml/2006/ole">
            <mc:AlternateContent xmlns:mc="http://schemas.openxmlformats.org/markup-compatibility/2006">
              <mc:Choice xmlns:v="urn:schemas-microsoft-com:vml" Requires="v">
                <p:oleObj spid="_x0000_s1331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5004" y="2117"/>
                        <a:ext cx="1618" cy="161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IN" dirty="0" smtClean="0"/>
              <a:t>The Social Platform Taxonomy </a:t>
            </a:r>
            <a:endParaRPr lang="en-US" dirty="0"/>
          </a:p>
        </p:txBody>
      </p:sp>
      <p:graphicFrame>
        <p:nvGraphicFramePr>
          <p:cNvPr id="3" name="Table 2"/>
          <p:cNvGraphicFramePr>
            <a:graphicFrameLocks noGrp="1"/>
          </p:cNvGraphicFramePr>
          <p:nvPr>
            <p:extLst/>
          </p:nvPr>
        </p:nvGraphicFramePr>
        <p:xfrm>
          <a:off x="275481" y="1211588"/>
          <a:ext cx="11885515" cy="5463996"/>
        </p:xfrm>
        <a:graphic>
          <a:graphicData uri="http://schemas.openxmlformats.org/drawingml/2006/table">
            <a:tbl>
              <a:tblPr firstRow="1" bandRow="1">
                <a:tableStyleId>{5C22544A-7EE6-4342-B048-85BDC9FD1C3A}</a:tableStyleId>
              </a:tblPr>
              <a:tblGrid>
                <a:gridCol w="3261661"/>
                <a:gridCol w="3656040"/>
                <a:gridCol w="2493252"/>
                <a:gridCol w="2474562"/>
              </a:tblGrid>
              <a:tr h="259662">
                <a:tc>
                  <a:txBody>
                    <a:bodyPr/>
                    <a:lstStyle/>
                    <a:p>
                      <a:pPr algn="l">
                        <a:lnSpc>
                          <a:spcPct val="100000"/>
                        </a:lnSpc>
                      </a:pPr>
                      <a:r>
                        <a:rPr lang="en-US" sz="1200" b="1" kern="0" dirty="0" smtClean="0">
                          <a:ln w="3175">
                            <a:noFill/>
                          </a:ln>
                          <a:gradFill>
                            <a:gsLst>
                              <a:gs pos="0">
                                <a:schemeClr val="tx1"/>
                              </a:gs>
                              <a:gs pos="100000">
                                <a:schemeClr val="tx1"/>
                              </a:gs>
                            </a:gsLst>
                            <a:lin ang="0" scaled="1"/>
                          </a:gradFill>
                          <a:effectLst/>
                          <a:latin typeface="+mn-lt"/>
                          <a:ea typeface="+mn-ea"/>
                          <a:cs typeface="+mn-cs"/>
                        </a:rPr>
                        <a:t>Microsoft social media platform taxonomy</a:t>
                      </a:r>
                    </a:p>
                  </a:txBody>
                  <a:tcPr marL="45713" marR="45713" marT="36571" marB="3657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algn="l">
                        <a:lnSpc>
                          <a:spcPct val="100000"/>
                        </a:lnSpc>
                      </a:pPr>
                      <a:r>
                        <a:rPr lang="en-US" sz="1200" b="1" kern="0" dirty="0" smtClean="0">
                          <a:ln w="3175">
                            <a:noFill/>
                          </a:ln>
                          <a:gradFill>
                            <a:gsLst>
                              <a:gs pos="0">
                                <a:schemeClr val="tx1"/>
                              </a:gs>
                              <a:gs pos="100000">
                                <a:schemeClr val="tx1"/>
                              </a:gs>
                            </a:gsLst>
                            <a:lin ang="0" scaled="1"/>
                          </a:gradFill>
                          <a:effectLst/>
                          <a:latin typeface="+mn-lt"/>
                          <a:ea typeface="+mn-ea"/>
                          <a:cs typeface="+mn-cs"/>
                        </a:rPr>
                        <a:t>User goals</a:t>
                      </a:r>
                      <a:endParaRPr lang="en-US" sz="1200" b="1" kern="0" dirty="0">
                        <a:ln w="3175">
                          <a:noFill/>
                        </a:ln>
                        <a:gradFill>
                          <a:gsLst>
                            <a:gs pos="0">
                              <a:schemeClr val="tx1"/>
                            </a:gs>
                            <a:gs pos="100000">
                              <a:schemeClr val="tx1"/>
                            </a:gs>
                          </a:gsLst>
                          <a:lin ang="0" scaled="1"/>
                        </a:gradFill>
                        <a:effectLst/>
                        <a:latin typeface="+mn-lt"/>
                        <a:ea typeface="+mn-ea"/>
                        <a:cs typeface="+mn-cs"/>
                      </a:endParaRPr>
                    </a:p>
                  </a:txBody>
                  <a:tcPr marL="45713" marR="45713" marT="36571" marB="3657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algn="l">
                        <a:lnSpc>
                          <a:spcPct val="100000"/>
                        </a:lnSpc>
                      </a:pPr>
                      <a:r>
                        <a:rPr lang="en-US" sz="1200" b="1" kern="0" dirty="0" smtClean="0">
                          <a:ln w="3175">
                            <a:noFill/>
                          </a:ln>
                          <a:gradFill>
                            <a:gsLst>
                              <a:gs pos="0">
                                <a:schemeClr val="tx1"/>
                              </a:gs>
                              <a:gs pos="100000">
                                <a:schemeClr val="tx1"/>
                              </a:gs>
                            </a:gsLst>
                            <a:lin ang="0" scaled="1"/>
                          </a:gradFill>
                          <a:effectLst/>
                          <a:latin typeface="+mn-lt"/>
                          <a:ea typeface="+mn-ea"/>
                          <a:cs typeface="+mn-cs"/>
                        </a:rPr>
                        <a:t>Company goals</a:t>
                      </a:r>
                      <a:endParaRPr lang="en-US" sz="1200" b="1" kern="0" dirty="0">
                        <a:ln w="3175">
                          <a:noFill/>
                        </a:ln>
                        <a:gradFill>
                          <a:gsLst>
                            <a:gs pos="0">
                              <a:schemeClr val="tx1"/>
                            </a:gs>
                            <a:gs pos="100000">
                              <a:schemeClr val="tx1"/>
                            </a:gs>
                          </a:gsLst>
                          <a:lin ang="0" scaled="1"/>
                        </a:gradFill>
                        <a:effectLst/>
                        <a:latin typeface="+mn-lt"/>
                        <a:ea typeface="+mn-ea"/>
                        <a:cs typeface="+mn-cs"/>
                      </a:endParaRPr>
                    </a:p>
                  </a:txBody>
                  <a:tcPr marL="45713" marR="45713" marT="36571" marB="3657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algn="l">
                        <a:lnSpc>
                          <a:spcPct val="100000"/>
                        </a:lnSpc>
                      </a:pPr>
                      <a:r>
                        <a:rPr lang="en-US" sz="1200" b="1" kern="0" dirty="0" smtClean="0">
                          <a:ln w="3175">
                            <a:noFill/>
                          </a:ln>
                          <a:gradFill>
                            <a:gsLst>
                              <a:gs pos="0">
                                <a:schemeClr val="tx1"/>
                              </a:gs>
                              <a:gs pos="100000">
                                <a:schemeClr val="tx1"/>
                              </a:gs>
                            </a:gsLst>
                            <a:lin ang="0" scaled="1"/>
                          </a:gradFill>
                          <a:effectLst/>
                          <a:latin typeface="+mn-lt"/>
                          <a:ea typeface="+mn-ea"/>
                          <a:cs typeface="+mn-cs"/>
                        </a:rPr>
                        <a:t>Sample platforms</a:t>
                      </a:r>
                      <a:endParaRPr lang="en-US" sz="1200" b="1" kern="0" dirty="0">
                        <a:ln w="3175">
                          <a:noFill/>
                        </a:ln>
                        <a:gradFill>
                          <a:gsLst>
                            <a:gs pos="0">
                              <a:schemeClr val="tx1"/>
                            </a:gs>
                            <a:gs pos="100000">
                              <a:schemeClr val="tx1"/>
                            </a:gs>
                          </a:gsLst>
                          <a:lin ang="0" scaled="1"/>
                        </a:gradFill>
                        <a:effectLst/>
                        <a:latin typeface="+mn-lt"/>
                        <a:ea typeface="+mn-ea"/>
                        <a:cs typeface="+mn-cs"/>
                      </a:endParaRPr>
                    </a:p>
                  </a:txBody>
                  <a:tcPr marL="45713" marR="45713" marT="36571" marB="3657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2">
                        <a:lumMod val="50000"/>
                      </a:schemeClr>
                    </a:solidFill>
                  </a:tcPr>
                </a:tc>
              </a:tr>
              <a:tr h="586073">
                <a:tc>
                  <a:txBody>
                    <a:bodyPr/>
                    <a:lstStyle/>
                    <a:p>
                      <a:pPr marL="0" marR="0" lvl="1" indent="0" algn="l" defTabSz="914400" rtl="0" eaLnBrk="1" fontAlgn="auto" latinLnBrk="0" hangingPunct="1">
                        <a:lnSpc>
                          <a:spcPct val="100000"/>
                        </a:lnSpc>
                        <a:spcBef>
                          <a:spcPts val="100"/>
                        </a:spcBef>
                        <a:spcAft>
                          <a:spcPts val="0"/>
                        </a:spcAft>
                        <a:buClrTx/>
                        <a:buSzTx/>
                        <a:buFontTx/>
                        <a:buNone/>
                        <a:tabLst/>
                        <a:defRPr/>
                      </a:pPr>
                      <a:r>
                        <a:rPr lang="en-IN" sz="1100" b="1" kern="0" dirty="0" smtClean="0">
                          <a:ln w="3175">
                            <a:noFill/>
                          </a:ln>
                          <a:gradFill>
                            <a:gsLst>
                              <a:gs pos="86000">
                                <a:schemeClr val="tx1"/>
                              </a:gs>
                              <a:gs pos="100000">
                                <a:schemeClr val="tx1"/>
                              </a:gs>
                            </a:gsLst>
                            <a:lin ang="0" scaled="1"/>
                          </a:gradFill>
                          <a:effectLst/>
                          <a:latin typeface="+mn-lt"/>
                          <a:ea typeface="+mn-ea"/>
                          <a:cs typeface="+mn-cs"/>
                        </a:rPr>
                        <a:t>Social networks</a:t>
                      </a:r>
                    </a:p>
                    <a:p>
                      <a:pPr marL="0" marR="0" lvl="1" indent="0" algn="l" defTabSz="914400" rtl="0" eaLnBrk="1" fontAlgn="auto" latinLnBrk="0" hangingPunct="1">
                        <a:lnSpc>
                          <a:spcPct val="100000"/>
                        </a:lnSpc>
                        <a:spcBef>
                          <a:spcPts val="100"/>
                        </a:spcBef>
                        <a:spcAft>
                          <a:spcPts val="0"/>
                        </a:spcAft>
                        <a:buClrTx/>
                        <a:buSzTx/>
                        <a:buFontTx/>
                        <a:buNone/>
                        <a:tabLst/>
                        <a:defRPr/>
                      </a:pPr>
                      <a:r>
                        <a:rPr lang="en-IN" sz="1000" kern="0" dirty="0" smtClean="0">
                          <a:ln w="3175">
                            <a:noFill/>
                          </a:ln>
                          <a:gradFill>
                            <a:gsLst>
                              <a:gs pos="86000">
                                <a:schemeClr val="tx1"/>
                              </a:gs>
                              <a:gs pos="100000">
                                <a:schemeClr val="tx1"/>
                              </a:gs>
                            </a:gsLst>
                            <a:lin ang="0" scaled="1"/>
                          </a:gradFill>
                          <a:effectLst/>
                          <a:latin typeface="+mn-lt"/>
                          <a:ea typeface="+mn-ea"/>
                          <a:cs typeface="+mn-cs"/>
                        </a:rPr>
                        <a:t>An online network to maintain existing relationships or connect people based on shared interests</a:t>
                      </a:r>
                    </a:p>
                  </a:txBody>
                  <a:tcPr marL="45713" marR="45713" marT="36571" marB="3657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2">
                        <a:lumMod val="75000"/>
                        <a:alpha val="20000"/>
                      </a:schemeClr>
                    </a:solidFill>
                  </a:tcPr>
                </a:tc>
                <a:tc>
                  <a:txBody>
                    <a:bodyPr/>
                    <a:lstStyle/>
                    <a:p>
                      <a:pPr marL="171450" marR="0" lvl="0" indent="-171450" algn="l" defTabSz="914363" rtl="0" eaLnBrk="1" fontAlgn="auto" latinLnBrk="0" hangingPunct="1">
                        <a:lnSpc>
                          <a:spcPct val="100000"/>
                        </a:lnSpc>
                        <a:spcBef>
                          <a:spcPts val="100"/>
                        </a:spcBef>
                        <a:spcAft>
                          <a:spcPts val="0"/>
                        </a:spcAft>
                        <a:buClrTx/>
                        <a:buSzTx/>
                        <a:buFont typeface="Arial" pitchFamily="34" charset="0"/>
                        <a:buChar char="•"/>
                        <a:tabLst/>
                        <a:defRPr/>
                      </a:pPr>
                      <a:r>
                        <a:rPr lang="en-US" sz="1000" kern="1200" dirty="0">
                          <a:gradFill>
                            <a:gsLst>
                              <a:gs pos="0">
                                <a:schemeClr val="tx1"/>
                              </a:gs>
                              <a:gs pos="100000">
                                <a:schemeClr val="tx1"/>
                              </a:gs>
                            </a:gsLst>
                            <a:lin ang="5400000" scaled="0"/>
                          </a:gradFill>
                          <a:effectLst/>
                          <a:latin typeface="+mn-lt"/>
                          <a:ea typeface="MS Mincho"/>
                          <a:cs typeface="Segoe UI"/>
                        </a:rPr>
                        <a:t>Maintain and create relationships</a:t>
                      </a:r>
                    </a:p>
                    <a:p>
                      <a:pPr marL="171450" marR="0" lvl="0" indent="-171450" algn="l" defTabSz="914363" rtl="0" eaLnBrk="1" fontAlgn="auto" latinLnBrk="0" hangingPunct="1">
                        <a:lnSpc>
                          <a:spcPct val="100000"/>
                        </a:lnSpc>
                        <a:spcBef>
                          <a:spcPts val="100"/>
                        </a:spcBef>
                        <a:spcAft>
                          <a:spcPts val="0"/>
                        </a:spcAft>
                        <a:buClrTx/>
                        <a:buSzTx/>
                        <a:buFont typeface="Arial" pitchFamily="34" charset="0"/>
                        <a:buChar char="•"/>
                        <a:tabLst/>
                        <a:defRPr/>
                      </a:pPr>
                      <a:r>
                        <a:rPr lang="en-US" sz="1000" kern="1200" dirty="0">
                          <a:gradFill>
                            <a:gsLst>
                              <a:gs pos="0">
                                <a:schemeClr val="tx1"/>
                              </a:gs>
                              <a:gs pos="100000">
                                <a:schemeClr val="tx1"/>
                              </a:gs>
                            </a:gsLst>
                            <a:lin ang="5400000" scaled="0"/>
                          </a:gradFill>
                          <a:effectLst/>
                          <a:latin typeface="+mn-lt"/>
                          <a:ea typeface="MS Mincho"/>
                          <a:cs typeface="Segoe UI"/>
                        </a:rPr>
                        <a:t>Life feed</a:t>
                      </a:r>
                    </a:p>
                  </a:txBody>
                  <a:tcPr marL="45713" marR="45713" marT="36571" marB="3657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2">
                        <a:lumMod val="75000"/>
                        <a:alpha val="20000"/>
                      </a:schemeClr>
                    </a:solidFill>
                  </a:tcPr>
                </a:tc>
                <a:tc>
                  <a:txBody>
                    <a:bodyPr/>
                    <a:lstStyle/>
                    <a:p>
                      <a:pPr marL="171450" marR="0" lvl="0" indent="-171450" algn="l" defTabSz="914363" rtl="0" eaLnBrk="1" fontAlgn="auto" latinLnBrk="0" hangingPunct="1">
                        <a:lnSpc>
                          <a:spcPct val="100000"/>
                        </a:lnSpc>
                        <a:spcBef>
                          <a:spcPts val="100"/>
                        </a:spcBef>
                        <a:spcAft>
                          <a:spcPts val="0"/>
                        </a:spcAft>
                        <a:buClrTx/>
                        <a:buSzTx/>
                        <a:buFont typeface="Arial" pitchFamily="34" charset="0"/>
                        <a:buChar char="•"/>
                        <a:tabLst/>
                        <a:defRPr/>
                      </a:pPr>
                      <a:r>
                        <a:rPr lang="en-US" sz="1000" kern="1200" dirty="0">
                          <a:gradFill>
                            <a:gsLst>
                              <a:gs pos="0">
                                <a:schemeClr val="tx1"/>
                              </a:gs>
                              <a:gs pos="100000">
                                <a:schemeClr val="tx1"/>
                              </a:gs>
                            </a:gsLst>
                            <a:lin ang="5400000" scaled="0"/>
                          </a:gradFill>
                          <a:effectLst/>
                          <a:latin typeface="+mn-lt"/>
                          <a:ea typeface="MS Mincho"/>
                          <a:cs typeface="Segoe UI"/>
                        </a:rPr>
                        <a:t>Engage in conversation</a:t>
                      </a:r>
                    </a:p>
                    <a:p>
                      <a:pPr marL="171450" marR="0" lvl="0" indent="-171450" algn="l" defTabSz="914363" rtl="0" eaLnBrk="1" fontAlgn="auto" latinLnBrk="0" hangingPunct="1">
                        <a:lnSpc>
                          <a:spcPct val="100000"/>
                        </a:lnSpc>
                        <a:spcBef>
                          <a:spcPts val="100"/>
                        </a:spcBef>
                        <a:spcAft>
                          <a:spcPts val="0"/>
                        </a:spcAft>
                        <a:buClrTx/>
                        <a:buSzTx/>
                        <a:buFont typeface="Arial" pitchFamily="34" charset="0"/>
                        <a:buChar char="•"/>
                        <a:tabLst/>
                        <a:defRPr/>
                      </a:pPr>
                      <a:r>
                        <a:rPr lang="en-US" sz="1000" kern="1200" dirty="0">
                          <a:gradFill>
                            <a:gsLst>
                              <a:gs pos="0">
                                <a:schemeClr val="tx1"/>
                              </a:gs>
                              <a:gs pos="100000">
                                <a:schemeClr val="tx1"/>
                              </a:gs>
                            </a:gsLst>
                            <a:lin ang="5400000" scaled="0"/>
                          </a:gradFill>
                          <a:effectLst/>
                          <a:latin typeface="+mn-lt"/>
                          <a:ea typeface="MS Mincho"/>
                          <a:cs typeface="Segoe UI"/>
                        </a:rPr>
                        <a:t>Build brand awareness</a:t>
                      </a:r>
                    </a:p>
                  </a:txBody>
                  <a:tcPr marL="45713" marR="45713" marT="36571" marB="3657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2">
                        <a:lumMod val="75000"/>
                        <a:alpha val="20000"/>
                      </a:schemeClr>
                    </a:solidFill>
                  </a:tcPr>
                </a:tc>
                <a:tc>
                  <a:txBody>
                    <a:bodyPr/>
                    <a:lstStyle/>
                    <a:p>
                      <a:pPr marL="0" marR="0" lvl="0" indent="0" algn="l" defTabSz="914363" rtl="0" eaLnBrk="1" fontAlgn="auto" latinLnBrk="0" hangingPunct="1">
                        <a:lnSpc>
                          <a:spcPct val="100000"/>
                        </a:lnSpc>
                        <a:spcBef>
                          <a:spcPts val="100"/>
                        </a:spcBef>
                        <a:spcAft>
                          <a:spcPts val="0"/>
                        </a:spcAft>
                        <a:buClrTx/>
                        <a:buSzTx/>
                        <a:buFont typeface="Symbol"/>
                        <a:buNone/>
                        <a:tabLst/>
                        <a:defRPr/>
                      </a:pPr>
                      <a:r>
                        <a:rPr lang="en-US" sz="1100" kern="1200" dirty="0">
                          <a:gradFill>
                            <a:gsLst>
                              <a:gs pos="0">
                                <a:schemeClr val="tx1"/>
                              </a:gs>
                              <a:gs pos="100000">
                                <a:schemeClr val="tx1"/>
                              </a:gs>
                            </a:gsLst>
                            <a:lin ang="5400000" scaled="0"/>
                          </a:gradFill>
                          <a:effectLst/>
                          <a:latin typeface="+mn-lt"/>
                          <a:ea typeface="MS Mincho"/>
                          <a:cs typeface="Segoe UI"/>
                        </a:rPr>
                        <a:t>Facebook, Orkut, Google+, </a:t>
                      </a:r>
                      <a:r>
                        <a:rPr lang="en-US" sz="1100" kern="1200" dirty="0" smtClean="0">
                          <a:gradFill>
                            <a:gsLst>
                              <a:gs pos="0">
                                <a:schemeClr val="tx1"/>
                              </a:gs>
                              <a:gs pos="100000">
                                <a:schemeClr val="tx1"/>
                              </a:gs>
                            </a:gsLst>
                            <a:lin ang="5400000" scaled="0"/>
                          </a:gradFill>
                          <a:effectLst/>
                          <a:latin typeface="+mn-lt"/>
                          <a:ea typeface="MS Mincho"/>
                          <a:cs typeface="Segoe UI"/>
                        </a:rPr>
                        <a:t>Xing,</a:t>
                      </a:r>
                      <a:r>
                        <a:rPr lang="en-US" sz="1100" kern="1200" baseline="0" dirty="0" smtClean="0">
                          <a:gradFill>
                            <a:gsLst>
                              <a:gs pos="0">
                                <a:schemeClr val="tx1"/>
                              </a:gs>
                              <a:gs pos="100000">
                                <a:schemeClr val="tx1"/>
                              </a:gs>
                            </a:gsLst>
                            <a:lin ang="5400000" scaled="0"/>
                          </a:gradFill>
                          <a:effectLst/>
                          <a:latin typeface="+mn-lt"/>
                          <a:ea typeface="MS Mincho"/>
                          <a:cs typeface="Segoe UI"/>
                        </a:rPr>
                        <a:t> </a:t>
                      </a:r>
                      <a:r>
                        <a:rPr lang="en-US" sz="1100" kern="1200" dirty="0" smtClean="0">
                          <a:gradFill>
                            <a:gsLst>
                              <a:gs pos="0">
                                <a:schemeClr val="tx1"/>
                              </a:gs>
                              <a:gs pos="100000">
                                <a:schemeClr val="tx1"/>
                              </a:gs>
                            </a:gsLst>
                            <a:lin ang="5400000" scaled="0"/>
                          </a:gradFill>
                          <a:effectLst/>
                          <a:latin typeface="+mn-lt"/>
                          <a:ea typeface="MS Mincho"/>
                          <a:cs typeface="Segoe UI"/>
                        </a:rPr>
                        <a:t>Vkontakte </a:t>
                      </a:r>
                      <a:r>
                        <a:rPr lang="en-US" sz="1100" kern="1200" dirty="0">
                          <a:gradFill>
                            <a:gsLst>
                              <a:gs pos="0">
                                <a:schemeClr val="tx1"/>
                              </a:gs>
                              <a:gs pos="100000">
                                <a:schemeClr val="tx1"/>
                              </a:gs>
                            </a:gsLst>
                            <a:lin ang="5400000" scaled="0"/>
                          </a:gradFill>
                          <a:effectLst/>
                          <a:latin typeface="+mn-lt"/>
                          <a:ea typeface="MS Mincho"/>
                          <a:cs typeface="Segoe UI"/>
                        </a:rPr>
                        <a:t>(Russia), </a:t>
                      </a:r>
                      <a:r>
                        <a:rPr lang="en-US" sz="1100" kern="1200" dirty="0" smtClean="0">
                          <a:gradFill>
                            <a:gsLst>
                              <a:gs pos="0">
                                <a:schemeClr val="tx1"/>
                              </a:gs>
                              <a:gs pos="100000">
                                <a:schemeClr val="tx1"/>
                              </a:gs>
                            </a:gsLst>
                            <a:lin ang="5400000" scaled="0"/>
                          </a:gradFill>
                          <a:effectLst/>
                          <a:latin typeface="+mn-lt"/>
                          <a:ea typeface="MS Mincho"/>
                          <a:cs typeface="Segoe UI"/>
                        </a:rPr>
                        <a:t>SinaWeibo </a:t>
                      </a:r>
                      <a:r>
                        <a:rPr lang="en-US" sz="1100" kern="1200" dirty="0">
                          <a:gradFill>
                            <a:gsLst>
                              <a:gs pos="0">
                                <a:schemeClr val="tx1"/>
                              </a:gs>
                              <a:gs pos="100000">
                                <a:schemeClr val="tx1"/>
                              </a:gs>
                            </a:gsLst>
                            <a:lin ang="5400000" scaled="0"/>
                          </a:gradFill>
                          <a:effectLst/>
                          <a:latin typeface="+mn-lt"/>
                          <a:ea typeface="MS Mincho"/>
                          <a:cs typeface="Segoe UI"/>
                        </a:rPr>
                        <a:t>(China), LinkedIn</a:t>
                      </a:r>
                    </a:p>
                  </a:txBody>
                  <a:tcPr marL="45713" marR="45713" marT="36571" marB="3657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2">
                        <a:lumMod val="75000"/>
                        <a:alpha val="20000"/>
                      </a:schemeClr>
                    </a:solidFill>
                  </a:tcPr>
                </a:tc>
              </a:tr>
              <a:tr h="578530">
                <a:tc>
                  <a:txBody>
                    <a:bodyPr/>
                    <a:lstStyle/>
                    <a:p>
                      <a:pPr marL="0" marR="0" lvl="1" indent="0" algn="l" defTabSz="914400" rtl="0" eaLnBrk="1" fontAlgn="auto" latinLnBrk="0" hangingPunct="1">
                        <a:lnSpc>
                          <a:spcPct val="100000"/>
                        </a:lnSpc>
                        <a:spcBef>
                          <a:spcPts val="100"/>
                        </a:spcBef>
                        <a:spcAft>
                          <a:spcPts val="0"/>
                        </a:spcAft>
                        <a:buClrTx/>
                        <a:buSzTx/>
                        <a:buFontTx/>
                        <a:buNone/>
                        <a:tabLst/>
                        <a:defRPr/>
                      </a:pPr>
                      <a:r>
                        <a:rPr lang="en-US" sz="1100" b="1" kern="0" dirty="0">
                          <a:ln w="3175">
                            <a:noFill/>
                          </a:ln>
                          <a:gradFill>
                            <a:gsLst>
                              <a:gs pos="86000">
                                <a:schemeClr val="tx1"/>
                              </a:gs>
                              <a:gs pos="100000">
                                <a:schemeClr val="tx1"/>
                              </a:gs>
                            </a:gsLst>
                            <a:lin ang="0" scaled="1"/>
                          </a:gradFill>
                          <a:effectLst/>
                          <a:latin typeface="+mn-lt"/>
                          <a:ea typeface="+mn-ea"/>
                          <a:cs typeface="+mn-cs"/>
                        </a:rPr>
                        <a:t>Blogs</a:t>
                      </a:r>
                    </a:p>
                    <a:p>
                      <a:pPr marL="0" marR="0" lvl="1" indent="0" algn="l" defTabSz="914400" rtl="0" eaLnBrk="1" fontAlgn="auto" latinLnBrk="0" hangingPunct="1">
                        <a:lnSpc>
                          <a:spcPct val="100000"/>
                        </a:lnSpc>
                        <a:spcBef>
                          <a:spcPts val="100"/>
                        </a:spcBef>
                        <a:spcAft>
                          <a:spcPts val="0"/>
                        </a:spcAft>
                        <a:buClrTx/>
                        <a:buSzTx/>
                        <a:buFontTx/>
                        <a:buNone/>
                        <a:tabLst/>
                        <a:defRPr/>
                      </a:pPr>
                      <a:r>
                        <a:rPr lang="en-US" sz="1000" kern="0" dirty="0">
                          <a:ln w="3175">
                            <a:noFill/>
                          </a:ln>
                          <a:gradFill>
                            <a:gsLst>
                              <a:gs pos="86000">
                                <a:schemeClr val="tx1"/>
                              </a:gs>
                              <a:gs pos="100000">
                                <a:schemeClr val="tx1"/>
                              </a:gs>
                            </a:gsLst>
                            <a:lin ang="0" scaled="1"/>
                          </a:gradFill>
                          <a:effectLst/>
                          <a:latin typeface="+mn-lt"/>
                          <a:ea typeface="+mn-ea"/>
                          <a:cs typeface="+mn-cs"/>
                        </a:rPr>
                        <a:t>A platform for users to create personal sites for posting written, video, or other content.</a:t>
                      </a:r>
                    </a:p>
                  </a:txBody>
                  <a:tcPr marL="45713" marR="45713" marT="36571" marB="3657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2">
                        <a:lumMod val="75000"/>
                        <a:alpha val="20000"/>
                      </a:schemeClr>
                    </a:solidFill>
                  </a:tcPr>
                </a:tc>
                <a:tc>
                  <a:txBody>
                    <a:bodyPr/>
                    <a:lstStyle/>
                    <a:p>
                      <a:pPr marL="171450" marR="0" lvl="0" indent="-171450" algn="l" defTabSz="914363" rtl="0" eaLnBrk="1" fontAlgn="auto" latinLnBrk="0" hangingPunct="1">
                        <a:lnSpc>
                          <a:spcPct val="100000"/>
                        </a:lnSpc>
                        <a:spcBef>
                          <a:spcPts val="100"/>
                        </a:spcBef>
                        <a:spcAft>
                          <a:spcPts val="0"/>
                        </a:spcAft>
                        <a:buClrTx/>
                        <a:buSzTx/>
                        <a:buFont typeface="Arial" pitchFamily="34" charset="0"/>
                        <a:buChar char="•"/>
                        <a:tabLst/>
                        <a:defRPr/>
                      </a:pPr>
                      <a:r>
                        <a:rPr lang="en-US" sz="1000" kern="1200" dirty="0">
                          <a:gradFill>
                            <a:gsLst>
                              <a:gs pos="0">
                                <a:schemeClr val="tx1"/>
                              </a:gs>
                              <a:gs pos="100000">
                                <a:schemeClr val="tx1"/>
                              </a:gs>
                            </a:gsLst>
                            <a:lin ang="5400000" scaled="0"/>
                          </a:gradFill>
                          <a:effectLst/>
                          <a:latin typeface="+mn-lt"/>
                          <a:ea typeface="MS Mincho"/>
                          <a:cs typeface="Segoe UI"/>
                        </a:rPr>
                        <a:t>Share opinions</a:t>
                      </a:r>
                    </a:p>
                    <a:p>
                      <a:pPr marL="171450" marR="0" lvl="0" indent="-171450" algn="l" defTabSz="914363" rtl="0" eaLnBrk="1" fontAlgn="auto" latinLnBrk="0" hangingPunct="1">
                        <a:lnSpc>
                          <a:spcPct val="100000"/>
                        </a:lnSpc>
                        <a:spcBef>
                          <a:spcPts val="100"/>
                        </a:spcBef>
                        <a:spcAft>
                          <a:spcPts val="0"/>
                        </a:spcAft>
                        <a:buClrTx/>
                        <a:buSzTx/>
                        <a:buFont typeface="Arial" pitchFamily="34" charset="0"/>
                        <a:buChar char="•"/>
                        <a:tabLst/>
                        <a:defRPr/>
                      </a:pPr>
                      <a:r>
                        <a:rPr lang="en-US" sz="1000" kern="1200" dirty="0">
                          <a:gradFill>
                            <a:gsLst>
                              <a:gs pos="0">
                                <a:schemeClr val="tx1"/>
                              </a:gs>
                              <a:gs pos="100000">
                                <a:schemeClr val="tx1"/>
                              </a:gs>
                            </a:gsLst>
                            <a:lin ang="5400000" scaled="0"/>
                          </a:gradFill>
                          <a:effectLst/>
                          <a:latin typeface="+mn-lt"/>
                          <a:ea typeface="MS Mincho"/>
                          <a:cs typeface="Segoe UI"/>
                        </a:rPr>
                        <a:t>Life feed</a:t>
                      </a:r>
                    </a:p>
                    <a:p>
                      <a:pPr marL="171450" marR="0" lvl="0" indent="-171450" algn="l" defTabSz="914363" rtl="0" eaLnBrk="1" fontAlgn="auto" latinLnBrk="0" hangingPunct="1">
                        <a:lnSpc>
                          <a:spcPct val="100000"/>
                        </a:lnSpc>
                        <a:spcBef>
                          <a:spcPts val="100"/>
                        </a:spcBef>
                        <a:spcAft>
                          <a:spcPts val="0"/>
                        </a:spcAft>
                        <a:buClrTx/>
                        <a:buSzTx/>
                        <a:buFont typeface="Arial" pitchFamily="34" charset="0"/>
                        <a:buChar char="•"/>
                        <a:tabLst/>
                        <a:defRPr/>
                      </a:pPr>
                      <a:r>
                        <a:rPr lang="en-US" sz="1000" kern="1200" dirty="0">
                          <a:gradFill>
                            <a:gsLst>
                              <a:gs pos="0">
                                <a:schemeClr val="tx1"/>
                              </a:gs>
                              <a:gs pos="100000">
                                <a:schemeClr val="tx1"/>
                              </a:gs>
                            </a:gsLst>
                            <a:lin ang="5400000" scaled="0"/>
                          </a:gradFill>
                          <a:effectLst/>
                          <a:latin typeface="+mn-lt"/>
                          <a:ea typeface="MS Mincho"/>
                          <a:cs typeface="Segoe UI"/>
                        </a:rPr>
                        <a:t>Hosting platforms allow people to create their own blogs</a:t>
                      </a:r>
                    </a:p>
                  </a:txBody>
                  <a:tcPr marL="45713" marR="45713" marT="36571" marB="3657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2">
                        <a:lumMod val="75000"/>
                        <a:alpha val="20000"/>
                      </a:schemeClr>
                    </a:solidFill>
                  </a:tcPr>
                </a:tc>
                <a:tc>
                  <a:txBody>
                    <a:bodyPr/>
                    <a:lstStyle/>
                    <a:p>
                      <a:pPr marL="171450" marR="0" lvl="0" indent="-171450" algn="l" defTabSz="914363" rtl="0" eaLnBrk="1" fontAlgn="auto" latinLnBrk="0" hangingPunct="1">
                        <a:lnSpc>
                          <a:spcPct val="100000"/>
                        </a:lnSpc>
                        <a:spcBef>
                          <a:spcPts val="100"/>
                        </a:spcBef>
                        <a:spcAft>
                          <a:spcPts val="0"/>
                        </a:spcAft>
                        <a:buClrTx/>
                        <a:buSzTx/>
                        <a:buFont typeface="Arial" pitchFamily="34" charset="0"/>
                        <a:buChar char="•"/>
                        <a:tabLst/>
                        <a:defRPr/>
                      </a:pPr>
                      <a:r>
                        <a:rPr lang="en-US" sz="1000" kern="1200" dirty="0">
                          <a:gradFill>
                            <a:gsLst>
                              <a:gs pos="0">
                                <a:schemeClr val="tx1"/>
                              </a:gs>
                              <a:gs pos="100000">
                                <a:schemeClr val="tx1"/>
                              </a:gs>
                            </a:gsLst>
                            <a:lin ang="5400000" scaled="0"/>
                          </a:gradFill>
                          <a:effectLst/>
                          <a:latin typeface="+mn-lt"/>
                          <a:ea typeface="MS Mincho"/>
                          <a:cs typeface="Segoe UI"/>
                        </a:rPr>
                        <a:t>Listen to customer perspectives</a:t>
                      </a:r>
                    </a:p>
                    <a:p>
                      <a:pPr marL="171450" marR="0" lvl="0" indent="-171450" algn="l" defTabSz="914363" rtl="0" eaLnBrk="1" fontAlgn="auto" latinLnBrk="0" hangingPunct="1">
                        <a:lnSpc>
                          <a:spcPct val="100000"/>
                        </a:lnSpc>
                        <a:spcBef>
                          <a:spcPts val="100"/>
                        </a:spcBef>
                        <a:spcAft>
                          <a:spcPts val="0"/>
                        </a:spcAft>
                        <a:buClrTx/>
                        <a:buSzTx/>
                        <a:buFont typeface="Arial" pitchFamily="34" charset="0"/>
                        <a:buChar char="•"/>
                        <a:tabLst/>
                        <a:defRPr/>
                      </a:pPr>
                      <a:r>
                        <a:rPr lang="en-US" sz="1000" kern="1200" dirty="0">
                          <a:gradFill>
                            <a:gsLst>
                              <a:gs pos="0">
                                <a:schemeClr val="tx1"/>
                              </a:gs>
                              <a:gs pos="100000">
                                <a:schemeClr val="tx1"/>
                              </a:gs>
                            </a:gsLst>
                            <a:lin ang="5400000" scaled="0"/>
                          </a:gradFill>
                          <a:effectLst/>
                          <a:latin typeface="+mn-lt"/>
                          <a:ea typeface="MS Mincho"/>
                          <a:cs typeface="Segoe UI"/>
                        </a:rPr>
                        <a:t>Engage in customer conversation</a:t>
                      </a:r>
                    </a:p>
                    <a:p>
                      <a:pPr marL="171450" marR="0" lvl="0" indent="-171450" algn="l" defTabSz="914363" rtl="0" eaLnBrk="1" fontAlgn="auto" latinLnBrk="0" hangingPunct="1">
                        <a:lnSpc>
                          <a:spcPct val="100000"/>
                        </a:lnSpc>
                        <a:spcBef>
                          <a:spcPts val="100"/>
                        </a:spcBef>
                        <a:spcAft>
                          <a:spcPts val="0"/>
                        </a:spcAft>
                        <a:buClrTx/>
                        <a:buSzTx/>
                        <a:buFont typeface="Arial" pitchFamily="34" charset="0"/>
                        <a:buChar char="•"/>
                        <a:tabLst/>
                        <a:defRPr/>
                      </a:pPr>
                      <a:r>
                        <a:rPr lang="en-US" sz="1000" kern="1200" dirty="0">
                          <a:gradFill>
                            <a:gsLst>
                              <a:gs pos="0">
                                <a:schemeClr val="tx1"/>
                              </a:gs>
                              <a:gs pos="100000">
                                <a:schemeClr val="tx1"/>
                              </a:gs>
                            </a:gsLst>
                            <a:lin ang="5400000" scaled="0"/>
                          </a:gradFill>
                          <a:effectLst/>
                          <a:latin typeface="+mn-lt"/>
                          <a:ea typeface="MS Mincho"/>
                          <a:cs typeface="Segoe UI"/>
                        </a:rPr>
                        <a:t>Individualize blogs </a:t>
                      </a:r>
                    </a:p>
                  </a:txBody>
                  <a:tcPr marL="45713" marR="45713" marT="36571" marB="3657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2">
                        <a:lumMod val="75000"/>
                        <a:alpha val="20000"/>
                      </a:schemeClr>
                    </a:solidFill>
                  </a:tcPr>
                </a:tc>
                <a:tc>
                  <a:txBody>
                    <a:bodyPr/>
                    <a:lstStyle/>
                    <a:p>
                      <a:pPr marL="0" marR="0" lvl="0" indent="0" algn="l" defTabSz="914363" rtl="0" eaLnBrk="1" fontAlgn="auto" latinLnBrk="0" hangingPunct="1">
                        <a:lnSpc>
                          <a:spcPct val="100000"/>
                        </a:lnSpc>
                        <a:spcBef>
                          <a:spcPts val="100"/>
                        </a:spcBef>
                        <a:spcAft>
                          <a:spcPts val="0"/>
                        </a:spcAft>
                        <a:buClrTx/>
                        <a:buSzTx/>
                        <a:buFont typeface="Symbol"/>
                        <a:buNone/>
                        <a:tabLst/>
                        <a:defRPr/>
                      </a:pPr>
                      <a:r>
                        <a:rPr lang="en-US" sz="1100" kern="1200" dirty="0" smtClean="0">
                          <a:gradFill>
                            <a:gsLst>
                              <a:gs pos="0">
                                <a:schemeClr val="tx1"/>
                              </a:gs>
                              <a:gs pos="100000">
                                <a:schemeClr val="tx1"/>
                              </a:gs>
                            </a:gsLst>
                            <a:lin ang="5400000" scaled="0"/>
                          </a:gradFill>
                          <a:effectLst/>
                          <a:latin typeface="+mn-lt"/>
                          <a:ea typeface="MS Mincho"/>
                          <a:cs typeface="Segoe UI"/>
                        </a:rPr>
                        <a:t>Blogger</a:t>
                      </a:r>
                      <a:r>
                        <a:rPr lang="en-US" sz="1100" kern="1200" dirty="0">
                          <a:gradFill>
                            <a:gsLst>
                              <a:gs pos="0">
                                <a:schemeClr val="tx1"/>
                              </a:gs>
                              <a:gs pos="100000">
                                <a:schemeClr val="tx1"/>
                              </a:gs>
                            </a:gsLst>
                            <a:lin ang="5400000" scaled="0"/>
                          </a:gradFill>
                          <a:effectLst/>
                          <a:latin typeface="+mn-lt"/>
                          <a:ea typeface="MS Mincho"/>
                          <a:cs typeface="Segoe UI"/>
                        </a:rPr>
                        <a:t>, WordPress, Tangler</a:t>
                      </a:r>
                    </a:p>
                  </a:txBody>
                  <a:tcPr marL="45713" marR="45713" marT="36571" marB="3657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2">
                        <a:lumMod val="75000"/>
                        <a:alpha val="20000"/>
                      </a:schemeClr>
                    </a:solidFill>
                  </a:tcPr>
                </a:tc>
              </a:tr>
              <a:tr h="573451">
                <a:tc>
                  <a:txBody>
                    <a:bodyPr/>
                    <a:lstStyle/>
                    <a:p>
                      <a:pPr marL="0" marR="0" lvl="1" indent="0" algn="l" defTabSz="914400" rtl="0" eaLnBrk="1" fontAlgn="auto" latinLnBrk="0" hangingPunct="1">
                        <a:lnSpc>
                          <a:spcPct val="100000"/>
                        </a:lnSpc>
                        <a:spcBef>
                          <a:spcPts val="100"/>
                        </a:spcBef>
                        <a:spcAft>
                          <a:spcPts val="0"/>
                        </a:spcAft>
                        <a:buClrTx/>
                        <a:buSzTx/>
                        <a:buFontTx/>
                        <a:buNone/>
                        <a:tabLst/>
                        <a:defRPr/>
                      </a:pPr>
                      <a:r>
                        <a:rPr lang="en-US" sz="1100" b="1" kern="0" dirty="0">
                          <a:ln w="3175">
                            <a:noFill/>
                          </a:ln>
                          <a:gradFill>
                            <a:gsLst>
                              <a:gs pos="86000">
                                <a:schemeClr val="tx1"/>
                              </a:gs>
                              <a:gs pos="100000">
                                <a:schemeClr val="tx1"/>
                              </a:gs>
                            </a:gsLst>
                            <a:lin ang="0" scaled="1"/>
                          </a:gradFill>
                          <a:effectLst/>
                          <a:latin typeface="+mn-lt"/>
                          <a:ea typeface="+mn-ea"/>
                          <a:cs typeface="+mn-cs"/>
                        </a:rPr>
                        <a:t>Microblogs</a:t>
                      </a:r>
                    </a:p>
                    <a:p>
                      <a:pPr marL="0" marR="0" lvl="1" indent="0" algn="l" defTabSz="914400" rtl="0" eaLnBrk="1" fontAlgn="auto" latinLnBrk="0" hangingPunct="1">
                        <a:lnSpc>
                          <a:spcPct val="100000"/>
                        </a:lnSpc>
                        <a:spcBef>
                          <a:spcPts val="100"/>
                        </a:spcBef>
                        <a:spcAft>
                          <a:spcPts val="0"/>
                        </a:spcAft>
                        <a:buClrTx/>
                        <a:buSzTx/>
                        <a:buFontTx/>
                        <a:buNone/>
                        <a:tabLst/>
                        <a:defRPr/>
                      </a:pPr>
                      <a:r>
                        <a:rPr lang="en-US" sz="1000" kern="0" dirty="0">
                          <a:ln w="3175">
                            <a:noFill/>
                          </a:ln>
                          <a:gradFill>
                            <a:gsLst>
                              <a:gs pos="86000">
                                <a:schemeClr val="tx1"/>
                              </a:gs>
                              <a:gs pos="100000">
                                <a:schemeClr val="tx1"/>
                              </a:gs>
                            </a:gsLst>
                            <a:lin ang="0" scaled="1"/>
                          </a:gradFill>
                          <a:effectLst/>
                          <a:latin typeface="+mn-lt"/>
                          <a:ea typeface="+mn-ea"/>
                          <a:cs typeface="+mn-cs"/>
                        </a:rPr>
                        <a:t>Users exchange small elements of content such as short sentences, individual images, or video links</a:t>
                      </a:r>
                    </a:p>
                  </a:txBody>
                  <a:tcPr marL="45713" marR="45713" marT="36571" marB="3657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2">
                        <a:lumMod val="75000"/>
                        <a:alpha val="20000"/>
                      </a:schemeClr>
                    </a:solidFill>
                  </a:tcPr>
                </a:tc>
                <a:tc>
                  <a:txBody>
                    <a:bodyPr/>
                    <a:lstStyle/>
                    <a:p>
                      <a:pPr marL="171450" marR="0" lvl="0" indent="-171450" algn="l" defTabSz="914363" rtl="0" eaLnBrk="1" fontAlgn="auto" latinLnBrk="0" hangingPunct="1">
                        <a:lnSpc>
                          <a:spcPct val="100000"/>
                        </a:lnSpc>
                        <a:spcBef>
                          <a:spcPts val="100"/>
                        </a:spcBef>
                        <a:spcAft>
                          <a:spcPts val="0"/>
                        </a:spcAft>
                        <a:buClrTx/>
                        <a:buSzTx/>
                        <a:buFont typeface="Arial" pitchFamily="34" charset="0"/>
                        <a:buChar char="•"/>
                        <a:tabLst/>
                        <a:defRPr/>
                      </a:pPr>
                      <a:r>
                        <a:rPr lang="en-US" sz="1000" kern="1200" dirty="0">
                          <a:gradFill>
                            <a:gsLst>
                              <a:gs pos="0">
                                <a:schemeClr val="tx1"/>
                              </a:gs>
                              <a:gs pos="100000">
                                <a:schemeClr val="tx1"/>
                              </a:gs>
                            </a:gsLst>
                            <a:lin ang="5400000" scaled="0"/>
                          </a:gradFill>
                          <a:effectLst/>
                          <a:latin typeface="+mn-lt"/>
                          <a:ea typeface="MS Mincho"/>
                          <a:cs typeface="Segoe UI"/>
                        </a:rPr>
                        <a:t>Share short messages</a:t>
                      </a:r>
                    </a:p>
                    <a:p>
                      <a:pPr marL="171450" marR="0" lvl="0" indent="-171450" algn="l" defTabSz="914363" rtl="0" eaLnBrk="1" fontAlgn="auto" latinLnBrk="0" hangingPunct="1">
                        <a:lnSpc>
                          <a:spcPct val="100000"/>
                        </a:lnSpc>
                        <a:spcBef>
                          <a:spcPts val="100"/>
                        </a:spcBef>
                        <a:spcAft>
                          <a:spcPts val="0"/>
                        </a:spcAft>
                        <a:buClrTx/>
                        <a:buSzTx/>
                        <a:buFont typeface="Arial" pitchFamily="34" charset="0"/>
                        <a:buChar char="•"/>
                        <a:tabLst/>
                        <a:defRPr/>
                      </a:pPr>
                      <a:r>
                        <a:rPr lang="en-US" sz="1000" kern="1200" dirty="0">
                          <a:gradFill>
                            <a:gsLst>
                              <a:gs pos="0">
                                <a:schemeClr val="tx1"/>
                              </a:gs>
                              <a:gs pos="100000">
                                <a:schemeClr val="tx1"/>
                              </a:gs>
                            </a:gsLst>
                            <a:lin ang="5400000" scaled="0"/>
                          </a:gradFill>
                          <a:effectLst/>
                          <a:latin typeface="+mn-lt"/>
                          <a:ea typeface="MS Mincho"/>
                          <a:cs typeface="Segoe UI"/>
                        </a:rPr>
                        <a:t>Actively follow interest areas (brands, people, companies)</a:t>
                      </a:r>
                    </a:p>
                  </a:txBody>
                  <a:tcPr marL="45713" marR="45713" marT="36571" marB="3657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2">
                        <a:lumMod val="75000"/>
                        <a:alpha val="20000"/>
                      </a:schemeClr>
                    </a:solidFill>
                  </a:tcPr>
                </a:tc>
                <a:tc>
                  <a:txBody>
                    <a:bodyPr/>
                    <a:lstStyle/>
                    <a:p>
                      <a:pPr marL="171450" marR="0" lvl="0" indent="-171450" algn="l" defTabSz="914363" rtl="0" eaLnBrk="1" fontAlgn="auto" latinLnBrk="0" hangingPunct="1">
                        <a:lnSpc>
                          <a:spcPct val="100000"/>
                        </a:lnSpc>
                        <a:spcBef>
                          <a:spcPts val="100"/>
                        </a:spcBef>
                        <a:spcAft>
                          <a:spcPts val="0"/>
                        </a:spcAft>
                        <a:buClrTx/>
                        <a:buSzTx/>
                        <a:buFont typeface="Arial" pitchFamily="34" charset="0"/>
                        <a:buChar char="•"/>
                        <a:tabLst/>
                        <a:defRPr/>
                      </a:pPr>
                      <a:r>
                        <a:rPr lang="en-US" sz="1000" kern="1200" dirty="0">
                          <a:gradFill>
                            <a:gsLst>
                              <a:gs pos="0">
                                <a:schemeClr val="tx1"/>
                              </a:gs>
                              <a:gs pos="100000">
                                <a:schemeClr val="tx1"/>
                              </a:gs>
                            </a:gsLst>
                            <a:lin ang="5400000" scaled="0"/>
                          </a:gradFill>
                          <a:effectLst/>
                          <a:latin typeface="+mn-lt"/>
                          <a:ea typeface="MS Mincho"/>
                          <a:cs typeface="Segoe UI"/>
                        </a:rPr>
                        <a:t>Track real-time trends</a:t>
                      </a:r>
                    </a:p>
                    <a:p>
                      <a:pPr marL="171450" marR="0" lvl="0" indent="-171450" algn="l" defTabSz="914363" rtl="0" eaLnBrk="1" fontAlgn="auto" latinLnBrk="0" hangingPunct="1">
                        <a:lnSpc>
                          <a:spcPct val="100000"/>
                        </a:lnSpc>
                        <a:spcBef>
                          <a:spcPts val="100"/>
                        </a:spcBef>
                        <a:spcAft>
                          <a:spcPts val="0"/>
                        </a:spcAft>
                        <a:buClrTx/>
                        <a:buSzTx/>
                        <a:buFont typeface="Arial" pitchFamily="34" charset="0"/>
                        <a:buChar char="•"/>
                        <a:tabLst/>
                        <a:defRPr/>
                      </a:pPr>
                      <a:r>
                        <a:rPr lang="en-US" sz="1000" kern="1200" dirty="0">
                          <a:gradFill>
                            <a:gsLst>
                              <a:gs pos="0">
                                <a:schemeClr val="tx1"/>
                              </a:gs>
                              <a:gs pos="100000">
                                <a:schemeClr val="tx1"/>
                              </a:gs>
                            </a:gsLst>
                            <a:lin ang="5400000" scaled="0"/>
                          </a:gradFill>
                          <a:effectLst/>
                          <a:latin typeface="+mn-lt"/>
                          <a:ea typeface="MS Mincho"/>
                          <a:cs typeface="Segoe UI"/>
                        </a:rPr>
                        <a:t>Stay top-of-mind with consumers</a:t>
                      </a:r>
                    </a:p>
                  </a:txBody>
                  <a:tcPr marL="45713" marR="45713" marT="36571" marB="3657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2">
                        <a:lumMod val="75000"/>
                        <a:alpha val="20000"/>
                      </a:schemeClr>
                    </a:solidFill>
                  </a:tcPr>
                </a:tc>
                <a:tc>
                  <a:txBody>
                    <a:bodyPr/>
                    <a:lstStyle/>
                    <a:p>
                      <a:pPr marL="0" marR="0" lvl="0" indent="0" algn="l" defTabSz="914363" rtl="0" eaLnBrk="1" fontAlgn="auto" latinLnBrk="0" hangingPunct="1">
                        <a:lnSpc>
                          <a:spcPct val="100000"/>
                        </a:lnSpc>
                        <a:spcBef>
                          <a:spcPts val="100"/>
                        </a:spcBef>
                        <a:spcAft>
                          <a:spcPts val="0"/>
                        </a:spcAft>
                        <a:buClrTx/>
                        <a:buSzTx/>
                        <a:buFont typeface="Symbol"/>
                        <a:buNone/>
                        <a:tabLst/>
                        <a:defRPr/>
                      </a:pPr>
                      <a:r>
                        <a:rPr lang="en-US" sz="1100" kern="1200" dirty="0">
                          <a:gradFill>
                            <a:gsLst>
                              <a:gs pos="0">
                                <a:schemeClr val="tx1"/>
                              </a:gs>
                              <a:gs pos="100000">
                                <a:schemeClr val="tx1"/>
                              </a:gs>
                            </a:gsLst>
                            <a:lin ang="5400000" scaled="0"/>
                          </a:gradFill>
                          <a:effectLst/>
                          <a:latin typeface="+mn-lt"/>
                          <a:ea typeface="MS Mincho"/>
                          <a:cs typeface="Segoe UI"/>
                        </a:rPr>
                        <a:t>Twitter, Tumblr, </a:t>
                      </a:r>
                      <a:r>
                        <a:rPr lang="en-US" sz="1100" kern="1200" dirty="0" smtClean="0">
                          <a:gradFill>
                            <a:gsLst>
                              <a:gs pos="0">
                                <a:schemeClr val="tx1"/>
                              </a:gs>
                              <a:gs pos="100000">
                                <a:schemeClr val="tx1"/>
                              </a:gs>
                            </a:gsLst>
                            <a:lin ang="5400000" scaled="0"/>
                          </a:gradFill>
                          <a:effectLst/>
                          <a:latin typeface="+mn-lt"/>
                          <a:ea typeface="MS Mincho"/>
                          <a:cs typeface="Segoe UI"/>
                        </a:rPr>
                        <a:t>Mixi </a:t>
                      </a:r>
                      <a:r>
                        <a:rPr lang="en-US" sz="1100" kern="1200" dirty="0">
                          <a:gradFill>
                            <a:gsLst>
                              <a:gs pos="0">
                                <a:schemeClr val="tx1"/>
                              </a:gs>
                              <a:gs pos="100000">
                                <a:schemeClr val="tx1"/>
                              </a:gs>
                            </a:gsLst>
                            <a:lin ang="5400000" scaled="0"/>
                          </a:gradFill>
                          <a:effectLst/>
                          <a:latin typeface="+mn-lt"/>
                          <a:ea typeface="MS Mincho"/>
                          <a:cs typeface="Segoe UI"/>
                        </a:rPr>
                        <a:t>(Japan)</a:t>
                      </a:r>
                    </a:p>
                  </a:txBody>
                  <a:tcPr marL="45713" marR="45713" marT="36571" marB="3657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2">
                        <a:lumMod val="75000"/>
                        <a:alpha val="20000"/>
                      </a:schemeClr>
                    </a:solidFill>
                  </a:tcPr>
                </a:tc>
              </a:tr>
              <a:tr h="573451">
                <a:tc>
                  <a:txBody>
                    <a:bodyPr/>
                    <a:lstStyle/>
                    <a:p>
                      <a:pPr marL="0" marR="0" lvl="1" indent="0" algn="l" defTabSz="914400" rtl="0" eaLnBrk="1" fontAlgn="auto" latinLnBrk="0" hangingPunct="1">
                        <a:lnSpc>
                          <a:spcPct val="100000"/>
                        </a:lnSpc>
                        <a:spcBef>
                          <a:spcPts val="100"/>
                        </a:spcBef>
                        <a:spcAft>
                          <a:spcPts val="0"/>
                        </a:spcAft>
                        <a:buClrTx/>
                        <a:buSzTx/>
                        <a:buFontTx/>
                        <a:buNone/>
                        <a:tabLst/>
                        <a:defRPr/>
                      </a:pPr>
                      <a:r>
                        <a:rPr lang="en-US" sz="1100" b="1" kern="0" dirty="0">
                          <a:ln w="3175">
                            <a:noFill/>
                          </a:ln>
                          <a:gradFill>
                            <a:gsLst>
                              <a:gs pos="86000">
                                <a:schemeClr val="tx1"/>
                              </a:gs>
                              <a:gs pos="100000">
                                <a:schemeClr val="tx1"/>
                              </a:gs>
                            </a:gsLst>
                            <a:lin ang="0" scaled="1"/>
                          </a:gradFill>
                          <a:effectLst/>
                          <a:latin typeface="+mn-lt"/>
                          <a:ea typeface="+mn-ea"/>
                          <a:cs typeface="+mn-cs"/>
                        </a:rPr>
                        <a:t>Media sharing</a:t>
                      </a:r>
                    </a:p>
                    <a:p>
                      <a:pPr marL="0" marR="0" lvl="1" indent="0" algn="l" defTabSz="914400" rtl="0" eaLnBrk="1" fontAlgn="auto" latinLnBrk="0" hangingPunct="1">
                        <a:lnSpc>
                          <a:spcPct val="100000"/>
                        </a:lnSpc>
                        <a:spcBef>
                          <a:spcPts val="100"/>
                        </a:spcBef>
                        <a:spcAft>
                          <a:spcPts val="0"/>
                        </a:spcAft>
                        <a:buClrTx/>
                        <a:buSzTx/>
                        <a:buFontTx/>
                        <a:buNone/>
                        <a:tabLst/>
                        <a:defRPr/>
                      </a:pPr>
                      <a:r>
                        <a:rPr lang="en-US" sz="1000" kern="0" dirty="0">
                          <a:ln w="3175">
                            <a:noFill/>
                          </a:ln>
                          <a:gradFill>
                            <a:gsLst>
                              <a:gs pos="86000">
                                <a:schemeClr val="tx1"/>
                              </a:gs>
                              <a:gs pos="100000">
                                <a:schemeClr val="tx1"/>
                              </a:gs>
                            </a:gsLst>
                            <a:lin ang="0" scaled="1"/>
                          </a:gradFill>
                          <a:effectLst/>
                          <a:latin typeface="+mn-lt"/>
                          <a:ea typeface="+mn-ea"/>
                          <a:cs typeface="+mn-cs"/>
                        </a:rPr>
                        <a:t>A community forum where users have access to videos, clips, photos, and audio</a:t>
                      </a:r>
                    </a:p>
                  </a:txBody>
                  <a:tcPr marL="45713" marR="45713" marT="36571" marB="3657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2">
                        <a:lumMod val="75000"/>
                        <a:alpha val="20000"/>
                      </a:schemeClr>
                    </a:solidFill>
                  </a:tcPr>
                </a:tc>
                <a:tc>
                  <a:txBody>
                    <a:bodyPr/>
                    <a:lstStyle/>
                    <a:p>
                      <a:pPr marL="171450" marR="0" lvl="0" indent="-171450" algn="l" defTabSz="914363" rtl="0" eaLnBrk="1" fontAlgn="auto" latinLnBrk="0" hangingPunct="1">
                        <a:lnSpc>
                          <a:spcPct val="100000"/>
                        </a:lnSpc>
                        <a:spcBef>
                          <a:spcPts val="100"/>
                        </a:spcBef>
                        <a:spcAft>
                          <a:spcPts val="0"/>
                        </a:spcAft>
                        <a:buClrTx/>
                        <a:buSzTx/>
                        <a:buFont typeface="Arial" pitchFamily="34" charset="0"/>
                        <a:buChar char="•"/>
                        <a:tabLst/>
                        <a:defRPr/>
                      </a:pPr>
                      <a:r>
                        <a:rPr lang="en-US" sz="1000" kern="1200" dirty="0">
                          <a:gradFill>
                            <a:gsLst>
                              <a:gs pos="0">
                                <a:schemeClr val="tx1"/>
                              </a:gs>
                              <a:gs pos="100000">
                                <a:schemeClr val="tx1"/>
                              </a:gs>
                            </a:gsLst>
                            <a:lin ang="5400000" scaled="0"/>
                          </a:gradFill>
                          <a:effectLst/>
                          <a:latin typeface="+mn-lt"/>
                          <a:ea typeface="MS Mincho"/>
                          <a:cs typeface="Segoe UI"/>
                        </a:rPr>
                        <a:t>Share digital media in an easy access format</a:t>
                      </a:r>
                    </a:p>
                    <a:p>
                      <a:pPr marL="171450" marR="0" lvl="0" indent="-171450" algn="l" defTabSz="914363" rtl="0" eaLnBrk="1" fontAlgn="auto" latinLnBrk="0" hangingPunct="1">
                        <a:lnSpc>
                          <a:spcPct val="100000"/>
                        </a:lnSpc>
                        <a:spcBef>
                          <a:spcPts val="100"/>
                        </a:spcBef>
                        <a:spcAft>
                          <a:spcPts val="0"/>
                        </a:spcAft>
                        <a:buClrTx/>
                        <a:buSzTx/>
                        <a:buFont typeface="Arial" pitchFamily="34" charset="0"/>
                        <a:buChar char="•"/>
                        <a:tabLst/>
                        <a:defRPr/>
                      </a:pPr>
                      <a:r>
                        <a:rPr lang="en-US" sz="1000" kern="1200" dirty="0">
                          <a:gradFill>
                            <a:gsLst>
                              <a:gs pos="0">
                                <a:schemeClr val="tx1"/>
                              </a:gs>
                              <a:gs pos="100000">
                                <a:schemeClr val="tx1"/>
                              </a:gs>
                            </a:gsLst>
                            <a:lin ang="5400000" scaled="0"/>
                          </a:gradFill>
                          <a:effectLst/>
                          <a:latin typeface="+mn-lt"/>
                          <a:ea typeface="MS Mincho"/>
                          <a:cs typeface="Segoe UI"/>
                        </a:rPr>
                        <a:t>Browse for interesting media</a:t>
                      </a:r>
                    </a:p>
                  </a:txBody>
                  <a:tcPr marL="45713" marR="45713" marT="36571" marB="3657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2">
                        <a:lumMod val="75000"/>
                        <a:alpha val="20000"/>
                      </a:schemeClr>
                    </a:solidFill>
                  </a:tcPr>
                </a:tc>
                <a:tc>
                  <a:txBody>
                    <a:bodyPr/>
                    <a:lstStyle/>
                    <a:p>
                      <a:pPr marL="171450" marR="0" lvl="0" indent="-171450" algn="l" defTabSz="914363" rtl="0" eaLnBrk="1" fontAlgn="auto" latinLnBrk="0" hangingPunct="1">
                        <a:lnSpc>
                          <a:spcPct val="100000"/>
                        </a:lnSpc>
                        <a:spcBef>
                          <a:spcPts val="100"/>
                        </a:spcBef>
                        <a:spcAft>
                          <a:spcPts val="0"/>
                        </a:spcAft>
                        <a:buClrTx/>
                        <a:buSzTx/>
                        <a:buFont typeface="Arial" pitchFamily="34" charset="0"/>
                        <a:buChar char="•"/>
                        <a:tabLst/>
                        <a:defRPr/>
                      </a:pPr>
                      <a:r>
                        <a:rPr lang="en-US" sz="1000" kern="1200" dirty="0">
                          <a:gradFill>
                            <a:gsLst>
                              <a:gs pos="0">
                                <a:schemeClr val="tx1"/>
                              </a:gs>
                              <a:gs pos="100000">
                                <a:schemeClr val="tx1"/>
                              </a:gs>
                            </a:gsLst>
                            <a:lin ang="5400000" scaled="0"/>
                          </a:gradFill>
                          <a:effectLst/>
                          <a:latin typeface="+mn-lt"/>
                          <a:ea typeface="MS Mincho"/>
                          <a:cs typeface="Segoe UI"/>
                        </a:rPr>
                        <a:t>Use media to show consumers using or enjoying the brand or products</a:t>
                      </a:r>
                    </a:p>
                    <a:p>
                      <a:pPr marL="171450" marR="0" lvl="0" indent="-171450" algn="l" defTabSz="914363" rtl="0" eaLnBrk="1" fontAlgn="auto" latinLnBrk="0" hangingPunct="1">
                        <a:lnSpc>
                          <a:spcPct val="100000"/>
                        </a:lnSpc>
                        <a:spcBef>
                          <a:spcPts val="100"/>
                        </a:spcBef>
                        <a:spcAft>
                          <a:spcPts val="0"/>
                        </a:spcAft>
                        <a:buClrTx/>
                        <a:buSzTx/>
                        <a:buFont typeface="Arial" pitchFamily="34" charset="0"/>
                        <a:buChar char="•"/>
                        <a:tabLst/>
                        <a:defRPr/>
                      </a:pPr>
                      <a:r>
                        <a:rPr lang="en-US" sz="1000" kern="1200" dirty="0">
                          <a:gradFill>
                            <a:gsLst>
                              <a:gs pos="0">
                                <a:schemeClr val="tx1"/>
                              </a:gs>
                              <a:gs pos="100000">
                                <a:schemeClr val="tx1"/>
                              </a:gs>
                            </a:gsLst>
                            <a:lin ang="5400000" scaled="0"/>
                          </a:gradFill>
                          <a:effectLst/>
                          <a:latin typeface="+mn-lt"/>
                          <a:ea typeface="MS Mincho"/>
                          <a:cs typeface="Segoe UI"/>
                        </a:rPr>
                        <a:t>Customer engagement</a:t>
                      </a:r>
                    </a:p>
                  </a:txBody>
                  <a:tcPr marL="45713" marR="45713" marT="36571" marB="3657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2">
                        <a:lumMod val="75000"/>
                        <a:alpha val="20000"/>
                      </a:schemeClr>
                    </a:solidFill>
                  </a:tcPr>
                </a:tc>
                <a:tc>
                  <a:txBody>
                    <a:bodyPr/>
                    <a:lstStyle/>
                    <a:p>
                      <a:pPr marL="0" marR="0" lvl="0" indent="0" algn="l" defTabSz="914363" rtl="0" eaLnBrk="1" fontAlgn="auto" latinLnBrk="0" hangingPunct="1">
                        <a:lnSpc>
                          <a:spcPct val="100000"/>
                        </a:lnSpc>
                        <a:spcBef>
                          <a:spcPts val="100"/>
                        </a:spcBef>
                        <a:spcAft>
                          <a:spcPts val="0"/>
                        </a:spcAft>
                        <a:buClrTx/>
                        <a:buSzTx/>
                        <a:buFont typeface="Symbol"/>
                        <a:buNone/>
                        <a:tabLst/>
                        <a:defRPr/>
                      </a:pPr>
                      <a:r>
                        <a:rPr lang="en-US" sz="1100" kern="1200" dirty="0">
                          <a:gradFill>
                            <a:gsLst>
                              <a:gs pos="0">
                                <a:schemeClr val="tx1"/>
                              </a:gs>
                              <a:gs pos="100000">
                                <a:schemeClr val="tx1"/>
                              </a:gs>
                            </a:gsLst>
                            <a:lin ang="5400000" scaled="0"/>
                          </a:gradFill>
                          <a:effectLst/>
                          <a:latin typeface="+mn-lt"/>
                          <a:ea typeface="MS Mincho"/>
                          <a:cs typeface="Segoe UI"/>
                        </a:rPr>
                        <a:t>YouTube, Flickr, Instagram</a:t>
                      </a:r>
                    </a:p>
                  </a:txBody>
                  <a:tcPr marL="45713" marR="45713" marT="36571" marB="3657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2">
                        <a:lumMod val="75000"/>
                        <a:alpha val="20000"/>
                      </a:schemeClr>
                    </a:solidFill>
                  </a:tcPr>
                </a:tc>
              </a:tr>
              <a:tr h="733448">
                <a:tc>
                  <a:txBody>
                    <a:bodyPr/>
                    <a:lstStyle/>
                    <a:p>
                      <a:pPr marL="0" marR="0" lvl="1" indent="0" algn="l" defTabSz="914400" rtl="0" eaLnBrk="1" fontAlgn="auto" latinLnBrk="0" hangingPunct="1">
                        <a:lnSpc>
                          <a:spcPct val="100000"/>
                        </a:lnSpc>
                        <a:spcBef>
                          <a:spcPts val="100"/>
                        </a:spcBef>
                        <a:spcAft>
                          <a:spcPts val="0"/>
                        </a:spcAft>
                        <a:buClrTx/>
                        <a:buSzTx/>
                        <a:buFontTx/>
                        <a:buNone/>
                        <a:tabLst/>
                        <a:defRPr/>
                      </a:pPr>
                      <a:r>
                        <a:rPr lang="en-US" sz="1100" b="1" kern="0" dirty="0">
                          <a:ln w="3175">
                            <a:noFill/>
                          </a:ln>
                          <a:gradFill>
                            <a:gsLst>
                              <a:gs pos="86000">
                                <a:schemeClr val="tx1"/>
                              </a:gs>
                              <a:gs pos="100000">
                                <a:schemeClr val="tx1"/>
                              </a:gs>
                            </a:gsLst>
                            <a:lin ang="0" scaled="1"/>
                          </a:gradFill>
                          <a:effectLst/>
                          <a:latin typeface="+mn-lt"/>
                          <a:ea typeface="+mn-ea"/>
                          <a:cs typeface="+mn-cs"/>
                        </a:rPr>
                        <a:t>Social bookmarking</a:t>
                      </a:r>
                    </a:p>
                    <a:p>
                      <a:pPr marL="0" marR="0" lvl="1" indent="0" algn="l" defTabSz="914400" rtl="0" eaLnBrk="1" fontAlgn="auto" latinLnBrk="0" hangingPunct="1">
                        <a:lnSpc>
                          <a:spcPct val="100000"/>
                        </a:lnSpc>
                        <a:spcBef>
                          <a:spcPts val="100"/>
                        </a:spcBef>
                        <a:spcAft>
                          <a:spcPts val="0"/>
                        </a:spcAft>
                        <a:buClrTx/>
                        <a:buSzTx/>
                        <a:buFontTx/>
                        <a:buNone/>
                        <a:tabLst/>
                        <a:defRPr/>
                      </a:pPr>
                      <a:r>
                        <a:rPr lang="en-US" sz="1000" kern="0" dirty="0">
                          <a:ln w="3175">
                            <a:noFill/>
                          </a:ln>
                          <a:gradFill>
                            <a:gsLst>
                              <a:gs pos="86000">
                                <a:schemeClr val="tx1"/>
                              </a:gs>
                              <a:gs pos="100000">
                                <a:schemeClr val="tx1"/>
                              </a:gs>
                            </a:gsLst>
                            <a:lin ang="0" scaled="1"/>
                          </a:gradFill>
                          <a:effectLst/>
                          <a:latin typeface="+mn-lt"/>
                          <a:ea typeface="+mn-ea"/>
                          <a:cs typeface="+mn-cs"/>
                        </a:rPr>
                        <a:t>A method of saving content from webpages in a single online location for future use and sharing with other Internet users</a:t>
                      </a:r>
                    </a:p>
                  </a:txBody>
                  <a:tcPr marL="45713" marR="45713" marT="36571" marB="3657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2">
                        <a:lumMod val="75000"/>
                        <a:alpha val="20000"/>
                      </a:schemeClr>
                    </a:solidFill>
                  </a:tcPr>
                </a:tc>
                <a:tc>
                  <a:txBody>
                    <a:bodyPr/>
                    <a:lstStyle/>
                    <a:p>
                      <a:pPr marL="171450" marR="0" lvl="0" indent="-171450" algn="l" defTabSz="914363" rtl="0" eaLnBrk="1" fontAlgn="auto" latinLnBrk="0" hangingPunct="1">
                        <a:lnSpc>
                          <a:spcPct val="100000"/>
                        </a:lnSpc>
                        <a:spcBef>
                          <a:spcPts val="100"/>
                        </a:spcBef>
                        <a:spcAft>
                          <a:spcPts val="0"/>
                        </a:spcAft>
                        <a:buClrTx/>
                        <a:buSzTx/>
                        <a:buFont typeface="Arial" pitchFamily="34" charset="0"/>
                        <a:buChar char="•"/>
                        <a:tabLst/>
                        <a:defRPr/>
                      </a:pPr>
                      <a:r>
                        <a:rPr lang="en-US" sz="1000" kern="1200" dirty="0">
                          <a:gradFill>
                            <a:gsLst>
                              <a:gs pos="0">
                                <a:schemeClr val="tx1"/>
                              </a:gs>
                              <a:gs pos="100000">
                                <a:schemeClr val="tx1"/>
                              </a:gs>
                            </a:gsLst>
                            <a:lin ang="5400000" scaled="0"/>
                          </a:gradFill>
                          <a:effectLst/>
                          <a:latin typeface="+mn-lt"/>
                          <a:ea typeface="MS Mincho"/>
                          <a:cs typeface="Segoe UI"/>
                        </a:rPr>
                        <a:t>Save pictures, websites and other digital content </a:t>
                      </a:r>
                    </a:p>
                    <a:p>
                      <a:pPr marL="171450" marR="0" lvl="0" indent="-171450" algn="l" defTabSz="914363" rtl="0" eaLnBrk="1" fontAlgn="auto" latinLnBrk="0" hangingPunct="1">
                        <a:lnSpc>
                          <a:spcPct val="100000"/>
                        </a:lnSpc>
                        <a:spcBef>
                          <a:spcPts val="100"/>
                        </a:spcBef>
                        <a:spcAft>
                          <a:spcPts val="0"/>
                        </a:spcAft>
                        <a:buClrTx/>
                        <a:buSzTx/>
                        <a:buFont typeface="Arial" pitchFamily="34" charset="0"/>
                        <a:buChar char="•"/>
                        <a:tabLst/>
                        <a:defRPr/>
                      </a:pPr>
                      <a:r>
                        <a:rPr lang="en-US" sz="1000" kern="1200" dirty="0">
                          <a:gradFill>
                            <a:gsLst>
                              <a:gs pos="0">
                                <a:schemeClr val="tx1"/>
                              </a:gs>
                              <a:gs pos="100000">
                                <a:schemeClr val="tx1"/>
                              </a:gs>
                            </a:gsLst>
                            <a:lin ang="5400000" scaled="0"/>
                          </a:gradFill>
                          <a:effectLst/>
                          <a:latin typeface="+mn-lt"/>
                          <a:ea typeface="MS Mincho"/>
                          <a:cs typeface="Segoe UI"/>
                        </a:rPr>
                        <a:t>Share content with friends</a:t>
                      </a:r>
                    </a:p>
                  </a:txBody>
                  <a:tcPr marL="45713" marR="45713" marT="36571" marB="3657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2">
                        <a:lumMod val="75000"/>
                        <a:alpha val="20000"/>
                      </a:schemeClr>
                    </a:solidFill>
                  </a:tcPr>
                </a:tc>
                <a:tc>
                  <a:txBody>
                    <a:bodyPr/>
                    <a:lstStyle/>
                    <a:p>
                      <a:pPr marL="171450" marR="0" lvl="0" indent="-171450" algn="l" defTabSz="914363" rtl="0" eaLnBrk="1" fontAlgn="auto" latinLnBrk="0" hangingPunct="1">
                        <a:lnSpc>
                          <a:spcPct val="100000"/>
                        </a:lnSpc>
                        <a:spcBef>
                          <a:spcPts val="100"/>
                        </a:spcBef>
                        <a:spcAft>
                          <a:spcPts val="0"/>
                        </a:spcAft>
                        <a:buClrTx/>
                        <a:buSzTx/>
                        <a:buFont typeface="Arial" pitchFamily="34" charset="0"/>
                        <a:buChar char="•"/>
                        <a:tabLst/>
                        <a:defRPr/>
                      </a:pPr>
                      <a:r>
                        <a:rPr lang="en-US" sz="1000" kern="1200" dirty="0">
                          <a:gradFill>
                            <a:gsLst>
                              <a:gs pos="0">
                                <a:schemeClr val="tx1"/>
                              </a:gs>
                              <a:gs pos="100000">
                                <a:schemeClr val="tx1"/>
                              </a:gs>
                            </a:gsLst>
                            <a:lin ang="5400000" scaled="0"/>
                          </a:gradFill>
                          <a:effectLst/>
                          <a:latin typeface="+mn-lt"/>
                          <a:ea typeface="MS Mincho"/>
                          <a:cs typeface="Segoe UI"/>
                        </a:rPr>
                        <a:t>Build brand awareness</a:t>
                      </a:r>
                    </a:p>
                    <a:p>
                      <a:pPr marL="171450" marR="0" lvl="0" indent="-171450" algn="l" defTabSz="914363" rtl="0" eaLnBrk="1" fontAlgn="auto" latinLnBrk="0" hangingPunct="1">
                        <a:lnSpc>
                          <a:spcPct val="100000"/>
                        </a:lnSpc>
                        <a:spcBef>
                          <a:spcPts val="100"/>
                        </a:spcBef>
                        <a:spcAft>
                          <a:spcPts val="0"/>
                        </a:spcAft>
                        <a:buClrTx/>
                        <a:buSzTx/>
                        <a:buFont typeface="Arial" pitchFamily="34" charset="0"/>
                        <a:buChar char="•"/>
                        <a:tabLst/>
                        <a:defRPr/>
                      </a:pPr>
                      <a:r>
                        <a:rPr lang="en-US" sz="1000" kern="1200" dirty="0">
                          <a:gradFill>
                            <a:gsLst>
                              <a:gs pos="0">
                                <a:schemeClr val="tx1"/>
                              </a:gs>
                              <a:gs pos="100000">
                                <a:schemeClr val="tx1"/>
                              </a:gs>
                            </a:gsLst>
                            <a:lin ang="5400000" scaled="0"/>
                          </a:gradFill>
                          <a:effectLst/>
                          <a:latin typeface="+mn-lt"/>
                          <a:ea typeface="MS Mincho"/>
                          <a:cs typeface="Segoe UI"/>
                        </a:rPr>
                        <a:t>Drive traffic to company website</a:t>
                      </a:r>
                    </a:p>
                  </a:txBody>
                  <a:tcPr marL="45713" marR="45713" marT="36571" marB="3657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2">
                        <a:lumMod val="75000"/>
                        <a:alpha val="20000"/>
                      </a:schemeClr>
                    </a:solidFill>
                  </a:tcPr>
                </a:tc>
                <a:tc>
                  <a:txBody>
                    <a:bodyPr/>
                    <a:lstStyle/>
                    <a:p>
                      <a:pPr marL="0" marR="0" lvl="0" indent="0" algn="l" defTabSz="914363" rtl="0" eaLnBrk="1" fontAlgn="auto" latinLnBrk="0" hangingPunct="1">
                        <a:lnSpc>
                          <a:spcPct val="100000"/>
                        </a:lnSpc>
                        <a:spcBef>
                          <a:spcPts val="100"/>
                        </a:spcBef>
                        <a:spcAft>
                          <a:spcPts val="0"/>
                        </a:spcAft>
                        <a:buClrTx/>
                        <a:buSzTx/>
                        <a:buFont typeface="Symbol"/>
                        <a:buNone/>
                        <a:tabLst/>
                        <a:defRPr/>
                      </a:pPr>
                      <a:r>
                        <a:rPr lang="en-US" sz="1100" kern="1200" dirty="0" smtClean="0">
                          <a:gradFill>
                            <a:gsLst>
                              <a:gs pos="0">
                                <a:schemeClr val="tx1"/>
                              </a:gs>
                              <a:gs pos="100000">
                                <a:schemeClr val="tx1"/>
                              </a:gs>
                            </a:gsLst>
                            <a:lin ang="5400000" scaled="0"/>
                          </a:gradFill>
                          <a:effectLst/>
                          <a:latin typeface="+mn-lt"/>
                          <a:ea typeface="MS Mincho"/>
                          <a:cs typeface="Segoe UI"/>
                        </a:rPr>
                        <a:t>Pinterest, StumbleUpon, Reddit, Delicious</a:t>
                      </a:r>
                      <a:endParaRPr lang="en-US" sz="1100" kern="1200" dirty="0">
                        <a:gradFill>
                          <a:gsLst>
                            <a:gs pos="0">
                              <a:schemeClr val="tx1"/>
                            </a:gs>
                            <a:gs pos="100000">
                              <a:schemeClr val="tx1"/>
                            </a:gs>
                          </a:gsLst>
                          <a:lin ang="5400000" scaled="0"/>
                        </a:gradFill>
                        <a:effectLst/>
                        <a:latin typeface="+mn-lt"/>
                        <a:ea typeface="MS Mincho"/>
                        <a:cs typeface="Segoe UI"/>
                      </a:endParaRPr>
                    </a:p>
                  </a:txBody>
                  <a:tcPr marL="45713" marR="45713" marT="36571" marB="3657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2">
                        <a:lumMod val="75000"/>
                        <a:alpha val="20000"/>
                      </a:schemeClr>
                    </a:solidFill>
                  </a:tcPr>
                </a:tc>
              </a:tr>
              <a:tr h="573451">
                <a:tc>
                  <a:txBody>
                    <a:bodyPr/>
                    <a:lstStyle/>
                    <a:p>
                      <a:pPr marL="0" marR="0" lvl="1" indent="0" algn="l" defTabSz="914400" rtl="0" eaLnBrk="1" fontAlgn="auto" latinLnBrk="0" hangingPunct="1">
                        <a:lnSpc>
                          <a:spcPct val="100000"/>
                        </a:lnSpc>
                        <a:spcBef>
                          <a:spcPts val="100"/>
                        </a:spcBef>
                        <a:spcAft>
                          <a:spcPts val="0"/>
                        </a:spcAft>
                        <a:buClrTx/>
                        <a:buSzTx/>
                        <a:buFontTx/>
                        <a:buNone/>
                        <a:tabLst/>
                        <a:defRPr/>
                      </a:pPr>
                      <a:r>
                        <a:rPr lang="en-US" sz="1100" b="1" kern="0" dirty="0">
                          <a:ln w="3175">
                            <a:noFill/>
                          </a:ln>
                          <a:gradFill>
                            <a:gsLst>
                              <a:gs pos="86000">
                                <a:schemeClr val="tx1"/>
                              </a:gs>
                              <a:gs pos="100000">
                                <a:schemeClr val="tx1"/>
                              </a:gs>
                            </a:gsLst>
                            <a:lin ang="0" scaled="1"/>
                          </a:gradFill>
                          <a:effectLst/>
                          <a:latin typeface="+mn-lt"/>
                          <a:ea typeface="+mn-ea"/>
                          <a:cs typeface="+mn-cs"/>
                        </a:rPr>
                        <a:t>Geo-social</a:t>
                      </a:r>
                    </a:p>
                    <a:p>
                      <a:pPr marL="0" marR="0" lvl="1" indent="0" algn="l" defTabSz="914400" rtl="0" eaLnBrk="1" fontAlgn="auto" latinLnBrk="0" hangingPunct="1">
                        <a:lnSpc>
                          <a:spcPct val="100000"/>
                        </a:lnSpc>
                        <a:spcBef>
                          <a:spcPts val="100"/>
                        </a:spcBef>
                        <a:spcAft>
                          <a:spcPts val="0"/>
                        </a:spcAft>
                        <a:buClrTx/>
                        <a:buSzTx/>
                        <a:buFontTx/>
                        <a:buNone/>
                        <a:tabLst/>
                        <a:defRPr/>
                      </a:pPr>
                      <a:r>
                        <a:rPr lang="en-US" sz="1000" kern="0" dirty="0">
                          <a:ln w="3175">
                            <a:noFill/>
                          </a:ln>
                          <a:gradFill>
                            <a:gsLst>
                              <a:gs pos="86000">
                                <a:schemeClr val="tx1"/>
                              </a:gs>
                              <a:gs pos="100000">
                                <a:schemeClr val="tx1"/>
                              </a:gs>
                            </a:gsLst>
                            <a:lin ang="0" scaled="1"/>
                          </a:gradFill>
                          <a:effectLst/>
                          <a:latin typeface="+mn-lt"/>
                          <a:ea typeface="+mn-ea"/>
                          <a:cs typeface="+mn-cs"/>
                        </a:rPr>
                        <a:t>A platform used on mobile devices to locate, use and share reviews with other users of nearby services</a:t>
                      </a:r>
                    </a:p>
                  </a:txBody>
                  <a:tcPr marL="45713" marR="45713" marT="36571" marB="3657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2">
                        <a:lumMod val="75000"/>
                        <a:alpha val="20000"/>
                      </a:schemeClr>
                    </a:solidFill>
                  </a:tcPr>
                </a:tc>
                <a:tc>
                  <a:txBody>
                    <a:bodyPr/>
                    <a:lstStyle/>
                    <a:p>
                      <a:pPr marL="171450" marR="0" lvl="0" indent="-171450" algn="l" defTabSz="914363" rtl="0" eaLnBrk="1" fontAlgn="auto" latinLnBrk="0" hangingPunct="1">
                        <a:lnSpc>
                          <a:spcPct val="100000"/>
                        </a:lnSpc>
                        <a:spcBef>
                          <a:spcPts val="100"/>
                        </a:spcBef>
                        <a:spcAft>
                          <a:spcPts val="0"/>
                        </a:spcAft>
                        <a:buClrTx/>
                        <a:buSzTx/>
                        <a:buFont typeface="Arial" pitchFamily="34" charset="0"/>
                        <a:buChar char="•"/>
                        <a:tabLst/>
                        <a:defRPr/>
                      </a:pPr>
                      <a:r>
                        <a:rPr lang="en-US" sz="1000" kern="1200" dirty="0">
                          <a:gradFill>
                            <a:gsLst>
                              <a:gs pos="0">
                                <a:schemeClr val="tx1"/>
                              </a:gs>
                              <a:gs pos="100000">
                                <a:schemeClr val="tx1"/>
                              </a:gs>
                            </a:gsLst>
                            <a:lin ang="5400000" scaled="0"/>
                          </a:gradFill>
                          <a:effectLst/>
                          <a:latin typeface="+mn-lt"/>
                          <a:ea typeface="MS Mincho"/>
                          <a:cs typeface="Segoe UI"/>
                        </a:rPr>
                        <a:t>Locate services and friends nearby</a:t>
                      </a:r>
                    </a:p>
                    <a:p>
                      <a:pPr marL="171450" marR="0" lvl="0" indent="-171450" algn="l" defTabSz="914363" rtl="0" eaLnBrk="1" fontAlgn="auto" latinLnBrk="0" hangingPunct="1">
                        <a:lnSpc>
                          <a:spcPct val="100000"/>
                        </a:lnSpc>
                        <a:spcBef>
                          <a:spcPts val="100"/>
                        </a:spcBef>
                        <a:spcAft>
                          <a:spcPts val="0"/>
                        </a:spcAft>
                        <a:buClrTx/>
                        <a:buSzTx/>
                        <a:buFont typeface="Arial" pitchFamily="34" charset="0"/>
                        <a:buChar char="•"/>
                        <a:tabLst/>
                        <a:defRPr/>
                      </a:pPr>
                      <a:r>
                        <a:rPr lang="en-US" sz="1000" kern="1200" dirty="0">
                          <a:gradFill>
                            <a:gsLst>
                              <a:gs pos="0">
                                <a:schemeClr val="tx1"/>
                              </a:gs>
                              <a:gs pos="100000">
                                <a:schemeClr val="tx1"/>
                              </a:gs>
                            </a:gsLst>
                            <a:lin ang="5400000" scaled="0"/>
                          </a:gradFill>
                          <a:effectLst/>
                          <a:latin typeface="+mn-lt"/>
                          <a:ea typeface="MS Mincho"/>
                          <a:cs typeface="Segoe UI"/>
                        </a:rPr>
                        <a:t>Create and read reviews</a:t>
                      </a:r>
                    </a:p>
                  </a:txBody>
                  <a:tcPr marL="45713" marR="45713" marT="36571" marB="3657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2">
                        <a:lumMod val="75000"/>
                        <a:alpha val="20000"/>
                      </a:schemeClr>
                    </a:solidFill>
                  </a:tcPr>
                </a:tc>
                <a:tc>
                  <a:txBody>
                    <a:bodyPr/>
                    <a:lstStyle/>
                    <a:p>
                      <a:pPr marL="171450" marR="0" lvl="0" indent="-171450" algn="l" defTabSz="914363" rtl="0" eaLnBrk="1" fontAlgn="auto" latinLnBrk="0" hangingPunct="1">
                        <a:lnSpc>
                          <a:spcPct val="100000"/>
                        </a:lnSpc>
                        <a:spcBef>
                          <a:spcPts val="100"/>
                        </a:spcBef>
                        <a:spcAft>
                          <a:spcPts val="0"/>
                        </a:spcAft>
                        <a:buClrTx/>
                        <a:buSzTx/>
                        <a:buFont typeface="Arial" pitchFamily="34" charset="0"/>
                        <a:buChar char="•"/>
                        <a:tabLst/>
                        <a:defRPr/>
                      </a:pPr>
                      <a:r>
                        <a:rPr lang="en-US" sz="1000" kern="1200" dirty="0">
                          <a:gradFill>
                            <a:gsLst>
                              <a:gs pos="0">
                                <a:schemeClr val="tx1"/>
                              </a:gs>
                              <a:gs pos="100000">
                                <a:schemeClr val="tx1"/>
                              </a:gs>
                            </a:gsLst>
                            <a:lin ang="5400000" scaled="0"/>
                          </a:gradFill>
                          <a:effectLst/>
                          <a:latin typeface="+mn-lt"/>
                          <a:ea typeface="MS Mincho"/>
                          <a:cs typeface="Segoe UI"/>
                        </a:rPr>
                        <a:t>Obtain user data</a:t>
                      </a:r>
                    </a:p>
                    <a:p>
                      <a:pPr marL="171450" marR="0" lvl="0" indent="-171450" algn="l" defTabSz="914363" rtl="0" eaLnBrk="1" fontAlgn="auto" latinLnBrk="0" hangingPunct="1">
                        <a:lnSpc>
                          <a:spcPct val="100000"/>
                        </a:lnSpc>
                        <a:spcBef>
                          <a:spcPts val="100"/>
                        </a:spcBef>
                        <a:spcAft>
                          <a:spcPts val="0"/>
                        </a:spcAft>
                        <a:buClrTx/>
                        <a:buSzTx/>
                        <a:buFont typeface="Arial" pitchFamily="34" charset="0"/>
                        <a:buChar char="•"/>
                        <a:tabLst/>
                        <a:defRPr/>
                      </a:pPr>
                      <a:r>
                        <a:rPr lang="en-US" sz="1000" kern="1200" dirty="0">
                          <a:gradFill>
                            <a:gsLst>
                              <a:gs pos="0">
                                <a:schemeClr val="tx1"/>
                              </a:gs>
                              <a:gs pos="100000">
                                <a:schemeClr val="tx1"/>
                              </a:gs>
                            </a:gsLst>
                            <a:lin ang="5400000" scaled="0"/>
                          </a:gradFill>
                          <a:effectLst/>
                          <a:latin typeface="+mn-lt"/>
                          <a:ea typeface="MS Mincho"/>
                          <a:cs typeface="Segoe UI"/>
                        </a:rPr>
                        <a:t>Target advertising</a:t>
                      </a:r>
                    </a:p>
                  </a:txBody>
                  <a:tcPr marL="45713" marR="45713" marT="36571" marB="3657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2">
                        <a:lumMod val="75000"/>
                        <a:alpha val="20000"/>
                      </a:schemeClr>
                    </a:solidFill>
                  </a:tcPr>
                </a:tc>
                <a:tc>
                  <a:txBody>
                    <a:bodyPr/>
                    <a:lstStyle/>
                    <a:p>
                      <a:pPr marL="0" marR="0" lvl="0" indent="0" algn="l" defTabSz="914363" rtl="0" eaLnBrk="1" fontAlgn="auto" latinLnBrk="0" hangingPunct="1">
                        <a:lnSpc>
                          <a:spcPct val="100000"/>
                        </a:lnSpc>
                        <a:spcBef>
                          <a:spcPts val="100"/>
                        </a:spcBef>
                        <a:spcAft>
                          <a:spcPts val="0"/>
                        </a:spcAft>
                        <a:buClrTx/>
                        <a:buSzTx/>
                        <a:buFont typeface="Symbol"/>
                        <a:buNone/>
                        <a:tabLst/>
                        <a:defRPr/>
                      </a:pPr>
                      <a:r>
                        <a:rPr lang="en-US" sz="1100" kern="1200" dirty="0">
                          <a:gradFill>
                            <a:gsLst>
                              <a:gs pos="0">
                                <a:schemeClr val="tx1"/>
                              </a:gs>
                              <a:gs pos="100000">
                                <a:schemeClr val="tx1"/>
                              </a:gs>
                            </a:gsLst>
                            <a:lin ang="5400000" scaled="0"/>
                          </a:gradFill>
                          <a:effectLst/>
                          <a:latin typeface="+mn-lt"/>
                          <a:ea typeface="MS Mincho"/>
                          <a:cs typeface="Segoe UI"/>
                        </a:rPr>
                        <a:t>Yelp, Foursquare, Facebook (develop new or utilize working platforms)</a:t>
                      </a:r>
                    </a:p>
                  </a:txBody>
                  <a:tcPr marL="45713" marR="45713" marT="36571" marB="3657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2">
                        <a:lumMod val="75000"/>
                        <a:alpha val="20000"/>
                      </a:schemeClr>
                    </a:solidFill>
                  </a:tcPr>
                </a:tc>
              </a:tr>
              <a:tr h="573451">
                <a:tc>
                  <a:txBody>
                    <a:bodyPr/>
                    <a:lstStyle/>
                    <a:p>
                      <a:pPr marL="0" marR="0" lvl="1" indent="0" algn="l" defTabSz="914400" rtl="0" eaLnBrk="1" fontAlgn="auto" latinLnBrk="0" hangingPunct="1">
                        <a:lnSpc>
                          <a:spcPct val="100000"/>
                        </a:lnSpc>
                        <a:spcBef>
                          <a:spcPts val="100"/>
                        </a:spcBef>
                        <a:spcAft>
                          <a:spcPts val="0"/>
                        </a:spcAft>
                        <a:buClrTx/>
                        <a:buSzTx/>
                        <a:buFontTx/>
                        <a:buNone/>
                        <a:tabLst/>
                        <a:defRPr/>
                      </a:pPr>
                      <a:r>
                        <a:rPr lang="en-US" sz="1100" b="1" kern="0" dirty="0" smtClean="0">
                          <a:ln w="3175">
                            <a:noFill/>
                          </a:ln>
                          <a:gradFill>
                            <a:gsLst>
                              <a:gs pos="86000">
                                <a:schemeClr val="tx1"/>
                              </a:gs>
                              <a:gs pos="100000">
                                <a:schemeClr val="tx1"/>
                              </a:gs>
                            </a:gsLst>
                            <a:lin ang="0" scaled="1"/>
                          </a:gradFill>
                          <a:effectLst/>
                          <a:latin typeface="+mn-lt"/>
                          <a:ea typeface="+mn-ea"/>
                          <a:cs typeface="+mn-cs"/>
                        </a:rPr>
                        <a:t>E-commerce</a:t>
                      </a:r>
                    </a:p>
                    <a:p>
                      <a:pPr marL="0" marR="0" lvl="1" indent="0" algn="l" defTabSz="914400" rtl="0" eaLnBrk="1" fontAlgn="auto" latinLnBrk="0" hangingPunct="1">
                        <a:lnSpc>
                          <a:spcPct val="100000"/>
                        </a:lnSpc>
                        <a:spcBef>
                          <a:spcPts val="100"/>
                        </a:spcBef>
                        <a:spcAft>
                          <a:spcPts val="0"/>
                        </a:spcAft>
                        <a:buClrTx/>
                        <a:buSzTx/>
                        <a:buFontTx/>
                        <a:buNone/>
                        <a:tabLst/>
                        <a:defRPr/>
                      </a:pPr>
                      <a:r>
                        <a:rPr lang="en-US" sz="1000" kern="0" dirty="0" smtClean="0">
                          <a:ln w="3175">
                            <a:noFill/>
                          </a:ln>
                          <a:gradFill>
                            <a:gsLst>
                              <a:gs pos="86000">
                                <a:schemeClr val="tx1"/>
                              </a:gs>
                              <a:gs pos="100000">
                                <a:schemeClr val="tx1"/>
                              </a:gs>
                            </a:gsLst>
                            <a:lin ang="0" scaled="1"/>
                          </a:gradFill>
                          <a:effectLst/>
                          <a:latin typeface="+mn-lt"/>
                          <a:ea typeface="+mn-ea"/>
                          <a:cs typeface="+mn-cs"/>
                        </a:rPr>
                        <a:t>Platforms </a:t>
                      </a:r>
                      <a:r>
                        <a:rPr lang="en-US" sz="1000" kern="0" dirty="0">
                          <a:ln w="3175">
                            <a:noFill/>
                          </a:ln>
                          <a:gradFill>
                            <a:gsLst>
                              <a:gs pos="86000">
                                <a:schemeClr val="tx1"/>
                              </a:gs>
                              <a:gs pos="100000">
                                <a:schemeClr val="tx1"/>
                              </a:gs>
                            </a:gsLst>
                            <a:lin ang="0" scaled="1"/>
                          </a:gradFill>
                          <a:effectLst/>
                          <a:latin typeface="+mn-lt"/>
                          <a:ea typeface="+mn-ea"/>
                          <a:cs typeface="+mn-cs"/>
                        </a:rPr>
                        <a:t>where products are sold to and </a:t>
                      </a:r>
                      <a:r>
                        <a:rPr lang="en-US" sz="1000" kern="0" dirty="0" smtClean="0">
                          <a:ln w="3175">
                            <a:noFill/>
                          </a:ln>
                          <a:gradFill>
                            <a:gsLst>
                              <a:gs pos="86000">
                                <a:schemeClr val="tx1"/>
                              </a:gs>
                              <a:gs pos="100000">
                                <a:schemeClr val="tx1"/>
                              </a:gs>
                            </a:gsLst>
                            <a:lin ang="0" scaled="1"/>
                          </a:gradFill>
                          <a:effectLst/>
                          <a:latin typeface="+mn-lt"/>
                          <a:ea typeface="+mn-ea"/>
                          <a:cs typeface="+mn-cs"/>
                        </a:rPr>
                        <a:t>reviewed</a:t>
                      </a:r>
                      <a:br>
                        <a:rPr lang="en-US" sz="1000" kern="0" dirty="0" smtClean="0">
                          <a:ln w="3175">
                            <a:noFill/>
                          </a:ln>
                          <a:gradFill>
                            <a:gsLst>
                              <a:gs pos="86000">
                                <a:schemeClr val="tx1"/>
                              </a:gs>
                              <a:gs pos="100000">
                                <a:schemeClr val="tx1"/>
                              </a:gs>
                            </a:gsLst>
                            <a:lin ang="0" scaled="1"/>
                          </a:gradFill>
                          <a:effectLst/>
                          <a:latin typeface="+mn-lt"/>
                          <a:ea typeface="+mn-ea"/>
                          <a:cs typeface="+mn-cs"/>
                        </a:rPr>
                      </a:br>
                      <a:r>
                        <a:rPr lang="en-US" sz="1000" kern="0" dirty="0" smtClean="0">
                          <a:ln w="3175">
                            <a:noFill/>
                          </a:ln>
                          <a:gradFill>
                            <a:gsLst>
                              <a:gs pos="86000">
                                <a:schemeClr val="tx1"/>
                              </a:gs>
                              <a:gs pos="100000">
                                <a:schemeClr val="tx1"/>
                              </a:gs>
                            </a:gsLst>
                            <a:lin ang="0" scaled="1"/>
                          </a:gradFill>
                          <a:effectLst/>
                          <a:latin typeface="+mn-lt"/>
                          <a:ea typeface="+mn-ea"/>
                          <a:cs typeface="+mn-cs"/>
                        </a:rPr>
                        <a:t>by </a:t>
                      </a:r>
                      <a:r>
                        <a:rPr lang="en-US" sz="1000" kern="0" dirty="0">
                          <a:ln w="3175">
                            <a:noFill/>
                          </a:ln>
                          <a:gradFill>
                            <a:gsLst>
                              <a:gs pos="86000">
                                <a:schemeClr val="tx1"/>
                              </a:gs>
                              <a:gs pos="100000">
                                <a:schemeClr val="tx1"/>
                              </a:gs>
                            </a:gsLst>
                            <a:lin ang="0" scaled="1"/>
                          </a:gradFill>
                          <a:effectLst/>
                          <a:latin typeface="+mn-lt"/>
                          <a:ea typeface="+mn-ea"/>
                          <a:cs typeface="+mn-cs"/>
                        </a:rPr>
                        <a:t>consumers</a:t>
                      </a:r>
                    </a:p>
                  </a:txBody>
                  <a:tcPr marL="45713" marR="45713" marT="36571" marB="3657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2">
                        <a:lumMod val="75000"/>
                        <a:alpha val="20000"/>
                      </a:schemeClr>
                    </a:solidFill>
                  </a:tcPr>
                </a:tc>
                <a:tc>
                  <a:txBody>
                    <a:bodyPr/>
                    <a:lstStyle/>
                    <a:p>
                      <a:pPr marL="171450" marR="0" lvl="0" indent="-171450" algn="l" defTabSz="914363" rtl="0" eaLnBrk="1" fontAlgn="auto" latinLnBrk="0" hangingPunct="1">
                        <a:lnSpc>
                          <a:spcPct val="100000"/>
                        </a:lnSpc>
                        <a:spcBef>
                          <a:spcPts val="100"/>
                        </a:spcBef>
                        <a:spcAft>
                          <a:spcPts val="0"/>
                        </a:spcAft>
                        <a:buClrTx/>
                        <a:buSzTx/>
                        <a:buFont typeface="Arial" pitchFamily="34" charset="0"/>
                        <a:buChar char="•"/>
                        <a:tabLst/>
                        <a:defRPr/>
                      </a:pPr>
                      <a:r>
                        <a:rPr lang="en-US" sz="1000" kern="1200" dirty="0">
                          <a:gradFill>
                            <a:gsLst>
                              <a:gs pos="0">
                                <a:schemeClr val="tx1"/>
                              </a:gs>
                              <a:gs pos="100000">
                                <a:schemeClr val="tx1"/>
                              </a:gs>
                            </a:gsLst>
                            <a:lin ang="5400000" scaled="0"/>
                          </a:gradFill>
                          <a:effectLst/>
                          <a:latin typeface="+mn-lt"/>
                          <a:ea typeface="MS Mincho"/>
                          <a:cs typeface="Segoe UI"/>
                        </a:rPr>
                        <a:t>Search product attributes</a:t>
                      </a:r>
                    </a:p>
                    <a:p>
                      <a:pPr marL="171450" marR="0" lvl="0" indent="-171450" algn="l" defTabSz="914363" rtl="0" eaLnBrk="1" fontAlgn="auto" latinLnBrk="0" hangingPunct="1">
                        <a:lnSpc>
                          <a:spcPct val="100000"/>
                        </a:lnSpc>
                        <a:spcBef>
                          <a:spcPts val="100"/>
                        </a:spcBef>
                        <a:spcAft>
                          <a:spcPts val="0"/>
                        </a:spcAft>
                        <a:buClrTx/>
                        <a:buSzTx/>
                        <a:buFont typeface="Arial" pitchFamily="34" charset="0"/>
                        <a:buChar char="•"/>
                        <a:tabLst/>
                        <a:defRPr/>
                      </a:pPr>
                      <a:r>
                        <a:rPr lang="en-US" sz="1000" kern="1200" dirty="0">
                          <a:gradFill>
                            <a:gsLst>
                              <a:gs pos="0">
                                <a:schemeClr val="tx1"/>
                              </a:gs>
                              <a:gs pos="100000">
                                <a:schemeClr val="tx1"/>
                              </a:gs>
                            </a:gsLst>
                            <a:lin ang="5400000" scaled="0"/>
                          </a:gradFill>
                          <a:effectLst/>
                          <a:latin typeface="+mn-lt"/>
                          <a:ea typeface="MS Mincho"/>
                          <a:cs typeface="Segoe UI"/>
                        </a:rPr>
                        <a:t>Read and create product reviews</a:t>
                      </a:r>
                    </a:p>
                  </a:txBody>
                  <a:tcPr marL="45713" marR="45713" marT="36571" marB="3657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2">
                        <a:lumMod val="75000"/>
                        <a:alpha val="20000"/>
                      </a:schemeClr>
                    </a:solidFill>
                  </a:tcPr>
                </a:tc>
                <a:tc>
                  <a:txBody>
                    <a:bodyPr/>
                    <a:lstStyle/>
                    <a:p>
                      <a:pPr marL="171450" marR="0" lvl="0" indent="-171450" algn="l" defTabSz="914363" rtl="0" eaLnBrk="1" fontAlgn="auto" latinLnBrk="0" hangingPunct="1">
                        <a:lnSpc>
                          <a:spcPct val="100000"/>
                        </a:lnSpc>
                        <a:spcBef>
                          <a:spcPts val="100"/>
                        </a:spcBef>
                        <a:spcAft>
                          <a:spcPts val="0"/>
                        </a:spcAft>
                        <a:buClrTx/>
                        <a:buSzTx/>
                        <a:buFont typeface="Arial" pitchFamily="34" charset="0"/>
                        <a:buChar char="•"/>
                        <a:tabLst/>
                        <a:defRPr/>
                      </a:pPr>
                      <a:r>
                        <a:rPr lang="en-US" sz="1000" kern="1200" dirty="0">
                          <a:gradFill>
                            <a:gsLst>
                              <a:gs pos="0">
                                <a:schemeClr val="tx1"/>
                              </a:gs>
                              <a:gs pos="100000">
                                <a:schemeClr val="tx1"/>
                              </a:gs>
                            </a:gsLst>
                            <a:lin ang="5400000" scaled="0"/>
                          </a:gradFill>
                          <a:effectLst/>
                          <a:latin typeface="+mn-lt"/>
                          <a:ea typeface="MS Mincho"/>
                          <a:cs typeface="Segoe UI"/>
                        </a:rPr>
                        <a:t>Provide mini focus groups</a:t>
                      </a:r>
                    </a:p>
                    <a:p>
                      <a:pPr marL="171450" marR="0" lvl="0" indent="-171450" algn="l" defTabSz="914363" rtl="0" eaLnBrk="1" fontAlgn="auto" latinLnBrk="0" hangingPunct="1">
                        <a:lnSpc>
                          <a:spcPct val="100000"/>
                        </a:lnSpc>
                        <a:spcBef>
                          <a:spcPts val="100"/>
                        </a:spcBef>
                        <a:spcAft>
                          <a:spcPts val="0"/>
                        </a:spcAft>
                        <a:buClrTx/>
                        <a:buSzTx/>
                        <a:buFont typeface="Arial" pitchFamily="34" charset="0"/>
                        <a:buChar char="•"/>
                        <a:tabLst/>
                        <a:defRPr/>
                      </a:pPr>
                      <a:r>
                        <a:rPr lang="en-US" sz="1000" kern="1200" dirty="0">
                          <a:gradFill>
                            <a:gsLst>
                              <a:gs pos="0">
                                <a:schemeClr val="tx1"/>
                              </a:gs>
                              <a:gs pos="100000">
                                <a:schemeClr val="tx1"/>
                              </a:gs>
                            </a:gsLst>
                            <a:lin ang="5400000" scaled="0"/>
                          </a:gradFill>
                          <a:effectLst/>
                          <a:latin typeface="+mn-lt"/>
                          <a:ea typeface="MS Mincho"/>
                          <a:cs typeface="Segoe UI"/>
                        </a:rPr>
                        <a:t>Product improvement/ development</a:t>
                      </a:r>
                    </a:p>
                  </a:txBody>
                  <a:tcPr marL="45713" marR="45713" marT="36571" marB="3657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2">
                        <a:lumMod val="75000"/>
                        <a:alpha val="20000"/>
                      </a:schemeClr>
                    </a:solidFill>
                  </a:tcPr>
                </a:tc>
                <a:tc>
                  <a:txBody>
                    <a:bodyPr/>
                    <a:lstStyle/>
                    <a:p>
                      <a:pPr marL="0" marR="0" lvl="0" indent="0" algn="l" defTabSz="914363" rtl="0" eaLnBrk="1" fontAlgn="auto" latinLnBrk="0" hangingPunct="1">
                        <a:lnSpc>
                          <a:spcPct val="100000"/>
                        </a:lnSpc>
                        <a:spcBef>
                          <a:spcPts val="100"/>
                        </a:spcBef>
                        <a:spcAft>
                          <a:spcPts val="0"/>
                        </a:spcAft>
                        <a:buClrTx/>
                        <a:buSzTx/>
                        <a:buFont typeface="Symbol"/>
                        <a:buNone/>
                        <a:tabLst/>
                        <a:defRPr/>
                      </a:pPr>
                      <a:r>
                        <a:rPr lang="en-US" sz="1100" kern="1200" dirty="0">
                          <a:gradFill>
                            <a:gsLst>
                              <a:gs pos="0">
                                <a:schemeClr val="tx1"/>
                              </a:gs>
                              <a:gs pos="100000">
                                <a:schemeClr val="tx1"/>
                              </a:gs>
                            </a:gsLst>
                            <a:lin ang="5400000" scaled="0"/>
                          </a:gradFill>
                          <a:effectLst/>
                          <a:latin typeface="+mn-lt"/>
                          <a:ea typeface="MS Mincho"/>
                          <a:cs typeface="Segoe UI"/>
                        </a:rPr>
                        <a:t>Amazon, Consmr, Crowdstorm, Fancy</a:t>
                      </a:r>
                    </a:p>
                  </a:txBody>
                  <a:tcPr marL="45713" marR="45713" marT="36571" marB="3657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2">
                        <a:lumMod val="75000"/>
                        <a:alpha val="20000"/>
                      </a:schemeClr>
                    </a:solidFill>
                  </a:tcPr>
                </a:tc>
              </a:tr>
              <a:tr h="599026">
                <a:tc>
                  <a:txBody>
                    <a:bodyPr/>
                    <a:lstStyle/>
                    <a:p>
                      <a:pPr marL="0" marR="0" lvl="1" indent="0" algn="l" defTabSz="914400" rtl="0" eaLnBrk="1" fontAlgn="auto" latinLnBrk="0" hangingPunct="1">
                        <a:lnSpc>
                          <a:spcPct val="100000"/>
                        </a:lnSpc>
                        <a:spcBef>
                          <a:spcPts val="100"/>
                        </a:spcBef>
                        <a:spcAft>
                          <a:spcPts val="0"/>
                        </a:spcAft>
                        <a:buClrTx/>
                        <a:buSzTx/>
                        <a:buFontTx/>
                        <a:buNone/>
                        <a:tabLst/>
                        <a:defRPr/>
                      </a:pPr>
                      <a:r>
                        <a:rPr lang="en-US" sz="1100" b="1" kern="0" dirty="0">
                          <a:ln w="3175">
                            <a:noFill/>
                          </a:ln>
                          <a:gradFill>
                            <a:gsLst>
                              <a:gs pos="86000">
                                <a:schemeClr val="tx1"/>
                              </a:gs>
                              <a:gs pos="100000">
                                <a:schemeClr val="tx1"/>
                              </a:gs>
                            </a:gsLst>
                            <a:lin ang="0" scaled="1"/>
                          </a:gradFill>
                          <a:effectLst/>
                          <a:latin typeface="+mn-lt"/>
                          <a:ea typeface="+mn-ea"/>
                          <a:cs typeface="+mn-cs"/>
                        </a:rPr>
                        <a:t>Brand-based communities</a:t>
                      </a:r>
                    </a:p>
                    <a:p>
                      <a:pPr marL="0" marR="0" lvl="1" indent="0" algn="l" defTabSz="914400" rtl="0" eaLnBrk="1" fontAlgn="auto" latinLnBrk="0" hangingPunct="1">
                        <a:lnSpc>
                          <a:spcPct val="100000"/>
                        </a:lnSpc>
                        <a:spcBef>
                          <a:spcPts val="100"/>
                        </a:spcBef>
                        <a:spcAft>
                          <a:spcPts val="0"/>
                        </a:spcAft>
                        <a:buClrTx/>
                        <a:buSzTx/>
                        <a:buFontTx/>
                        <a:buNone/>
                        <a:tabLst/>
                        <a:defRPr/>
                      </a:pPr>
                      <a:r>
                        <a:rPr lang="en-US" sz="1000" kern="0" dirty="0">
                          <a:ln w="3175">
                            <a:noFill/>
                          </a:ln>
                          <a:gradFill>
                            <a:gsLst>
                              <a:gs pos="86000">
                                <a:schemeClr val="tx1"/>
                              </a:gs>
                              <a:gs pos="100000">
                                <a:schemeClr val="tx1"/>
                              </a:gs>
                            </a:gsLst>
                            <a:lin ang="0" scaled="1"/>
                          </a:gradFill>
                          <a:effectLst/>
                          <a:latin typeface="+mn-lt"/>
                          <a:ea typeface="+mn-ea"/>
                          <a:cs typeface="+mn-cs"/>
                        </a:rPr>
                        <a:t>Online blogs devoted to a specific brand or product</a:t>
                      </a:r>
                    </a:p>
                  </a:txBody>
                  <a:tcPr marL="45713" marR="45713" marT="36571" marB="3657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2">
                        <a:lumMod val="75000"/>
                        <a:alpha val="20000"/>
                      </a:schemeClr>
                    </a:solidFill>
                  </a:tcPr>
                </a:tc>
                <a:tc>
                  <a:txBody>
                    <a:bodyPr/>
                    <a:lstStyle/>
                    <a:p>
                      <a:pPr marL="171450" marR="0" lvl="0" indent="-171450" algn="l" defTabSz="914363" rtl="0" eaLnBrk="1" fontAlgn="auto" latinLnBrk="0" hangingPunct="1">
                        <a:lnSpc>
                          <a:spcPct val="100000"/>
                        </a:lnSpc>
                        <a:spcBef>
                          <a:spcPts val="100"/>
                        </a:spcBef>
                        <a:spcAft>
                          <a:spcPts val="0"/>
                        </a:spcAft>
                        <a:buClrTx/>
                        <a:buSzTx/>
                        <a:buFont typeface="Arial" pitchFamily="34" charset="0"/>
                        <a:buChar char="•"/>
                        <a:tabLst/>
                        <a:defRPr/>
                      </a:pPr>
                      <a:r>
                        <a:rPr lang="en-US" sz="1000" kern="1200" dirty="0">
                          <a:gradFill>
                            <a:gsLst>
                              <a:gs pos="0">
                                <a:schemeClr val="tx1"/>
                              </a:gs>
                              <a:gs pos="100000">
                                <a:schemeClr val="tx1"/>
                              </a:gs>
                            </a:gsLst>
                            <a:lin ang="5400000" scaled="0"/>
                          </a:gradFill>
                          <a:effectLst/>
                          <a:latin typeface="+mn-lt"/>
                          <a:ea typeface="MS Mincho"/>
                          <a:cs typeface="Segoe UI"/>
                        </a:rPr>
                        <a:t>Connect with a brand</a:t>
                      </a:r>
                    </a:p>
                    <a:p>
                      <a:pPr marL="171450" marR="0" lvl="0" indent="-171450" algn="l" defTabSz="914363" rtl="0" eaLnBrk="1" fontAlgn="auto" latinLnBrk="0" hangingPunct="1">
                        <a:lnSpc>
                          <a:spcPct val="100000"/>
                        </a:lnSpc>
                        <a:spcBef>
                          <a:spcPts val="100"/>
                        </a:spcBef>
                        <a:spcAft>
                          <a:spcPts val="0"/>
                        </a:spcAft>
                        <a:buClrTx/>
                        <a:buSzTx/>
                        <a:buFont typeface="Arial" pitchFamily="34" charset="0"/>
                        <a:buChar char="•"/>
                        <a:tabLst/>
                        <a:defRPr/>
                      </a:pPr>
                      <a:r>
                        <a:rPr lang="en-US" sz="1000" kern="1200" dirty="0">
                          <a:gradFill>
                            <a:gsLst>
                              <a:gs pos="0">
                                <a:schemeClr val="tx1"/>
                              </a:gs>
                              <a:gs pos="100000">
                                <a:schemeClr val="tx1"/>
                              </a:gs>
                            </a:gsLst>
                            <a:lin ang="5400000" scaled="0"/>
                          </a:gradFill>
                          <a:effectLst/>
                          <a:latin typeface="+mn-lt"/>
                          <a:ea typeface="MS Mincho"/>
                          <a:cs typeface="Segoe UI"/>
                        </a:rPr>
                        <a:t>Create a sense of belonging</a:t>
                      </a:r>
                    </a:p>
                  </a:txBody>
                  <a:tcPr marL="45713" marR="45713" marT="36571" marB="3657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2">
                        <a:lumMod val="75000"/>
                        <a:alpha val="20000"/>
                      </a:schemeClr>
                    </a:solidFill>
                  </a:tcPr>
                </a:tc>
                <a:tc>
                  <a:txBody>
                    <a:bodyPr/>
                    <a:lstStyle/>
                    <a:p>
                      <a:pPr marL="171450" marR="0" lvl="0" indent="-171450" algn="l" defTabSz="914363" rtl="0" eaLnBrk="1" fontAlgn="auto" latinLnBrk="0" hangingPunct="1">
                        <a:lnSpc>
                          <a:spcPct val="100000"/>
                        </a:lnSpc>
                        <a:spcBef>
                          <a:spcPts val="100"/>
                        </a:spcBef>
                        <a:spcAft>
                          <a:spcPts val="0"/>
                        </a:spcAft>
                        <a:buClrTx/>
                        <a:buSzTx/>
                        <a:buFont typeface="Arial" pitchFamily="34" charset="0"/>
                        <a:buChar char="•"/>
                        <a:tabLst/>
                        <a:defRPr/>
                      </a:pPr>
                      <a:r>
                        <a:rPr lang="en-US" sz="1000" kern="1200" dirty="0">
                          <a:gradFill>
                            <a:gsLst>
                              <a:gs pos="0">
                                <a:schemeClr val="tx1"/>
                              </a:gs>
                              <a:gs pos="100000">
                                <a:schemeClr val="tx1"/>
                              </a:gs>
                            </a:gsLst>
                            <a:lin ang="5400000" scaled="0"/>
                          </a:gradFill>
                          <a:effectLst/>
                          <a:latin typeface="+mn-lt"/>
                          <a:ea typeface="MS Mincho"/>
                          <a:cs typeface="Segoe UI"/>
                        </a:rPr>
                        <a:t>Build customer loyalty</a:t>
                      </a:r>
                    </a:p>
                    <a:p>
                      <a:pPr marL="171450" marR="0" lvl="0" indent="-171450" algn="l" defTabSz="914363" rtl="0" eaLnBrk="1" fontAlgn="auto" latinLnBrk="0" hangingPunct="1">
                        <a:lnSpc>
                          <a:spcPct val="100000"/>
                        </a:lnSpc>
                        <a:spcBef>
                          <a:spcPts val="100"/>
                        </a:spcBef>
                        <a:spcAft>
                          <a:spcPts val="0"/>
                        </a:spcAft>
                        <a:buClrTx/>
                        <a:buSzTx/>
                        <a:buFont typeface="Arial" pitchFamily="34" charset="0"/>
                        <a:buChar char="•"/>
                        <a:tabLst/>
                        <a:defRPr/>
                      </a:pPr>
                      <a:r>
                        <a:rPr lang="en-US" sz="1000" kern="1200" dirty="0">
                          <a:gradFill>
                            <a:gsLst>
                              <a:gs pos="0">
                                <a:schemeClr val="tx1"/>
                              </a:gs>
                              <a:gs pos="100000">
                                <a:schemeClr val="tx1"/>
                              </a:gs>
                            </a:gsLst>
                            <a:lin ang="5400000" scaled="0"/>
                          </a:gradFill>
                          <a:effectLst/>
                          <a:latin typeface="+mn-lt"/>
                          <a:ea typeface="MS Mincho"/>
                          <a:cs typeface="Segoe UI"/>
                        </a:rPr>
                        <a:t>Promote new products</a:t>
                      </a:r>
                    </a:p>
                    <a:p>
                      <a:pPr marL="171450" marR="0" lvl="0" indent="-171450" algn="l" defTabSz="914363" rtl="0" eaLnBrk="1" fontAlgn="auto" latinLnBrk="0" hangingPunct="1">
                        <a:lnSpc>
                          <a:spcPct val="100000"/>
                        </a:lnSpc>
                        <a:spcBef>
                          <a:spcPts val="100"/>
                        </a:spcBef>
                        <a:spcAft>
                          <a:spcPts val="0"/>
                        </a:spcAft>
                        <a:buClrTx/>
                        <a:buSzTx/>
                        <a:buFont typeface="Arial" pitchFamily="34" charset="0"/>
                        <a:buChar char="•"/>
                        <a:tabLst/>
                        <a:defRPr/>
                      </a:pPr>
                      <a:r>
                        <a:rPr lang="en-US" sz="1000" kern="1200" dirty="0">
                          <a:gradFill>
                            <a:gsLst>
                              <a:gs pos="0">
                                <a:schemeClr val="tx1"/>
                              </a:gs>
                              <a:gs pos="100000">
                                <a:schemeClr val="tx1"/>
                              </a:gs>
                            </a:gsLst>
                            <a:lin ang="5400000" scaled="0"/>
                          </a:gradFill>
                          <a:effectLst/>
                          <a:latin typeface="+mn-lt"/>
                          <a:ea typeface="MS Mincho"/>
                          <a:cs typeface="Segoe UI"/>
                        </a:rPr>
                        <a:t>Receive feedback from customers</a:t>
                      </a:r>
                    </a:p>
                  </a:txBody>
                  <a:tcPr marL="45713" marR="45713" marT="36571" marB="3657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2">
                        <a:lumMod val="75000"/>
                        <a:alpha val="20000"/>
                      </a:schemeClr>
                    </a:solidFill>
                  </a:tcPr>
                </a:tc>
                <a:tc>
                  <a:txBody>
                    <a:bodyPr/>
                    <a:lstStyle/>
                    <a:p>
                      <a:pPr marL="0" marR="0" lvl="0" indent="0" algn="l" defTabSz="914363" rtl="0" eaLnBrk="1" fontAlgn="auto" latinLnBrk="0" hangingPunct="1">
                        <a:lnSpc>
                          <a:spcPct val="100000"/>
                        </a:lnSpc>
                        <a:spcBef>
                          <a:spcPts val="100"/>
                        </a:spcBef>
                        <a:spcAft>
                          <a:spcPts val="0"/>
                        </a:spcAft>
                        <a:buClrTx/>
                        <a:buSzTx/>
                        <a:buFont typeface="Arial" pitchFamily="34" charset="0"/>
                        <a:buNone/>
                        <a:tabLst/>
                        <a:defRPr/>
                      </a:pPr>
                      <a:r>
                        <a:rPr lang="en-US" sz="1100" b="1" kern="1200" dirty="0">
                          <a:gradFill>
                            <a:gsLst>
                              <a:gs pos="0">
                                <a:schemeClr val="tx1"/>
                              </a:gs>
                              <a:gs pos="100000">
                                <a:schemeClr val="tx1"/>
                              </a:gs>
                            </a:gsLst>
                            <a:lin ang="5400000" scaled="0"/>
                          </a:gradFill>
                          <a:effectLst/>
                          <a:latin typeface="+mn-lt"/>
                          <a:ea typeface="MS Mincho"/>
                          <a:cs typeface="Segoe UI"/>
                        </a:rPr>
                        <a:t>Popular sites include</a:t>
                      </a:r>
                      <a:r>
                        <a:rPr lang="en-US" sz="1100" b="1" kern="1200" dirty="0" smtClean="0">
                          <a:gradFill>
                            <a:gsLst>
                              <a:gs pos="0">
                                <a:schemeClr val="tx1"/>
                              </a:gs>
                              <a:gs pos="100000">
                                <a:schemeClr val="tx1"/>
                              </a:gs>
                            </a:gsLst>
                            <a:lin ang="5400000" scaled="0"/>
                          </a:gradFill>
                          <a:effectLst/>
                          <a:latin typeface="+mn-lt"/>
                          <a:ea typeface="MS Mincho"/>
                          <a:cs typeface="Segoe UI"/>
                        </a:rPr>
                        <a:t>:</a:t>
                      </a:r>
                      <a:r>
                        <a:rPr lang="en-US" sz="1100" b="1" kern="1200" dirty="0">
                          <a:gradFill>
                            <a:gsLst>
                              <a:gs pos="0">
                                <a:schemeClr val="tx1"/>
                              </a:gs>
                              <a:gs pos="100000">
                                <a:schemeClr val="tx1"/>
                              </a:gs>
                            </a:gsLst>
                            <a:lin ang="5400000" scaled="0"/>
                          </a:gradFill>
                          <a:effectLst/>
                          <a:latin typeface="+mn-lt"/>
                          <a:ea typeface="MS Mincho"/>
                          <a:cs typeface="Segoe UI"/>
                        </a:rPr>
                        <a:t> </a:t>
                      </a:r>
                    </a:p>
                    <a:p>
                      <a:pPr marL="0" marR="0" lvl="0" indent="0" algn="l" defTabSz="914363" rtl="0" eaLnBrk="1" fontAlgn="auto" latinLnBrk="0" hangingPunct="1">
                        <a:lnSpc>
                          <a:spcPct val="100000"/>
                        </a:lnSpc>
                        <a:spcBef>
                          <a:spcPts val="100"/>
                        </a:spcBef>
                        <a:spcAft>
                          <a:spcPts val="0"/>
                        </a:spcAft>
                        <a:buClrTx/>
                        <a:buSzTx/>
                        <a:buFont typeface="Symbol"/>
                        <a:buNone/>
                        <a:tabLst/>
                        <a:defRPr/>
                      </a:pPr>
                      <a:r>
                        <a:rPr lang="en-US" sz="1100" kern="1200" dirty="0">
                          <a:gradFill>
                            <a:gsLst>
                              <a:gs pos="0">
                                <a:schemeClr val="tx1"/>
                              </a:gs>
                              <a:gs pos="100000">
                                <a:schemeClr val="tx1"/>
                              </a:gs>
                            </a:gsLst>
                            <a:lin ang="5400000" scaled="0"/>
                          </a:gradFill>
                          <a:effectLst/>
                          <a:latin typeface="+mn-lt"/>
                          <a:ea typeface="MS Mincho"/>
                          <a:cs typeface="Segoe UI"/>
                        </a:rPr>
                        <a:t>Harley Davidson, Twilight, American Express</a:t>
                      </a:r>
                    </a:p>
                  </a:txBody>
                  <a:tcPr marL="45713" marR="45713" marT="36571" marB="3657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2">
                        <a:lumMod val="75000"/>
                        <a:alpha val="20000"/>
                      </a:schemeClr>
                    </a:solidFill>
                  </a:tcPr>
                </a:tc>
              </a:tr>
              <a:tr h="413453">
                <a:tc>
                  <a:txBody>
                    <a:bodyPr/>
                    <a:lstStyle/>
                    <a:p>
                      <a:pPr marL="0" marR="0" lvl="1" indent="0" algn="l" defTabSz="914400" rtl="0" eaLnBrk="1" fontAlgn="auto" latinLnBrk="0" hangingPunct="1">
                        <a:lnSpc>
                          <a:spcPct val="100000"/>
                        </a:lnSpc>
                        <a:spcBef>
                          <a:spcPts val="100"/>
                        </a:spcBef>
                        <a:spcAft>
                          <a:spcPts val="0"/>
                        </a:spcAft>
                        <a:buClrTx/>
                        <a:buSzTx/>
                        <a:buFontTx/>
                        <a:buNone/>
                        <a:tabLst/>
                        <a:defRPr/>
                      </a:pPr>
                      <a:r>
                        <a:rPr lang="en-US" sz="1100" b="1" kern="0" dirty="0">
                          <a:ln w="3175">
                            <a:noFill/>
                          </a:ln>
                          <a:gradFill>
                            <a:gsLst>
                              <a:gs pos="86000">
                                <a:schemeClr val="tx1"/>
                              </a:gs>
                              <a:gs pos="100000">
                                <a:schemeClr val="tx1"/>
                              </a:gs>
                            </a:gsLst>
                            <a:lin ang="0" scaled="1"/>
                          </a:gradFill>
                          <a:effectLst/>
                          <a:latin typeface="+mn-lt"/>
                          <a:ea typeface="+mn-ea"/>
                          <a:cs typeface="+mn-cs"/>
                        </a:rPr>
                        <a:t>Virtual communities</a:t>
                      </a:r>
                    </a:p>
                    <a:p>
                      <a:pPr marL="0" marR="0" lvl="1" indent="0" algn="l" defTabSz="914400" rtl="0" eaLnBrk="1" fontAlgn="auto" latinLnBrk="0" hangingPunct="1">
                        <a:lnSpc>
                          <a:spcPct val="100000"/>
                        </a:lnSpc>
                        <a:spcBef>
                          <a:spcPts val="100"/>
                        </a:spcBef>
                        <a:spcAft>
                          <a:spcPts val="0"/>
                        </a:spcAft>
                        <a:buClrTx/>
                        <a:buSzTx/>
                        <a:buFontTx/>
                        <a:buNone/>
                        <a:tabLst/>
                        <a:defRPr/>
                      </a:pPr>
                      <a:r>
                        <a:rPr lang="en-US" sz="1000" kern="0" dirty="0">
                          <a:ln w="3175">
                            <a:noFill/>
                          </a:ln>
                          <a:gradFill>
                            <a:gsLst>
                              <a:gs pos="86000">
                                <a:schemeClr val="tx1"/>
                              </a:gs>
                              <a:gs pos="100000">
                                <a:schemeClr val="tx1"/>
                              </a:gs>
                            </a:gsLst>
                            <a:lin ang="0" scaled="1"/>
                          </a:gradFill>
                          <a:effectLst/>
                          <a:latin typeface="+mn-lt"/>
                          <a:ea typeface="+mn-ea"/>
                          <a:cs typeface="+mn-cs"/>
                        </a:rPr>
                        <a:t>A group of people engaging in a digital life</a:t>
                      </a:r>
                    </a:p>
                  </a:txBody>
                  <a:tcPr marL="45713" marR="45713" marT="36571" marB="3657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2">
                        <a:lumMod val="75000"/>
                        <a:alpha val="20000"/>
                      </a:schemeClr>
                    </a:solidFill>
                  </a:tcPr>
                </a:tc>
                <a:tc>
                  <a:txBody>
                    <a:bodyPr/>
                    <a:lstStyle/>
                    <a:p>
                      <a:pPr marL="171450" marR="0" lvl="0" indent="-171450" algn="l" defTabSz="914363" rtl="0" eaLnBrk="1" fontAlgn="auto" latinLnBrk="0" hangingPunct="1">
                        <a:lnSpc>
                          <a:spcPct val="100000"/>
                        </a:lnSpc>
                        <a:spcBef>
                          <a:spcPts val="100"/>
                        </a:spcBef>
                        <a:spcAft>
                          <a:spcPts val="0"/>
                        </a:spcAft>
                        <a:buClrTx/>
                        <a:buSzTx/>
                        <a:buFont typeface="Arial" pitchFamily="34" charset="0"/>
                        <a:buChar char="•"/>
                        <a:tabLst/>
                        <a:defRPr/>
                      </a:pPr>
                      <a:r>
                        <a:rPr lang="en-US" sz="1000" kern="1200" dirty="0">
                          <a:gradFill>
                            <a:gsLst>
                              <a:gs pos="0">
                                <a:schemeClr val="tx1"/>
                              </a:gs>
                              <a:gs pos="100000">
                                <a:schemeClr val="tx1"/>
                              </a:gs>
                            </a:gsLst>
                            <a:lin ang="5400000" scaled="0"/>
                          </a:gradFill>
                          <a:effectLst/>
                          <a:latin typeface="+mn-lt"/>
                          <a:ea typeface="MS Mincho"/>
                          <a:cs typeface="Segoe UI"/>
                        </a:rPr>
                        <a:t>Reinvent one’s identity</a:t>
                      </a:r>
                    </a:p>
                    <a:p>
                      <a:pPr marL="171450" marR="0" lvl="0" indent="-171450" algn="l" defTabSz="914363" rtl="0" eaLnBrk="1" fontAlgn="auto" latinLnBrk="0" hangingPunct="1">
                        <a:lnSpc>
                          <a:spcPct val="100000"/>
                        </a:lnSpc>
                        <a:spcBef>
                          <a:spcPts val="100"/>
                        </a:spcBef>
                        <a:spcAft>
                          <a:spcPts val="0"/>
                        </a:spcAft>
                        <a:buClrTx/>
                        <a:buSzTx/>
                        <a:buFont typeface="Arial" pitchFamily="34" charset="0"/>
                        <a:buChar char="•"/>
                        <a:tabLst/>
                        <a:defRPr/>
                      </a:pPr>
                      <a:r>
                        <a:rPr lang="en-US" sz="1000" kern="1200" dirty="0">
                          <a:gradFill>
                            <a:gsLst>
                              <a:gs pos="0">
                                <a:schemeClr val="tx1"/>
                              </a:gs>
                              <a:gs pos="100000">
                                <a:schemeClr val="tx1"/>
                              </a:gs>
                            </a:gsLst>
                            <a:lin ang="5400000" scaled="0"/>
                          </a:gradFill>
                          <a:effectLst/>
                          <a:latin typeface="+mn-lt"/>
                          <a:ea typeface="MS Mincho"/>
                          <a:cs typeface="Segoe UI"/>
                        </a:rPr>
                        <a:t>Instant communication share</a:t>
                      </a:r>
                    </a:p>
                  </a:txBody>
                  <a:tcPr marL="45713" marR="45713" marT="36571" marB="3657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2">
                        <a:lumMod val="75000"/>
                        <a:alpha val="20000"/>
                      </a:schemeClr>
                    </a:solidFill>
                  </a:tcPr>
                </a:tc>
                <a:tc>
                  <a:txBody>
                    <a:bodyPr/>
                    <a:lstStyle/>
                    <a:p>
                      <a:pPr marL="171450" marR="0" lvl="0" indent="-171450" algn="l" defTabSz="914363" rtl="0" eaLnBrk="1" fontAlgn="auto" latinLnBrk="0" hangingPunct="1">
                        <a:lnSpc>
                          <a:spcPct val="100000"/>
                        </a:lnSpc>
                        <a:spcBef>
                          <a:spcPts val="100"/>
                        </a:spcBef>
                        <a:spcAft>
                          <a:spcPts val="0"/>
                        </a:spcAft>
                        <a:buClrTx/>
                        <a:buSzTx/>
                        <a:buFont typeface="Arial" pitchFamily="34" charset="0"/>
                        <a:buChar char="•"/>
                        <a:tabLst/>
                        <a:defRPr/>
                      </a:pPr>
                      <a:r>
                        <a:rPr lang="en-US" sz="1000" kern="1200" dirty="0">
                          <a:gradFill>
                            <a:gsLst>
                              <a:gs pos="0">
                                <a:schemeClr val="tx1"/>
                              </a:gs>
                              <a:gs pos="100000">
                                <a:schemeClr val="tx1"/>
                              </a:gs>
                            </a:gsLst>
                            <a:lin ang="5400000" scaled="0"/>
                          </a:gradFill>
                          <a:effectLst/>
                          <a:latin typeface="+mn-lt"/>
                          <a:ea typeface="MS Mincho"/>
                          <a:cs typeface="Segoe UI"/>
                        </a:rPr>
                        <a:t>Create brand communities</a:t>
                      </a:r>
                    </a:p>
                    <a:p>
                      <a:pPr marL="171450" marR="0" lvl="0" indent="-171450" algn="l" defTabSz="914363" rtl="0" eaLnBrk="1" fontAlgn="auto" latinLnBrk="0" hangingPunct="1">
                        <a:lnSpc>
                          <a:spcPct val="100000"/>
                        </a:lnSpc>
                        <a:spcBef>
                          <a:spcPts val="100"/>
                        </a:spcBef>
                        <a:spcAft>
                          <a:spcPts val="0"/>
                        </a:spcAft>
                        <a:buClrTx/>
                        <a:buSzTx/>
                        <a:buFont typeface="Arial" pitchFamily="34" charset="0"/>
                        <a:buChar char="•"/>
                        <a:tabLst/>
                        <a:defRPr/>
                      </a:pPr>
                      <a:r>
                        <a:rPr lang="en-US" sz="1000" kern="1200" dirty="0">
                          <a:gradFill>
                            <a:gsLst>
                              <a:gs pos="0">
                                <a:schemeClr val="tx1"/>
                              </a:gs>
                              <a:gs pos="100000">
                                <a:schemeClr val="tx1"/>
                              </a:gs>
                            </a:gsLst>
                            <a:lin ang="5400000" scaled="0"/>
                          </a:gradFill>
                          <a:effectLst/>
                          <a:latin typeface="+mn-lt"/>
                          <a:ea typeface="MS Mincho"/>
                          <a:cs typeface="Segoe UI"/>
                        </a:rPr>
                        <a:t>Target advertising</a:t>
                      </a:r>
                    </a:p>
                  </a:txBody>
                  <a:tcPr marL="45713" marR="45713" marT="36571" marB="3657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2">
                        <a:lumMod val="75000"/>
                        <a:alpha val="20000"/>
                      </a:schemeClr>
                    </a:solidFill>
                  </a:tcPr>
                </a:tc>
                <a:tc>
                  <a:txBody>
                    <a:bodyPr/>
                    <a:lstStyle/>
                    <a:p>
                      <a:pPr marL="0" marR="0" lvl="0" indent="0" algn="l" defTabSz="914363" rtl="0" eaLnBrk="1" fontAlgn="auto" latinLnBrk="0" hangingPunct="1">
                        <a:lnSpc>
                          <a:spcPct val="100000"/>
                        </a:lnSpc>
                        <a:spcBef>
                          <a:spcPts val="100"/>
                        </a:spcBef>
                        <a:spcAft>
                          <a:spcPts val="0"/>
                        </a:spcAft>
                        <a:buClrTx/>
                        <a:buSzTx/>
                        <a:buFont typeface="Symbol"/>
                        <a:buNone/>
                        <a:tabLst/>
                        <a:defRPr/>
                      </a:pPr>
                      <a:r>
                        <a:rPr lang="en-US" sz="1100" kern="1200" dirty="0">
                          <a:gradFill>
                            <a:gsLst>
                              <a:gs pos="0">
                                <a:schemeClr val="tx1"/>
                              </a:gs>
                              <a:gs pos="100000">
                                <a:schemeClr val="tx1"/>
                              </a:gs>
                            </a:gsLst>
                            <a:lin ang="5400000" scaled="0"/>
                          </a:gradFill>
                          <a:effectLst/>
                          <a:latin typeface="+mn-lt"/>
                          <a:ea typeface="MS Mincho"/>
                          <a:cs typeface="Segoe UI"/>
                        </a:rPr>
                        <a:t>Zynga, SecondLife, Sims</a:t>
                      </a:r>
                    </a:p>
                  </a:txBody>
                  <a:tcPr marL="45713" marR="45713" marT="36571" marB="3657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2">
                        <a:lumMod val="75000"/>
                        <a:alpha val="20000"/>
                      </a:schemeClr>
                    </a:solidFill>
                  </a:tcPr>
                </a:tc>
              </a:tr>
            </a:tbl>
          </a:graphicData>
        </a:graphic>
      </p:graphicFrame>
    </p:spTree>
    <p:extLst>
      <p:ext uri="{BB962C8B-B14F-4D97-AF65-F5344CB8AC3E}">
        <p14:creationId xmlns:p14="http://schemas.microsoft.com/office/powerpoint/2010/main" val="1589457664"/>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2470" y="2084"/>
          <a:ext cx="1587" cy="1587"/>
        </p:xfrm>
        <a:graphic>
          <a:graphicData uri="http://schemas.openxmlformats.org/presentationml/2006/ole">
            <mc:AlternateContent xmlns:mc="http://schemas.openxmlformats.org/markup-compatibility/2006">
              <mc:Choice xmlns:v="urn:schemas-microsoft-com:vml" Requires="v">
                <p:oleObj spid="_x0000_s14343"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2470" y="2084"/>
                        <a:ext cx="1587" cy="1587"/>
                      </a:xfrm>
                      <a:prstGeom prst="rect">
                        <a:avLst/>
                      </a:prstGeom>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smtClean="0"/>
              <a:t>Adapting the app experience: the Power of the Graph</a:t>
            </a:r>
            <a:endParaRPr lang="en-US" dirty="0"/>
          </a:p>
        </p:txBody>
      </p:sp>
      <p:pic>
        <p:nvPicPr>
          <p:cNvPr id="4" name="Picture 3"/>
          <p:cNvPicPr>
            <a:picLocks noChangeAspect="1"/>
          </p:cNvPicPr>
          <p:nvPr>
            <p:custDataLst>
              <p:tags r:id="rId4"/>
            </p:custDataLst>
          </p:nvPr>
        </p:nvPicPr>
        <p:blipFill>
          <a:blip r:embed="rId10">
            <a:extLst>
              <a:ext uri="{28A0092B-C50C-407E-A947-70E740481C1C}">
                <a14:useLocalDpi xmlns:a14="http://schemas.microsoft.com/office/drawing/2010/main"/>
              </a:ext>
            </a:extLst>
          </a:blip>
          <a:stretch>
            <a:fillRect/>
          </a:stretch>
        </p:blipFill>
        <p:spPr>
          <a:xfrm>
            <a:off x="271150" y="1821102"/>
            <a:ext cx="6020457" cy="3000822"/>
          </a:xfrm>
          <a:prstGeom prst="rect">
            <a:avLst/>
          </a:prstGeom>
          <a:noFill/>
          <a:ln>
            <a:noFill/>
          </a:ln>
        </p:spPr>
      </p:pic>
      <p:pic>
        <p:nvPicPr>
          <p:cNvPr id="5" name="Picture 4"/>
          <p:cNvPicPr>
            <a:picLocks noChangeAspect="1"/>
          </p:cNvPicPr>
          <p:nvPr>
            <p:custDataLst>
              <p:tags r:id="rId5"/>
            </p:custDataLst>
          </p:nvPr>
        </p:nvPicPr>
        <p:blipFill>
          <a:blip r:embed="rId11">
            <a:extLst>
              <a:ext uri="{28A0092B-C50C-407E-A947-70E740481C1C}">
                <a14:useLocalDpi xmlns:a14="http://schemas.microsoft.com/office/drawing/2010/main"/>
              </a:ext>
            </a:extLst>
          </a:blip>
          <a:stretch>
            <a:fillRect/>
          </a:stretch>
        </p:blipFill>
        <p:spPr>
          <a:xfrm>
            <a:off x="6324445" y="1821100"/>
            <a:ext cx="5838094" cy="4402816"/>
          </a:xfrm>
          <a:prstGeom prst="rect">
            <a:avLst/>
          </a:prstGeom>
          <a:noFill/>
          <a:ln>
            <a:noFill/>
          </a:ln>
        </p:spPr>
      </p:pic>
    </p:spTree>
    <p:extLst>
      <p:ext uri="{BB962C8B-B14F-4D97-AF65-F5344CB8AC3E}">
        <p14:creationId xmlns:p14="http://schemas.microsoft.com/office/powerpoint/2010/main" val="2927182059"/>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7809" y="860758"/>
            <a:ext cx="2857095" cy="2857095"/>
          </a:xfrm>
          <a:prstGeom prst="rect">
            <a:avLst/>
          </a:prstGeom>
        </p:spPr>
      </p:pic>
      <p:sp>
        <p:nvSpPr>
          <p:cNvPr id="5" name="Rectangle 4"/>
          <p:cNvSpPr/>
          <p:nvPr/>
        </p:nvSpPr>
        <p:spPr>
          <a:xfrm>
            <a:off x="3417283" y="1227627"/>
            <a:ext cx="8609379" cy="2123274"/>
          </a:xfrm>
          <a:prstGeom prst="rect">
            <a:avLst/>
          </a:prstGeom>
        </p:spPr>
        <p:txBody>
          <a:bodyPr wrap="square">
            <a:spAutoFit/>
          </a:bodyPr>
          <a:lstStyle/>
          <a:p>
            <a:r>
              <a:rPr lang="en-US" sz="4399" dirty="0">
                <a:ln>
                  <a:solidFill>
                    <a:schemeClr val="tx1">
                      <a:alpha val="0"/>
                    </a:schemeClr>
                  </a:solidFill>
                </a:ln>
              </a:rPr>
              <a:t>The </a:t>
            </a:r>
            <a:r>
              <a:rPr lang="en-US" sz="4399" dirty="0">
                <a:ln>
                  <a:solidFill>
                    <a:schemeClr val="tx1">
                      <a:alpha val="0"/>
                    </a:schemeClr>
                  </a:solidFill>
                </a:ln>
                <a:hlinkClick r:id="rId3"/>
              </a:rPr>
              <a:t>Open Graph protocol</a:t>
            </a:r>
            <a:r>
              <a:rPr lang="en-US" sz="4399" dirty="0">
                <a:ln>
                  <a:solidFill>
                    <a:schemeClr val="tx1">
                      <a:alpha val="0"/>
                    </a:schemeClr>
                  </a:solidFill>
                </a:ln>
              </a:rPr>
              <a:t> enables any web page to become a rich object in a social graph.</a:t>
            </a:r>
          </a:p>
        </p:txBody>
      </p:sp>
    </p:spTree>
    <p:extLst>
      <p:ext uri="{BB962C8B-B14F-4D97-AF65-F5344CB8AC3E}">
        <p14:creationId xmlns:p14="http://schemas.microsoft.com/office/powerpoint/2010/main" val="1873662378"/>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417283" y="889121"/>
            <a:ext cx="8609379" cy="2800254"/>
          </a:xfrm>
          <a:prstGeom prst="rect">
            <a:avLst/>
          </a:prstGeom>
        </p:spPr>
        <p:txBody>
          <a:bodyPr wrap="square">
            <a:spAutoFit/>
          </a:bodyPr>
          <a:lstStyle/>
          <a:p>
            <a:r>
              <a:rPr lang="en-US" sz="4399" dirty="0">
                <a:ln>
                  <a:solidFill>
                    <a:schemeClr val="tx1">
                      <a:alpha val="0"/>
                    </a:schemeClr>
                  </a:solidFill>
                </a:ln>
              </a:rPr>
              <a:t>The </a:t>
            </a:r>
            <a:r>
              <a:rPr lang="en-US" sz="4399" dirty="0">
                <a:ln>
                  <a:solidFill>
                    <a:schemeClr val="tx1">
                      <a:alpha val="0"/>
                    </a:schemeClr>
                  </a:solidFill>
                </a:ln>
                <a:hlinkClick r:id="rId3"/>
              </a:rPr>
              <a:t>Open Graph protocol</a:t>
            </a:r>
            <a:r>
              <a:rPr lang="en-US" sz="4399" dirty="0">
                <a:ln>
                  <a:solidFill>
                    <a:schemeClr val="tx1">
                      <a:alpha val="0"/>
                    </a:schemeClr>
                  </a:solidFill>
                </a:ln>
              </a:rPr>
              <a:t> is based on </a:t>
            </a:r>
            <a:r>
              <a:rPr lang="en-US" sz="4399" dirty="0" err="1">
                <a:ln>
                  <a:solidFill>
                    <a:schemeClr val="tx1">
                      <a:alpha val="0"/>
                    </a:schemeClr>
                  </a:solidFill>
                </a:ln>
              </a:rPr>
              <a:t>RDFa</a:t>
            </a:r>
            <a:r>
              <a:rPr lang="en-US" sz="4399" dirty="0">
                <a:ln>
                  <a:solidFill>
                    <a:schemeClr val="tx1">
                      <a:alpha val="0"/>
                    </a:schemeClr>
                  </a:solidFill>
                </a:ln>
              </a:rPr>
              <a:t> and implemented</a:t>
            </a:r>
          </a:p>
          <a:p>
            <a:r>
              <a:rPr lang="en-US" sz="4399" dirty="0">
                <a:ln>
                  <a:solidFill>
                    <a:schemeClr val="tx1">
                      <a:alpha val="0"/>
                    </a:schemeClr>
                  </a:solidFill>
                </a:ln>
              </a:rPr>
              <a:t>using &lt;meta&gt; tags in the &lt;head&gt;</a:t>
            </a:r>
          </a:p>
          <a:p>
            <a:r>
              <a:rPr lang="en-US" sz="4399" dirty="0">
                <a:ln>
                  <a:solidFill>
                    <a:schemeClr val="tx1">
                      <a:alpha val="0"/>
                    </a:schemeClr>
                  </a:solidFill>
                </a:ln>
              </a:rPr>
              <a:t>of your web pages.</a:t>
            </a:r>
          </a:p>
        </p:txBody>
      </p:sp>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7809" y="860758"/>
            <a:ext cx="2857095" cy="2857095"/>
          </a:xfrm>
          <a:prstGeom prst="rect">
            <a:avLst/>
          </a:prstGeom>
        </p:spPr>
      </p:pic>
    </p:spTree>
    <p:extLst>
      <p:ext uri="{BB962C8B-B14F-4D97-AF65-F5344CB8AC3E}">
        <p14:creationId xmlns:p14="http://schemas.microsoft.com/office/powerpoint/2010/main" val="1133809005"/>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2470" y="2084"/>
          <a:ext cx="1587" cy="1587"/>
        </p:xfrm>
        <a:graphic>
          <a:graphicData uri="http://schemas.openxmlformats.org/presentationml/2006/ole">
            <mc:AlternateContent xmlns:mc="http://schemas.openxmlformats.org/markup-compatibility/2006">
              <mc:Choice xmlns:v="urn:schemas-microsoft-com:vml" Requires="v">
                <p:oleObj spid="_x0000_s1536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470" y="2084"/>
                        <a:ext cx="1587" cy="1587"/>
                      </a:xfrm>
                      <a:prstGeom prst="rect">
                        <a:avLst/>
                      </a:prstGeom>
                    </p:spPr>
                  </p:pic>
                </p:oleObj>
              </mc:Fallback>
            </mc:AlternateContent>
          </a:graphicData>
        </a:graphic>
      </p:graphicFrame>
      <p:sp>
        <p:nvSpPr>
          <p:cNvPr id="2" name="Text Placeholder 1"/>
          <p:cNvSpPr>
            <a:spLocks noGrp="1"/>
          </p:cNvSpPr>
          <p:nvPr>
            <p:ph type="body" sz="quarter" idx="10"/>
          </p:nvPr>
        </p:nvSpPr>
        <p:spPr>
          <a:xfrm>
            <a:off x="270083" y="1189506"/>
            <a:ext cx="11651870" cy="2173456"/>
          </a:xfrm>
        </p:spPr>
        <p:txBody>
          <a:bodyPr/>
          <a:lstStyle/>
          <a:p>
            <a:pPr lvl="1"/>
            <a:r>
              <a:rPr lang="en-US" sz="4080" dirty="0"/>
              <a:t>Share</a:t>
            </a:r>
          </a:p>
          <a:p>
            <a:pPr lvl="1"/>
            <a:r>
              <a:rPr lang="en-US" sz="4080" dirty="0"/>
              <a:t>Like</a:t>
            </a:r>
          </a:p>
          <a:p>
            <a:pPr lvl="1"/>
            <a:r>
              <a:rPr lang="en-US" sz="4080" dirty="0"/>
              <a:t>Follow</a:t>
            </a:r>
          </a:p>
        </p:txBody>
      </p:sp>
      <p:sp>
        <p:nvSpPr>
          <p:cNvPr id="3" name="Title 2"/>
          <p:cNvSpPr>
            <a:spLocks noGrp="1"/>
          </p:cNvSpPr>
          <p:nvPr>
            <p:ph type="title"/>
          </p:nvPr>
        </p:nvSpPr>
        <p:spPr>
          <a:xfrm>
            <a:off x="530467" y="233152"/>
            <a:ext cx="11373923" cy="508524"/>
          </a:xfrm>
        </p:spPr>
        <p:txBody>
          <a:bodyPr/>
          <a:lstStyle/>
          <a:p>
            <a:r>
              <a:rPr lang="en-US" sz="3672" dirty="0"/>
              <a:t>Standardize the verbs – interacting with the social ‘fabric’</a:t>
            </a:r>
          </a:p>
        </p:txBody>
      </p:sp>
    </p:spTree>
    <p:extLst>
      <p:ext uri="{BB962C8B-B14F-4D97-AF65-F5344CB8AC3E}">
        <p14:creationId xmlns:p14="http://schemas.microsoft.com/office/powerpoint/2010/main" val="118757505"/>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itle 2"/>
          <p:cNvSpPr txBox="1">
            <a:spLocks/>
          </p:cNvSpPr>
          <p:nvPr/>
        </p:nvSpPr>
        <p:spPr>
          <a:xfrm>
            <a:off x="299934" y="875896"/>
            <a:ext cx="6668785" cy="572220"/>
          </a:xfrm>
          <a:prstGeom prst="rect">
            <a:avLst/>
          </a:prstGeom>
        </p:spPr>
        <p:txBody>
          <a:bodyPr/>
          <a:lstStyle>
            <a:lvl1pPr algn="l" defTabSz="685955" rtl="0" eaLnBrk="1" latinLnBrk="0" hangingPunct="1">
              <a:lnSpc>
                <a:spcPct val="90000"/>
              </a:lnSpc>
              <a:spcBef>
                <a:spcPct val="0"/>
              </a:spcBef>
              <a:buNone/>
              <a:defRPr lang="en-US" sz="4051" b="0" kern="1200" cap="none" spc="-75" baseline="0" dirty="0" smtClean="0">
                <a:ln w="3175">
                  <a:noFill/>
                </a:ln>
                <a:gradFill>
                  <a:gsLst>
                    <a:gs pos="1250">
                      <a:schemeClr val="tx1"/>
                    </a:gs>
                    <a:gs pos="100000">
                      <a:schemeClr val="tx1"/>
                    </a:gs>
                  </a:gsLst>
                  <a:lin ang="5400000" scaled="0"/>
                </a:gradFill>
                <a:effectLst/>
                <a:latin typeface="+mj-lt"/>
                <a:ea typeface="+mn-ea"/>
                <a:cs typeface="Segoe UI"/>
              </a:defRPr>
            </a:lvl1pPr>
          </a:lstStyle>
          <a:p>
            <a:r>
              <a:rPr sz="4132">
                <a:gradFill>
                  <a:gsLst>
                    <a:gs pos="1250">
                      <a:srgbClr val="FFFFFF"/>
                    </a:gs>
                    <a:gs pos="100000">
                      <a:srgbClr val="FFFFFF"/>
                    </a:gs>
                  </a:gsLst>
                  <a:lin ang="5400000" scaled="0"/>
                </a:gradFill>
              </a:rPr>
              <a:t>Devices + Services Scenarios</a:t>
            </a:r>
          </a:p>
        </p:txBody>
      </p:sp>
      <p:sp>
        <p:nvSpPr>
          <p:cNvPr id="42" name="Title 2"/>
          <p:cNvSpPr txBox="1">
            <a:spLocks/>
          </p:cNvSpPr>
          <p:nvPr/>
        </p:nvSpPr>
        <p:spPr>
          <a:xfrm>
            <a:off x="2195686" y="1843491"/>
            <a:ext cx="2649316" cy="572220"/>
          </a:xfrm>
          <a:prstGeom prst="rect">
            <a:avLst/>
          </a:prstGeom>
        </p:spPr>
        <p:txBody>
          <a:bodyPr/>
          <a:lstStyle>
            <a:lvl1pPr algn="l" defTabSz="685955" rtl="0" eaLnBrk="1" latinLnBrk="0" hangingPunct="1">
              <a:lnSpc>
                <a:spcPct val="90000"/>
              </a:lnSpc>
              <a:spcBef>
                <a:spcPct val="0"/>
              </a:spcBef>
              <a:buNone/>
              <a:defRPr lang="en-US" sz="4051" b="0" kern="1200" cap="none" spc="-75" baseline="0" dirty="0" smtClean="0">
                <a:ln w="3175">
                  <a:noFill/>
                </a:ln>
                <a:gradFill>
                  <a:gsLst>
                    <a:gs pos="1250">
                      <a:schemeClr val="tx1"/>
                    </a:gs>
                    <a:gs pos="100000">
                      <a:schemeClr val="tx1"/>
                    </a:gs>
                  </a:gsLst>
                  <a:lin ang="5400000" scaled="0"/>
                </a:gradFill>
                <a:effectLst/>
                <a:latin typeface="+mj-lt"/>
                <a:ea typeface="+mn-ea"/>
                <a:cs typeface="Segoe UI"/>
              </a:defRPr>
            </a:lvl1pPr>
          </a:lstStyle>
          <a:p>
            <a:r>
              <a:rPr sz="4132">
                <a:gradFill>
                  <a:gsLst>
                    <a:gs pos="1250">
                      <a:srgbClr val="FFFFFF"/>
                    </a:gs>
                    <a:gs pos="100000">
                      <a:srgbClr val="FFFFFF"/>
                    </a:gs>
                  </a:gsLst>
                  <a:lin ang="5400000" scaled="0"/>
                </a:gradFill>
              </a:rPr>
              <a:t>Capabilities</a:t>
            </a:r>
          </a:p>
        </p:txBody>
      </p:sp>
      <p:sp>
        <p:nvSpPr>
          <p:cNvPr id="43" name="Title 2"/>
          <p:cNvSpPr txBox="1">
            <a:spLocks/>
          </p:cNvSpPr>
          <p:nvPr/>
        </p:nvSpPr>
        <p:spPr>
          <a:xfrm>
            <a:off x="5596263" y="3972631"/>
            <a:ext cx="3046504" cy="572220"/>
          </a:xfrm>
          <a:prstGeom prst="rect">
            <a:avLst/>
          </a:prstGeom>
        </p:spPr>
        <p:txBody>
          <a:bodyPr/>
          <a:lstStyle>
            <a:lvl1pPr algn="l" defTabSz="685955" rtl="0" eaLnBrk="1" latinLnBrk="0" hangingPunct="1">
              <a:lnSpc>
                <a:spcPct val="90000"/>
              </a:lnSpc>
              <a:spcBef>
                <a:spcPct val="0"/>
              </a:spcBef>
              <a:buNone/>
              <a:defRPr lang="en-US" sz="4051" b="0" kern="1200" cap="none" spc="-75" baseline="0" dirty="0" smtClean="0">
                <a:ln w="3175">
                  <a:noFill/>
                </a:ln>
                <a:gradFill>
                  <a:gsLst>
                    <a:gs pos="1250">
                      <a:schemeClr val="tx1"/>
                    </a:gs>
                    <a:gs pos="100000">
                      <a:schemeClr val="tx1"/>
                    </a:gs>
                  </a:gsLst>
                  <a:lin ang="5400000" scaled="0"/>
                </a:gradFill>
                <a:effectLst/>
                <a:latin typeface="+mj-lt"/>
                <a:ea typeface="+mn-ea"/>
                <a:cs typeface="Segoe UI"/>
              </a:defRPr>
            </a:lvl1pPr>
          </a:lstStyle>
          <a:p>
            <a:r>
              <a:rPr sz="4132">
                <a:gradFill>
                  <a:gsLst>
                    <a:gs pos="1250">
                      <a:srgbClr val="FFFFFF"/>
                    </a:gs>
                    <a:gs pos="100000">
                      <a:srgbClr val="FFFFFF"/>
                    </a:gs>
                  </a:gsLst>
                  <a:lin ang="5400000" scaled="0"/>
                </a:gradFill>
              </a:rPr>
              <a:t>Architecture</a:t>
            </a:r>
          </a:p>
        </p:txBody>
      </p:sp>
      <p:sp>
        <p:nvSpPr>
          <p:cNvPr id="44" name="Title 2"/>
          <p:cNvSpPr txBox="1">
            <a:spLocks/>
          </p:cNvSpPr>
          <p:nvPr/>
        </p:nvSpPr>
        <p:spPr>
          <a:xfrm>
            <a:off x="3634327" y="2841663"/>
            <a:ext cx="3923873" cy="572220"/>
          </a:xfrm>
          <a:prstGeom prst="rect">
            <a:avLst/>
          </a:prstGeom>
        </p:spPr>
        <p:txBody>
          <a:bodyPr/>
          <a:lstStyle>
            <a:lvl1pPr algn="l" defTabSz="685955" rtl="0" eaLnBrk="1" latinLnBrk="0" hangingPunct="1">
              <a:lnSpc>
                <a:spcPct val="90000"/>
              </a:lnSpc>
              <a:spcBef>
                <a:spcPct val="0"/>
              </a:spcBef>
              <a:buNone/>
              <a:defRPr lang="en-US" sz="4051" b="0" kern="1200" cap="none" spc="-75" baseline="0" dirty="0" smtClean="0">
                <a:ln w="3175">
                  <a:noFill/>
                </a:ln>
                <a:gradFill>
                  <a:gsLst>
                    <a:gs pos="1250">
                      <a:schemeClr val="tx1"/>
                    </a:gs>
                    <a:gs pos="100000">
                      <a:schemeClr val="tx1"/>
                    </a:gs>
                  </a:gsLst>
                  <a:lin ang="5400000" scaled="0"/>
                </a:gradFill>
                <a:effectLst/>
                <a:latin typeface="+mj-lt"/>
                <a:ea typeface="+mn-ea"/>
                <a:cs typeface="Segoe UI"/>
              </a:defRPr>
            </a:lvl1pPr>
          </a:lstStyle>
          <a:p>
            <a:r>
              <a:rPr sz="4132">
                <a:gradFill>
                  <a:gsLst>
                    <a:gs pos="1250">
                      <a:srgbClr val="FFFFFF"/>
                    </a:gs>
                    <a:gs pos="100000">
                      <a:srgbClr val="FFFFFF"/>
                    </a:gs>
                  </a:gsLst>
                  <a:lin ang="5400000" scaled="0"/>
                </a:gradFill>
              </a:rPr>
              <a:t>Application Types</a:t>
            </a:r>
          </a:p>
        </p:txBody>
      </p:sp>
      <p:sp>
        <p:nvSpPr>
          <p:cNvPr id="2" name="TextBox 1"/>
          <p:cNvSpPr txBox="1"/>
          <p:nvPr/>
        </p:nvSpPr>
        <p:spPr>
          <a:xfrm>
            <a:off x="1742176" y="1501735"/>
            <a:ext cx="1438137" cy="288137"/>
          </a:xfrm>
          <a:prstGeom prst="rect">
            <a:avLst/>
          </a:prstGeom>
          <a:noFill/>
        </p:spPr>
        <p:txBody>
          <a:bodyPr wrap="none" lIns="0" tIns="0" rIns="0" bIns="0" rtlCol="0">
            <a:spAutoFit/>
          </a:bodyPr>
          <a:lstStyle/>
          <a:p>
            <a:pPr defTabSz="932559"/>
            <a:r>
              <a:rPr lang="en-US" sz="1836" spc="-71" dirty="0">
                <a:gradFill>
                  <a:gsLst>
                    <a:gs pos="2917">
                      <a:srgbClr val="FFFFFF"/>
                    </a:gs>
                    <a:gs pos="30000">
                      <a:srgbClr val="FFFFFF"/>
                    </a:gs>
                  </a:gsLst>
                  <a:lin ang="5400000" scaled="0"/>
                </a:gradFill>
              </a:rPr>
              <a:t>require a set of</a:t>
            </a:r>
          </a:p>
        </p:txBody>
      </p:sp>
      <p:sp>
        <p:nvSpPr>
          <p:cNvPr id="45" name="TextBox 44"/>
          <p:cNvSpPr txBox="1"/>
          <p:nvPr/>
        </p:nvSpPr>
        <p:spPr>
          <a:xfrm>
            <a:off x="2862656" y="2518284"/>
            <a:ext cx="5244479" cy="288137"/>
          </a:xfrm>
          <a:prstGeom prst="rect">
            <a:avLst/>
          </a:prstGeom>
          <a:noFill/>
        </p:spPr>
        <p:txBody>
          <a:bodyPr wrap="none" lIns="0" tIns="0" rIns="0" bIns="0" rtlCol="0">
            <a:spAutoFit/>
          </a:bodyPr>
          <a:lstStyle/>
          <a:p>
            <a:pPr defTabSz="932559"/>
            <a:r>
              <a:rPr lang="en-US" sz="1836" spc="-71" dirty="0">
                <a:gradFill>
                  <a:gsLst>
                    <a:gs pos="2917">
                      <a:srgbClr val="FFFFFF"/>
                    </a:gs>
                    <a:gs pos="30000">
                      <a:srgbClr val="FFFFFF"/>
                    </a:gs>
                  </a:gsLst>
                  <a:lin ang="5400000" scaled="0"/>
                </a:gradFill>
              </a:rPr>
              <a:t>which can be delivered to participants via one or more</a:t>
            </a:r>
          </a:p>
        </p:txBody>
      </p:sp>
      <p:sp>
        <p:nvSpPr>
          <p:cNvPr id="46" name="TextBox 45"/>
          <p:cNvSpPr txBox="1"/>
          <p:nvPr/>
        </p:nvSpPr>
        <p:spPr>
          <a:xfrm>
            <a:off x="4568922" y="3587545"/>
            <a:ext cx="3696019" cy="288137"/>
          </a:xfrm>
          <a:prstGeom prst="rect">
            <a:avLst/>
          </a:prstGeom>
          <a:noFill/>
        </p:spPr>
        <p:txBody>
          <a:bodyPr wrap="none" lIns="0" tIns="0" rIns="0" bIns="0" rtlCol="0">
            <a:spAutoFit/>
          </a:bodyPr>
          <a:lstStyle/>
          <a:p>
            <a:pPr defTabSz="932559"/>
            <a:r>
              <a:rPr lang="en-US" sz="1836" spc="-71" dirty="0">
                <a:gradFill>
                  <a:gsLst>
                    <a:gs pos="2917">
                      <a:srgbClr val="FFFFFF"/>
                    </a:gs>
                    <a:gs pos="30000">
                      <a:srgbClr val="FFFFFF"/>
                    </a:gs>
                  </a:gsLst>
                  <a:lin ang="5400000" scaled="0"/>
                </a:gradFill>
              </a:rPr>
              <a:t>which are a part of the overall solution</a:t>
            </a:r>
          </a:p>
        </p:txBody>
      </p:sp>
      <p:sp>
        <p:nvSpPr>
          <p:cNvPr id="9" name="TextBox 8"/>
          <p:cNvSpPr txBox="1"/>
          <p:nvPr/>
        </p:nvSpPr>
        <p:spPr>
          <a:xfrm>
            <a:off x="6827837" y="4641800"/>
            <a:ext cx="2230098" cy="282513"/>
          </a:xfrm>
          <a:prstGeom prst="rect">
            <a:avLst/>
          </a:prstGeom>
          <a:noFill/>
        </p:spPr>
        <p:txBody>
          <a:bodyPr wrap="none" lIns="0" tIns="0" rIns="0" bIns="0" rtlCol="0">
            <a:spAutoFit/>
          </a:bodyPr>
          <a:lstStyle/>
          <a:p>
            <a:pPr defTabSz="932559"/>
            <a:r>
              <a:rPr lang="en-US" sz="1836" spc="-71" dirty="0" smtClean="0">
                <a:gradFill>
                  <a:gsLst>
                    <a:gs pos="2917">
                      <a:srgbClr val="FFFFFF"/>
                    </a:gs>
                    <a:gs pos="30000">
                      <a:srgbClr val="FFFFFF"/>
                    </a:gs>
                  </a:gsLst>
                  <a:lin ang="5400000" scaled="0"/>
                </a:gradFill>
              </a:rPr>
              <a:t>that should incorporate</a:t>
            </a:r>
            <a:endParaRPr lang="en-US" sz="1836" spc="-71" dirty="0">
              <a:gradFill>
                <a:gsLst>
                  <a:gs pos="2917">
                    <a:srgbClr val="FFFFFF"/>
                  </a:gs>
                  <a:gs pos="30000">
                    <a:srgbClr val="FFFFFF"/>
                  </a:gs>
                </a:gsLst>
                <a:lin ang="5400000" scaled="0"/>
              </a:gradFill>
            </a:endParaRPr>
          </a:p>
        </p:txBody>
      </p:sp>
      <p:sp>
        <p:nvSpPr>
          <p:cNvPr id="10" name="Title 2"/>
          <p:cNvSpPr txBox="1">
            <a:spLocks/>
          </p:cNvSpPr>
          <p:nvPr/>
        </p:nvSpPr>
        <p:spPr>
          <a:xfrm>
            <a:off x="7361237" y="5021262"/>
            <a:ext cx="3856038" cy="572220"/>
          </a:xfrm>
          <a:prstGeom prst="rect">
            <a:avLst/>
          </a:prstGeom>
        </p:spPr>
        <p:txBody>
          <a:bodyPr/>
          <a:lstStyle>
            <a:lvl1pPr algn="l" defTabSz="685955" rtl="0" eaLnBrk="1" latinLnBrk="0" hangingPunct="1">
              <a:lnSpc>
                <a:spcPct val="90000"/>
              </a:lnSpc>
              <a:spcBef>
                <a:spcPct val="0"/>
              </a:spcBef>
              <a:buNone/>
              <a:defRPr lang="en-US" sz="4051" b="0" kern="1200" cap="none" spc="-75" baseline="0" dirty="0" smtClean="0">
                <a:ln w="3175">
                  <a:noFill/>
                </a:ln>
                <a:gradFill>
                  <a:gsLst>
                    <a:gs pos="1250">
                      <a:schemeClr val="tx1"/>
                    </a:gs>
                    <a:gs pos="100000">
                      <a:schemeClr val="tx1"/>
                    </a:gs>
                  </a:gsLst>
                  <a:lin ang="5400000" scaled="0"/>
                </a:gradFill>
                <a:effectLst/>
                <a:latin typeface="+mj-lt"/>
                <a:ea typeface="+mn-ea"/>
                <a:cs typeface="Segoe UI"/>
              </a:defRPr>
            </a:lvl1pPr>
          </a:lstStyle>
          <a:p>
            <a:r>
              <a:rPr sz="4132">
                <a:gradFill>
                  <a:gsLst>
                    <a:gs pos="1250">
                      <a:srgbClr val="FFFFFF"/>
                    </a:gs>
                    <a:gs pos="100000">
                      <a:srgbClr val="FFFFFF"/>
                    </a:gs>
                  </a:gsLst>
                  <a:lin ang="5400000" scaled="0"/>
                </a:gradFill>
              </a:rPr>
              <a:t>Open Standards</a:t>
            </a:r>
          </a:p>
        </p:txBody>
      </p:sp>
    </p:spTree>
    <p:custDataLst>
      <p:tags r:id="rId1"/>
    </p:custDataLst>
    <p:extLst>
      <p:ext uri="{BB962C8B-B14F-4D97-AF65-F5344CB8AC3E}">
        <p14:creationId xmlns:p14="http://schemas.microsoft.com/office/powerpoint/2010/main" val="359555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1000"/>
                                        <p:tgtEl>
                                          <p:spTgt spid="2"/>
                                        </p:tgtEl>
                                      </p:cBhvr>
                                    </p:animEffect>
                                  </p:childTnLst>
                                </p:cTn>
                              </p:par>
                            </p:childTnLst>
                          </p:cTn>
                        </p:par>
                        <p:par>
                          <p:cTn id="8" fill="hold">
                            <p:stCondLst>
                              <p:cond delay="1000"/>
                            </p:stCondLst>
                            <p:childTnLst>
                              <p:par>
                                <p:cTn id="9" presetID="22" presetClass="entr" presetSubtype="8" fill="hold" grpId="0" nodeType="afterEffect">
                                  <p:stCondLst>
                                    <p:cond delay="0"/>
                                  </p:stCondLst>
                                  <p:childTnLst>
                                    <p:set>
                                      <p:cBhvr>
                                        <p:cTn id="10" dur="1" fill="hold">
                                          <p:stCondLst>
                                            <p:cond delay="0"/>
                                          </p:stCondLst>
                                        </p:cTn>
                                        <p:tgtEl>
                                          <p:spTgt spid="42"/>
                                        </p:tgtEl>
                                        <p:attrNameLst>
                                          <p:attrName>style.visibility</p:attrName>
                                        </p:attrNameLst>
                                      </p:cBhvr>
                                      <p:to>
                                        <p:strVal val="visible"/>
                                      </p:to>
                                    </p:set>
                                    <p:animEffect transition="in" filter="wipe(left)">
                                      <p:cBhvr>
                                        <p:cTn id="11" dur="1000"/>
                                        <p:tgtEl>
                                          <p:spTgt spid="42"/>
                                        </p:tgtEl>
                                      </p:cBhvr>
                                    </p:animEffect>
                                  </p:childTnLst>
                                </p:cTn>
                              </p:par>
                            </p:childTnLst>
                          </p:cTn>
                        </p:par>
                        <p:par>
                          <p:cTn id="12" fill="hold">
                            <p:stCondLst>
                              <p:cond delay="2000"/>
                            </p:stCondLst>
                            <p:childTnLst>
                              <p:par>
                                <p:cTn id="13" presetID="22" presetClass="entr" presetSubtype="8" fill="hold" grpId="0"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wipe(left)">
                                      <p:cBhvr>
                                        <p:cTn id="15" dur="1000"/>
                                        <p:tgtEl>
                                          <p:spTgt spid="45"/>
                                        </p:tgtEl>
                                      </p:cBhvr>
                                    </p:animEffect>
                                  </p:childTnLst>
                                </p:cTn>
                              </p:par>
                            </p:childTnLst>
                          </p:cTn>
                        </p:par>
                        <p:par>
                          <p:cTn id="16" fill="hold">
                            <p:stCondLst>
                              <p:cond delay="3000"/>
                            </p:stCondLst>
                            <p:childTnLst>
                              <p:par>
                                <p:cTn id="17" presetID="22" presetClass="entr" presetSubtype="8" fill="hold" grpId="0" nodeType="afterEffect">
                                  <p:stCondLst>
                                    <p:cond delay="0"/>
                                  </p:stCondLst>
                                  <p:childTnLst>
                                    <p:set>
                                      <p:cBhvr>
                                        <p:cTn id="18" dur="1" fill="hold">
                                          <p:stCondLst>
                                            <p:cond delay="0"/>
                                          </p:stCondLst>
                                        </p:cTn>
                                        <p:tgtEl>
                                          <p:spTgt spid="44"/>
                                        </p:tgtEl>
                                        <p:attrNameLst>
                                          <p:attrName>style.visibility</p:attrName>
                                        </p:attrNameLst>
                                      </p:cBhvr>
                                      <p:to>
                                        <p:strVal val="visible"/>
                                      </p:to>
                                    </p:set>
                                    <p:animEffect transition="in" filter="wipe(left)">
                                      <p:cBhvr>
                                        <p:cTn id="19" dur="1000"/>
                                        <p:tgtEl>
                                          <p:spTgt spid="44"/>
                                        </p:tgtEl>
                                      </p:cBhvr>
                                    </p:animEffect>
                                  </p:childTnLst>
                                </p:cTn>
                              </p:par>
                            </p:childTnLst>
                          </p:cTn>
                        </p:par>
                        <p:par>
                          <p:cTn id="20" fill="hold">
                            <p:stCondLst>
                              <p:cond delay="4000"/>
                            </p:stCondLst>
                            <p:childTnLst>
                              <p:par>
                                <p:cTn id="21" presetID="22" presetClass="entr" presetSubtype="8" fill="hold" grpId="0" nodeType="afterEffect">
                                  <p:stCondLst>
                                    <p:cond delay="0"/>
                                  </p:stCondLst>
                                  <p:childTnLst>
                                    <p:set>
                                      <p:cBhvr>
                                        <p:cTn id="22" dur="1" fill="hold">
                                          <p:stCondLst>
                                            <p:cond delay="0"/>
                                          </p:stCondLst>
                                        </p:cTn>
                                        <p:tgtEl>
                                          <p:spTgt spid="46"/>
                                        </p:tgtEl>
                                        <p:attrNameLst>
                                          <p:attrName>style.visibility</p:attrName>
                                        </p:attrNameLst>
                                      </p:cBhvr>
                                      <p:to>
                                        <p:strVal val="visible"/>
                                      </p:to>
                                    </p:set>
                                    <p:animEffect transition="in" filter="wipe(left)">
                                      <p:cBhvr>
                                        <p:cTn id="23" dur="1000"/>
                                        <p:tgtEl>
                                          <p:spTgt spid="46"/>
                                        </p:tgtEl>
                                      </p:cBhvr>
                                    </p:animEffect>
                                  </p:childTnLst>
                                </p:cTn>
                              </p:par>
                            </p:childTnLst>
                          </p:cTn>
                        </p:par>
                        <p:par>
                          <p:cTn id="24" fill="hold">
                            <p:stCondLst>
                              <p:cond delay="5000"/>
                            </p:stCondLst>
                            <p:childTnLst>
                              <p:par>
                                <p:cTn id="25" presetID="22" presetClass="entr" presetSubtype="8" fill="hold" grpId="0" nodeType="afterEffect">
                                  <p:stCondLst>
                                    <p:cond delay="0"/>
                                  </p:stCondLst>
                                  <p:childTnLst>
                                    <p:set>
                                      <p:cBhvr>
                                        <p:cTn id="26" dur="1" fill="hold">
                                          <p:stCondLst>
                                            <p:cond delay="0"/>
                                          </p:stCondLst>
                                        </p:cTn>
                                        <p:tgtEl>
                                          <p:spTgt spid="43"/>
                                        </p:tgtEl>
                                        <p:attrNameLst>
                                          <p:attrName>style.visibility</p:attrName>
                                        </p:attrNameLst>
                                      </p:cBhvr>
                                      <p:to>
                                        <p:strVal val="visible"/>
                                      </p:to>
                                    </p:set>
                                    <p:animEffect transition="in" filter="wipe(left)">
                                      <p:cBhvr>
                                        <p:cTn id="27" dur="1000"/>
                                        <p:tgtEl>
                                          <p:spTgt spid="43"/>
                                        </p:tgtEl>
                                      </p:cBhvr>
                                    </p:animEffect>
                                  </p:childTnLst>
                                </p:cTn>
                              </p:par>
                            </p:childTnLst>
                          </p:cTn>
                        </p:par>
                        <p:par>
                          <p:cTn id="28" fill="hold">
                            <p:stCondLst>
                              <p:cond delay="6000"/>
                            </p:stCondLst>
                            <p:childTnLst>
                              <p:par>
                                <p:cTn id="29" presetID="22" presetClass="entr" presetSubtype="8" fill="hold" grpId="0" nodeType="afterEffect">
                                  <p:stCondLst>
                                    <p:cond delay="0"/>
                                  </p:stCondLst>
                                  <p:childTnLst>
                                    <p:set>
                                      <p:cBhvr>
                                        <p:cTn id="30" dur="1" fill="hold">
                                          <p:stCondLst>
                                            <p:cond delay="0"/>
                                          </p:stCondLst>
                                        </p:cTn>
                                        <p:tgtEl>
                                          <p:spTgt spid="9"/>
                                        </p:tgtEl>
                                        <p:attrNameLst>
                                          <p:attrName>style.visibility</p:attrName>
                                        </p:attrNameLst>
                                      </p:cBhvr>
                                      <p:to>
                                        <p:strVal val="visible"/>
                                      </p:to>
                                    </p:set>
                                    <p:animEffect transition="in" filter="wipe(left)">
                                      <p:cBhvr>
                                        <p:cTn id="31" dur="1000"/>
                                        <p:tgtEl>
                                          <p:spTgt spid="9"/>
                                        </p:tgtEl>
                                      </p:cBhvr>
                                    </p:animEffect>
                                  </p:childTnLst>
                                </p:cTn>
                              </p:par>
                            </p:childTnLst>
                          </p:cTn>
                        </p:par>
                        <p:par>
                          <p:cTn id="32" fill="hold">
                            <p:stCondLst>
                              <p:cond delay="7000"/>
                            </p:stCondLst>
                            <p:childTnLst>
                              <p:par>
                                <p:cTn id="33" presetID="22" presetClass="entr" presetSubtype="8" fill="hold" grpId="0" nodeType="afterEffect">
                                  <p:stCondLst>
                                    <p:cond delay="0"/>
                                  </p:stCondLst>
                                  <p:childTnLst>
                                    <p:set>
                                      <p:cBhvr>
                                        <p:cTn id="34" dur="1" fill="hold">
                                          <p:stCondLst>
                                            <p:cond delay="0"/>
                                          </p:stCondLst>
                                        </p:cTn>
                                        <p:tgtEl>
                                          <p:spTgt spid="10"/>
                                        </p:tgtEl>
                                        <p:attrNameLst>
                                          <p:attrName>style.visibility</p:attrName>
                                        </p:attrNameLst>
                                      </p:cBhvr>
                                      <p:to>
                                        <p:strVal val="visible"/>
                                      </p:to>
                                    </p:set>
                                    <p:animEffect transition="in" filter="wipe(left)">
                                      <p:cBhvr>
                                        <p:cTn id="35"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3" grpId="0"/>
      <p:bldP spid="44" grpId="0"/>
      <p:bldP spid="2" grpId="0"/>
      <p:bldP spid="45" grpId="0"/>
      <p:bldP spid="46" grpId="0"/>
      <p:bldP spid="9" grpId="0"/>
      <p:bldP spid="10"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Recap</a:t>
            </a:r>
            <a:endParaRPr lang="en-US" dirty="0"/>
          </a:p>
        </p:txBody>
      </p:sp>
      <p:sp>
        <p:nvSpPr>
          <p:cNvPr id="2" name="Text Placeholder 1"/>
          <p:cNvSpPr>
            <a:spLocks noGrp="1"/>
          </p:cNvSpPr>
          <p:nvPr>
            <p:ph type="body" sz="quarter" idx="10"/>
          </p:nvPr>
        </p:nvSpPr>
        <p:spPr>
          <a:xfrm>
            <a:off x="579437" y="1476622"/>
            <a:ext cx="11584766" cy="3717941"/>
          </a:xfrm>
        </p:spPr>
        <p:txBody>
          <a:bodyPr/>
          <a:lstStyle/>
          <a:p>
            <a:r>
              <a:rPr lang="en-US" sz="2800" dirty="0" smtClean="0"/>
              <a:t>Significant number of devices and services</a:t>
            </a:r>
            <a:br>
              <a:rPr lang="en-US" sz="2800" dirty="0" smtClean="0"/>
            </a:br>
            <a:r>
              <a:rPr lang="en-US" sz="2800" dirty="0" smtClean="0"/>
              <a:t>opportunities across verticals</a:t>
            </a:r>
          </a:p>
          <a:p>
            <a:r>
              <a:rPr lang="en-US" sz="2800" dirty="0" smtClean="0"/>
              <a:t>Many of the scenarios are built on a common set of</a:t>
            </a:r>
            <a:br>
              <a:rPr lang="en-US" sz="2800" dirty="0" smtClean="0"/>
            </a:br>
            <a:r>
              <a:rPr lang="en-US" sz="2800" dirty="0" smtClean="0"/>
              <a:t>capabilities</a:t>
            </a:r>
            <a:endParaRPr lang="en-US" sz="2800" dirty="0"/>
          </a:p>
          <a:p>
            <a:r>
              <a:rPr lang="en-US" sz="2800" dirty="0" smtClean="0"/>
              <a:t>HTTP</a:t>
            </a:r>
            <a:r>
              <a:rPr lang="en-US" sz="2800" dirty="0"/>
              <a:t>, REST, </a:t>
            </a:r>
            <a:r>
              <a:rPr lang="en-US" sz="2800" dirty="0" err="1"/>
              <a:t>Oauth</a:t>
            </a:r>
            <a:r>
              <a:rPr lang="en-US" sz="2800" dirty="0"/>
              <a:t> and </a:t>
            </a:r>
            <a:r>
              <a:rPr lang="en-US" sz="2800" dirty="0" err="1" smtClean="0"/>
              <a:t>OData</a:t>
            </a:r>
            <a:r>
              <a:rPr lang="en-US" sz="2800" dirty="0" smtClean="0"/>
              <a:t> are important</a:t>
            </a:r>
            <a:endParaRPr lang="en-US" sz="2800" dirty="0"/>
          </a:p>
          <a:p>
            <a:r>
              <a:rPr lang="en-US" sz="2800" dirty="0" smtClean="0"/>
              <a:t>Microsoft’s cloud platforms can connect to a diversity of devices – </a:t>
            </a:r>
          </a:p>
          <a:p>
            <a:r>
              <a:rPr lang="en-US" sz="2800" b="1" dirty="0" smtClean="0"/>
              <a:t>even if they’re not running Windows.</a:t>
            </a:r>
          </a:p>
          <a:p>
            <a:endParaRPr lang="en-US" sz="2800" dirty="0" smtClean="0"/>
          </a:p>
        </p:txBody>
      </p:sp>
    </p:spTree>
    <p:extLst>
      <p:ext uri="{BB962C8B-B14F-4D97-AF65-F5344CB8AC3E}">
        <p14:creationId xmlns:p14="http://schemas.microsoft.com/office/powerpoint/2010/main" val="3111236563"/>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ustworthy Computing Resources</a:t>
            </a:r>
            <a:endParaRPr lang="en-US" dirty="0"/>
          </a:p>
        </p:txBody>
      </p:sp>
      <p:sp>
        <p:nvSpPr>
          <p:cNvPr id="6" name="Rectangle 5"/>
          <p:cNvSpPr/>
          <p:nvPr/>
        </p:nvSpPr>
        <p:spPr bwMode="auto">
          <a:xfrm>
            <a:off x="97032" y="1214472"/>
            <a:ext cx="11887518" cy="5483191"/>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invGray">
          <a:xfrm>
            <a:off x="420342" y="1219563"/>
            <a:ext cx="11790169" cy="6463308"/>
          </a:xfrm>
          <a:prstGeom prst="rect">
            <a:avLst/>
          </a:prstGeom>
        </p:spPr>
        <p:txBody>
          <a:bodyPr wrap="square">
            <a:spAutoFit/>
          </a:bodyPr>
          <a:lstStyle/>
          <a:p>
            <a:r>
              <a:rPr lang="en-US" sz="3600" dirty="0">
                <a:solidFill>
                  <a:srgbClr val="FFFFFF"/>
                </a:solidFill>
              </a:rPr>
              <a:t>Trustworthy Computing (</a:t>
            </a:r>
            <a:r>
              <a:rPr lang="en-US" sz="3600" dirty="0" err="1">
                <a:solidFill>
                  <a:srgbClr val="FFFFFF"/>
                </a:solidFill>
              </a:rPr>
              <a:t>TwC</a:t>
            </a:r>
            <a:r>
              <a:rPr lang="en-US" sz="3600" dirty="0">
                <a:solidFill>
                  <a:srgbClr val="FFFFFF"/>
                </a:solidFill>
              </a:rPr>
              <a:t>) is a long-term, </a:t>
            </a:r>
            <a:r>
              <a:rPr lang="en-US" sz="3600" dirty="0" smtClean="0">
                <a:solidFill>
                  <a:srgbClr val="FFFFFF"/>
                </a:solidFill>
              </a:rPr>
              <a:t>collaborative </a:t>
            </a:r>
            <a:r>
              <a:rPr lang="en-US" sz="3600" dirty="0">
                <a:solidFill>
                  <a:srgbClr val="FFFFFF"/>
                </a:solidFill>
              </a:rPr>
              <a:t>effort to deliver more secure, private, </a:t>
            </a:r>
            <a:r>
              <a:rPr lang="en-US" sz="3600" dirty="0" smtClean="0">
                <a:solidFill>
                  <a:srgbClr val="FFFFFF"/>
                </a:solidFill>
              </a:rPr>
              <a:t/>
            </a:r>
            <a:br>
              <a:rPr lang="en-US" sz="3600" dirty="0" smtClean="0">
                <a:solidFill>
                  <a:srgbClr val="FFFFFF"/>
                </a:solidFill>
              </a:rPr>
            </a:br>
            <a:r>
              <a:rPr lang="en-US" sz="3600" dirty="0" smtClean="0">
                <a:solidFill>
                  <a:srgbClr val="FFFFFF"/>
                </a:solidFill>
              </a:rPr>
              <a:t>and </a:t>
            </a:r>
            <a:r>
              <a:rPr lang="en-US" sz="3600" dirty="0">
                <a:solidFill>
                  <a:srgbClr val="FFFFFF"/>
                </a:solidFill>
              </a:rPr>
              <a:t>reliable computing experiences for everyone</a:t>
            </a:r>
            <a:r>
              <a:rPr lang="en-US" sz="3600" dirty="0" smtClean="0">
                <a:solidFill>
                  <a:srgbClr val="FFFFFF"/>
                </a:solidFill>
              </a:rPr>
              <a:t>. </a:t>
            </a:r>
          </a:p>
          <a:p>
            <a:r>
              <a:rPr lang="en-US" sz="3600" dirty="0" smtClean="0">
                <a:solidFill>
                  <a:srgbClr val="FFFFFF"/>
                </a:solidFill>
              </a:rPr>
              <a:t>Learn more at:</a:t>
            </a:r>
            <a:endParaRPr lang="en-US" sz="3600" dirty="0">
              <a:gradFill>
                <a:gsLst>
                  <a:gs pos="1250">
                    <a:srgbClr val="FFFFFF"/>
                  </a:gs>
                  <a:gs pos="100000">
                    <a:srgbClr val="FFFFFF"/>
                  </a:gs>
                </a:gsLst>
                <a:lin ang="5400000" scaled="0"/>
              </a:gradFill>
            </a:endParaRPr>
          </a:p>
          <a:p>
            <a:pPr>
              <a:lnSpc>
                <a:spcPct val="90000"/>
              </a:lnSpc>
              <a:spcBef>
                <a:spcPct val="20000"/>
              </a:spcBef>
              <a:buSzPct val="105000"/>
            </a:pPr>
            <a:r>
              <a:rPr lang="en-US" sz="3600" dirty="0">
                <a:gradFill>
                  <a:gsLst>
                    <a:gs pos="1250">
                      <a:srgbClr val="FFFFFF"/>
                    </a:gs>
                    <a:gs pos="100000">
                      <a:srgbClr val="FFFFFF"/>
                    </a:gs>
                  </a:gsLst>
                  <a:lin ang="5400000" scaled="0"/>
                </a:gradFill>
                <a:latin typeface="Segoe UI Light"/>
              </a:rPr>
              <a:t>http://microsoft.com/twc</a:t>
            </a:r>
          </a:p>
          <a:p>
            <a:pPr marL="571500" indent="-571500">
              <a:lnSpc>
                <a:spcPct val="90000"/>
              </a:lnSpc>
              <a:spcBef>
                <a:spcPct val="20000"/>
              </a:spcBef>
              <a:buSzPct val="105000"/>
              <a:buFontTx/>
              <a:buBlip>
                <a:blip r:embed="rId3"/>
              </a:buBlip>
            </a:pPr>
            <a:r>
              <a:rPr lang="en-US" sz="3600" dirty="0">
                <a:gradFill>
                  <a:gsLst>
                    <a:gs pos="1250">
                      <a:srgbClr val="FFFFFF"/>
                    </a:gs>
                    <a:gs pos="100000">
                      <a:srgbClr val="FFFFFF"/>
                    </a:gs>
                  </a:gsLst>
                  <a:lin ang="5400000" scaled="0"/>
                </a:gradFill>
                <a:latin typeface="Segoe UI Light"/>
              </a:rPr>
              <a:t>Cloud Security Readiness Tool</a:t>
            </a:r>
          </a:p>
          <a:p>
            <a:pPr marL="571500" indent="-571500">
              <a:lnSpc>
                <a:spcPct val="90000"/>
              </a:lnSpc>
              <a:spcBef>
                <a:spcPct val="20000"/>
              </a:spcBef>
              <a:buSzPct val="105000"/>
              <a:buFontTx/>
              <a:buBlip>
                <a:blip r:embed="rId3"/>
              </a:buBlip>
            </a:pPr>
            <a:r>
              <a:rPr lang="en-US" sz="3600" dirty="0">
                <a:gradFill>
                  <a:gsLst>
                    <a:gs pos="1250">
                      <a:srgbClr val="FFFFFF"/>
                    </a:gs>
                    <a:gs pos="100000">
                      <a:srgbClr val="FFFFFF"/>
                    </a:gs>
                  </a:gsLst>
                  <a:lin ang="5400000" scaled="0"/>
                </a:gradFill>
                <a:latin typeface="Segoe UI Light"/>
              </a:rPr>
              <a:t>Pass the Hash Guidance</a:t>
            </a:r>
          </a:p>
          <a:p>
            <a:pPr marL="571500" indent="-571500">
              <a:lnSpc>
                <a:spcPct val="90000"/>
              </a:lnSpc>
              <a:spcBef>
                <a:spcPct val="20000"/>
              </a:spcBef>
              <a:buSzPct val="105000"/>
              <a:buFontTx/>
              <a:buBlip>
                <a:blip r:embed="rId3"/>
              </a:buBlip>
            </a:pPr>
            <a:r>
              <a:rPr lang="en-US" sz="3600" dirty="0">
                <a:gradFill>
                  <a:gsLst>
                    <a:gs pos="1250">
                      <a:srgbClr val="FFFFFF"/>
                    </a:gs>
                    <a:gs pos="100000">
                      <a:srgbClr val="FFFFFF"/>
                    </a:gs>
                  </a:gsLst>
                  <a:lin ang="5400000" scaled="0"/>
                </a:gradFill>
                <a:latin typeface="Segoe UI Light"/>
              </a:rPr>
              <a:t>Data, Insights and Guidance </a:t>
            </a:r>
            <a:r>
              <a:rPr lang="en-US" sz="2400" dirty="0">
                <a:gradFill>
                  <a:gsLst>
                    <a:gs pos="1250">
                      <a:srgbClr val="FFFFFF"/>
                    </a:gs>
                    <a:gs pos="100000">
                      <a:srgbClr val="FFFFFF"/>
                    </a:gs>
                  </a:gsLst>
                  <a:lin ang="5400000" scaled="0"/>
                </a:gradFill>
                <a:latin typeface="Segoe UI Light"/>
              </a:rPr>
              <a:t>(Security Intelligence Report, volume 14)</a:t>
            </a:r>
          </a:p>
          <a:p>
            <a:pPr marL="571500" indent="-571500">
              <a:lnSpc>
                <a:spcPct val="90000"/>
              </a:lnSpc>
              <a:spcBef>
                <a:spcPct val="20000"/>
              </a:spcBef>
              <a:buSzPct val="105000"/>
              <a:buFontTx/>
              <a:buBlip>
                <a:blip r:embed="rId3"/>
              </a:buBlip>
            </a:pPr>
            <a:r>
              <a:rPr lang="en-US" sz="3600" dirty="0">
                <a:gradFill>
                  <a:gsLst>
                    <a:gs pos="1250">
                      <a:srgbClr val="FFFFFF"/>
                    </a:gs>
                    <a:gs pos="100000">
                      <a:srgbClr val="FFFFFF"/>
                    </a:gs>
                  </a:gsLst>
                  <a:lin ang="5400000" scaled="0"/>
                </a:gradFill>
                <a:latin typeface="Segoe UI Light"/>
              </a:rPr>
              <a:t>and more…</a:t>
            </a:r>
          </a:p>
          <a:p>
            <a:endParaRPr lang="en-US" sz="3600" dirty="0" smtClean="0">
              <a:solidFill>
                <a:srgbClr val="FFFFFF"/>
              </a:solidFill>
              <a:latin typeface="Segoe UI Light"/>
            </a:endParaRPr>
          </a:p>
          <a:p>
            <a:endParaRPr lang="en-US" sz="3600" dirty="0">
              <a:solidFill>
                <a:srgbClr val="FFFFFF"/>
              </a:solidFill>
              <a:latin typeface="Segoe UI Light"/>
            </a:endParaRPr>
          </a:p>
        </p:txBody>
      </p:sp>
      <p:sp useBgFill="1">
        <p:nvSpPr>
          <p:cNvPr id="11" name="Freeform 10"/>
          <p:cNvSpPr/>
          <p:nvPr/>
        </p:nvSpPr>
        <p:spPr bwMode="auto">
          <a:xfrm>
            <a:off x="0" y="0"/>
            <a:ext cx="12436475" cy="6994525"/>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11596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0-#ppt_w/2"/>
                                          </p:val>
                                        </p:tav>
                                        <p:tav tm="100000">
                                          <p:val>
                                            <p:strVal val="#ppt_x"/>
                                          </p:val>
                                        </p:tav>
                                      </p:tavLst>
                                    </p:anim>
                                    <p:anim calcmode="lin" valueType="num">
                                      <p:cBhvr additive="base">
                                        <p:cTn id="8" dur="10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8" decel="100000" fill="hold" grpId="0" nodeType="withEffect">
                                  <p:stCondLst>
                                    <p:cond delay="10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1000" fill="hold"/>
                                        <p:tgtEl>
                                          <p:spTgt spid="8"/>
                                        </p:tgtEl>
                                        <p:attrNameLst>
                                          <p:attrName>ppt_x</p:attrName>
                                        </p:attrNameLst>
                                      </p:cBhvr>
                                      <p:tavLst>
                                        <p:tav tm="0">
                                          <p:val>
                                            <p:strVal val="0-#ppt_w/2"/>
                                          </p:val>
                                        </p:tav>
                                        <p:tav tm="100000">
                                          <p:val>
                                            <p:strVal val="#ppt_x"/>
                                          </p:val>
                                        </p:tav>
                                      </p:tavLst>
                                    </p:anim>
                                    <p:anim calcmode="lin" valueType="num">
                                      <p:cBhvr additive="base">
                                        <p:cTn id="12" dur="10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nvPr>
        </p:nvGraphicFramePr>
        <p:xfrm>
          <a:off x="2470" y="2084"/>
          <a:ext cx="1587" cy="1587"/>
        </p:xfrm>
        <a:graphic>
          <a:graphicData uri="http://schemas.openxmlformats.org/presentationml/2006/ole">
            <mc:AlternateContent xmlns:mc="http://schemas.openxmlformats.org/markup-compatibility/2006">
              <mc:Choice xmlns:v="urn:schemas-microsoft-com:vml" Requires="v">
                <p:oleObj spid="_x0000_s1032"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2470" y="2084"/>
                        <a:ext cx="1587" cy="1587"/>
                      </a:xfrm>
                      <a:prstGeom prst="rect">
                        <a:avLst/>
                      </a:prstGeom>
                    </p:spPr>
                  </p:pic>
                </p:oleObj>
              </mc:Fallback>
            </mc:AlternateContent>
          </a:graphicData>
        </a:graphic>
      </p:graphicFrame>
      <p:sp>
        <p:nvSpPr>
          <p:cNvPr id="2" name="Title 1"/>
          <p:cNvSpPr>
            <a:spLocks noGrp="1"/>
          </p:cNvSpPr>
          <p:nvPr>
            <p:ph type="title"/>
          </p:nvPr>
        </p:nvSpPr>
        <p:spPr>
          <a:xfrm>
            <a:off x="158645" y="-8951"/>
            <a:ext cx="8438926" cy="822823"/>
          </a:xfrm>
        </p:spPr>
        <p:txBody>
          <a:bodyPr/>
          <a:lstStyle/>
          <a:p>
            <a:r>
              <a:rPr lang="en-US" dirty="0" smtClean="0"/>
              <a:t>Long term opportunity </a:t>
            </a:r>
            <a:endParaRPr lang="en-US" dirty="0"/>
          </a:p>
        </p:txBody>
      </p:sp>
      <p:grpSp>
        <p:nvGrpSpPr>
          <p:cNvPr id="4" name="Group 3"/>
          <p:cNvGrpSpPr/>
          <p:nvPr/>
        </p:nvGrpSpPr>
        <p:grpSpPr>
          <a:xfrm>
            <a:off x="2052319" y="1048611"/>
            <a:ext cx="8044884" cy="5529506"/>
            <a:chOff x="236809" y="1171497"/>
            <a:chExt cx="8046025" cy="5530290"/>
          </a:xfrm>
        </p:grpSpPr>
        <p:sp>
          <p:nvSpPr>
            <p:cNvPr id="58" name="TextBox 57"/>
            <p:cNvSpPr txBox="1"/>
            <p:nvPr/>
          </p:nvSpPr>
          <p:spPr>
            <a:xfrm>
              <a:off x="5761038" y="1783461"/>
              <a:ext cx="1888608" cy="657047"/>
            </a:xfrm>
            <a:prstGeom prst="rect">
              <a:avLst/>
            </a:prstGeom>
            <a:noFill/>
          </p:spPr>
          <p:txBody>
            <a:bodyPr wrap="square" lIns="91427" tIns="45713" rIns="91427" bIns="45713" rtlCol="0">
              <a:spAutoFit/>
            </a:bodyPr>
            <a:lstStyle/>
            <a:p>
              <a:pPr algn="ctr"/>
              <a:r>
                <a:rPr lang="en-US" sz="1199" dirty="0"/>
                <a:t>Extraction and storage of proprietary machine data stream</a:t>
              </a:r>
            </a:p>
          </p:txBody>
        </p:sp>
        <p:sp>
          <p:nvSpPr>
            <p:cNvPr id="59" name="TextBox 58"/>
            <p:cNvSpPr txBox="1"/>
            <p:nvPr/>
          </p:nvSpPr>
          <p:spPr>
            <a:xfrm>
              <a:off x="6161364" y="4829355"/>
              <a:ext cx="1888608" cy="657047"/>
            </a:xfrm>
            <a:prstGeom prst="rect">
              <a:avLst/>
            </a:prstGeom>
            <a:noFill/>
          </p:spPr>
          <p:txBody>
            <a:bodyPr wrap="square" lIns="91427" tIns="45713" rIns="91427" bIns="45713" rtlCol="0">
              <a:spAutoFit/>
            </a:bodyPr>
            <a:lstStyle/>
            <a:p>
              <a:pPr algn="ctr"/>
              <a:r>
                <a:rPr lang="en-US" sz="1199" dirty="0"/>
                <a:t>Machine-based algorithms and data analysis</a:t>
              </a:r>
            </a:p>
          </p:txBody>
        </p:sp>
        <p:sp>
          <p:nvSpPr>
            <p:cNvPr id="60" name="TextBox 59"/>
            <p:cNvSpPr txBox="1"/>
            <p:nvPr/>
          </p:nvSpPr>
          <p:spPr>
            <a:xfrm>
              <a:off x="274638" y="4495548"/>
              <a:ext cx="1423534" cy="657047"/>
            </a:xfrm>
            <a:prstGeom prst="rect">
              <a:avLst/>
            </a:prstGeom>
            <a:noFill/>
          </p:spPr>
          <p:txBody>
            <a:bodyPr wrap="square" lIns="91427" tIns="45713" rIns="91427" bIns="45713" rtlCol="0">
              <a:spAutoFit/>
            </a:bodyPr>
            <a:lstStyle/>
            <a:p>
              <a:pPr algn="ctr"/>
              <a:r>
                <a:rPr lang="en-US" sz="1199" dirty="0"/>
                <a:t>Data sharing with the right people and machines</a:t>
              </a:r>
            </a:p>
          </p:txBody>
        </p:sp>
        <p:sp>
          <p:nvSpPr>
            <p:cNvPr id="61" name="TextBox 60"/>
            <p:cNvSpPr txBox="1"/>
            <p:nvPr/>
          </p:nvSpPr>
          <p:spPr>
            <a:xfrm>
              <a:off x="1291105" y="1494572"/>
              <a:ext cx="1610621" cy="468809"/>
            </a:xfrm>
            <a:prstGeom prst="rect">
              <a:avLst/>
            </a:prstGeom>
            <a:noFill/>
          </p:spPr>
          <p:txBody>
            <a:bodyPr wrap="square" lIns="91427" tIns="45713" rIns="91427" bIns="45713" rtlCol="0">
              <a:spAutoFit/>
            </a:bodyPr>
            <a:lstStyle/>
            <a:p>
              <a:pPr algn="ctr"/>
              <a:r>
                <a:rPr lang="en-US" sz="1199" dirty="0"/>
                <a:t>Intelligence flows back into machines</a:t>
              </a:r>
            </a:p>
          </p:txBody>
        </p:sp>
        <p:sp>
          <p:nvSpPr>
            <p:cNvPr id="62" name="TextBox 61"/>
            <p:cNvSpPr txBox="1"/>
            <p:nvPr/>
          </p:nvSpPr>
          <p:spPr>
            <a:xfrm>
              <a:off x="6394226" y="3415804"/>
              <a:ext cx="1888608" cy="468809"/>
            </a:xfrm>
            <a:prstGeom prst="rect">
              <a:avLst/>
            </a:prstGeom>
            <a:noFill/>
          </p:spPr>
          <p:txBody>
            <a:bodyPr wrap="square" lIns="91427" tIns="45713" rIns="91427" bIns="45713" rtlCol="0">
              <a:spAutoFit/>
            </a:bodyPr>
            <a:lstStyle/>
            <a:p>
              <a:pPr algn="ctr"/>
              <a:r>
                <a:rPr lang="en-US" sz="1199" dirty="0"/>
                <a:t>INDUSTRIAL DATA SYSTEMS</a:t>
              </a:r>
            </a:p>
          </p:txBody>
        </p:sp>
        <p:sp>
          <p:nvSpPr>
            <p:cNvPr id="63" name="TextBox 62"/>
            <p:cNvSpPr txBox="1"/>
            <p:nvPr/>
          </p:nvSpPr>
          <p:spPr>
            <a:xfrm>
              <a:off x="3103555" y="1171497"/>
              <a:ext cx="1888608" cy="468809"/>
            </a:xfrm>
            <a:prstGeom prst="rect">
              <a:avLst/>
            </a:prstGeom>
            <a:noFill/>
          </p:spPr>
          <p:txBody>
            <a:bodyPr wrap="square" lIns="91427" tIns="45713" rIns="91427" bIns="45713" rtlCol="0">
              <a:spAutoFit/>
            </a:bodyPr>
            <a:lstStyle/>
            <a:p>
              <a:pPr algn="ctr"/>
              <a:r>
                <a:rPr lang="en-US" sz="1199" dirty="0"/>
                <a:t>INDUSTRUMENTED INDUSTRIAL MACHINE</a:t>
              </a:r>
            </a:p>
          </p:txBody>
        </p:sp>
        <p:sp>
          <p:nvSpPr>
            <p:cNvPr id="76" name="Block Arc 75"/>
            <p:cNvSpPr/>
            <p:nvPr/>
          </p:nvSpPr>
          <p:spPr bwMode="auto">
            <a:xfrm rot="20944188">
              <a:off x="1595216" y="1657959"/>
              <a:ext cx="4674047" cy="4674042"/>
            </a:xfrm>
            <a:prstGeom prst="blockArc">
              <a:avLst>
                <a:gd name="adj1" fmla="val 19073288"/>
                <a:gd name="adj2" fmla="val 1708824"/>
                <a:gd name="adj3" fmla="val 18480"/>
              </a:avLst>
            </a:prstGeom>
            <a:solidFill>
              <a:schemeClr val="accent1"/>
            </a:solidFill>
            <a:ln w="9525" cap="flat" cmpd="sng" algn="ctr">
              <a:no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p>
              <a:pPr algn="ctr" defTabSz="913923" fontAlgn="base">
                <a:spcBef>
                  <a:spcPct val="0"/>
                </a:spcBef>
                <a:spcAft>
                  <a:spcPct val="0"/>
                </a:spcAft>
                <a:defRPr/>
              </a:pPr>
              <a:endParaRPr lang="en-US" sz="2000" kern="0" dirty="0">
                <a:latin typeface="Segoe UI"/>
              </a:endParaRPr>
            </a:p>
          </p:txBody>
        </p:sp>
        <p:sp>
          <p:nvSpPr>
            <p:cNvPr id="77" name="Block Arc 76"/>
            <p:cNvSpPr/>
            <p:nvPr/>
          </p:nvSpPr>
          <p:spPr bwMode="auto">
            <a:xfrm rot="3673455">
              <a:off x="1595219" y="1657957"/>
              <a:ext cx="4674042" cy="4674047"/>
            </a:xfrm>
            <a:prstGeom prst="blockArc">
              <a:avLst>
                <a:gd name="adj1" fmla="val 19073288"/>
                <a:gd name="adj2" fmla="val 1708824"/>
                <a:gd name="adj3" fmla="val 18480"/>
              </a:avLst>
            </a:prstGeom>
            <a:solidFill>
              <a:schemeClr val="accent1"/>
            </a:solidFill>
            <a:ln w="9525" cap="flat" cmpd="sng" algn="ctr">
              <a:no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p>
              <a:pPr algn="ctr" defTabSz="913923" fontAlgn="base">
                <a:spcBef>
                  <a:spcPct val="0"/>
                </a:spcBef>
                <a:spcAft>
                  <a:spcPct val="0"/>
                </a:spcAft>
                <a:defRPr/>
              </a:pPr>
              <a:endParaRPr lang="en-US" sz="2000" kern="0" dirty="0">
                <a:latin typeface="Segoe UI"/>
              </a:endParaRPr>
            </a:p>
          </p:txBody>
        </p:sp>
        <p:sp>
          <p:nvSpPr>
            <p:cNvPr id="78" name="Block Arc 77"/>
            <p:cNvSpPr/>
            <p:nvPr/>
          </p:nvSpPr>
          <p:spPr bwMode="auto">
            <a:xfrm rot="8002982">
              <a:off x="1595219" y="1657957"/>
              <a:ext cx="4674042" cy="4674047"/>
            </a:xfrm>
            <a:prstGeom prst="blockArc">
              <a:avLst>
                <a:gd name="adj1" fmla="val 19073288"/>
                <a:gd name="adj2" fmla="val 1708824"/>
                <a:gd name="adj3" fmla="val 18480"/>
              </a:avLst>
            </a:prstGeom>
            <a:solidFill>
              <a:schemeClr val="accent1"/>
            </a:solidFill>
            <a:ln w="9525" cap="flat" cmpd="sng" algn="ctr">
              <a:no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p>
              <a:pPr algn="ctr" defTabSz="913923" fontAlgn="base">
                <a:spcBef>
                  <a:spcPct val="0"/>
                </a:spcBef>
                <a:spcAft>
                  <a:spcPct val="0"/>
                </a:spcAft>
                <a:defRPr/>
              </a:pPr>
              <a:endParaRPr lang="en-US" sz="2000" kern="0" dirty="0">
                <a:latin typeface="Segoe UI"/>
              </a:endParaRPr>
            </a:p>
          </p:txBody>
        </p:sp>
        <p:sp>
          <p:nvSpPr>
            <p:cNvPr id="79" name="Block Arc 78"/>
            <p:cNvSpPr/>
            <p:nvPr/>
          </p:nvSpPr>
          <p:spPr bwMode="auto">
            <a:xfrm rot="12332130">
              <a:off x="1595216" y="1657959"/>
              <a:ext cx="4674047" cy="4674042"/>
            </a:xfrm>
            <a:prstGeom prst="blockArc">
              <a:avLst>
                <a:gd name="adj1" fmla="val 19073288"/>
                <a:gd name="adj2" fmla="val 1708824"/>
                <a:gd name="adj3" fmla="val 18480"/>
              </a:avLst>
            </a:prstGeom>
            <a:solidFill>
              <a:schemeClr val="accent1"/>
            </a:solidFill>
            <a:ln w="9525" cap="flat" cmpd="sng" algn="ctr">
              <a:no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p>
              <a:pPr algn="ctr" defTabSz="913923" fontAlgn="base">
                <a:spcBef>
                  <a:spcPct val="0"/>
                </a:spcBef>
                <a:spcAft>
                  <a:spcPct val="0"/>
                </a:spcAft>
                <a:defRPr/>
              </a:pPr>
              <a:endParaRPr lang="en-US" sz="2000" kern="0" dirty="0">
                <a:latin typeface="Segoe UI"/>
              </a:endParaRPr>
            </a:p>
          </p:txBody>
        </p:sp>
        <p:sp>
          <p:nvSpPr>
            <p:cNvPr id="80" name="Block Arc 79"/>
            <p:cNvSpPr/>
            <p:nvPr/>
          </p:nvSpPr>
          <p:spPr bwMode="auto">
            <a:xfrm rot="16573667">
              <a:off x="1595217" y="1657957"/>
              <a:ext cx="4674042" cy="4674046"/>
            </a:xfrm>
            <a:prstGeom prst="blockArc">
              <a:avLst>
                <a:gd name="adj1" fmla="val 19174529"/>
                <a:gd name="adj2" fmla="val 1738992"/>
                <a:gd name="adj3" fmla="val 18359"/>
              </a:avLst>
            </a:prstGeom>
            <a:solidFill>
              <a:schemeClr val="accent1"/>
            </a:solidFill>
            <a:ln w="9525" cap="flat" cmpd="sng" algn="ctr">
              <a:no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p>
              <a:pPr algn="ctr" defTabSz="913923" fontAlgn="base">
                <a:spcBef>
                  <a:spcPct val="0"/>
                </a:spcBef>
                <a:spcAft>
                  <a:spcPct val="0"/>
                </a:spcAft>
                <a:defRPr/>
              </a:pPr>
              <a:endParaRPr lang="en-US" sz="2000" kern="0" dirty="0">
                <a:latin typeface="Segoe UI"/>
              </a:endParaRPr>
            </a:p>
          </p:txBody>
        </p:sp>
        <p:grpSp>
          <p:nvGrpSpPr>
            <p:cNvPr id="66" name="Group 65"/>
            <p:cNvGrpSpPr/>
            <p:nvPr/>
          </p:nvGrpSpPr>
          <p:grpSpPr>
            <a:xfrm>
              <a:off x="2382558" y="2530554"/>
              <a:ext cx="3064782" cy="2712614"/>
              <a:chOff x="2941142" y="2126814"/>
              <a:chExt cx="2269935" cy="2009103"/>
            </a:xfrm>
            <a:solidFill>
              <a:schemeClr val="tx2"/>
            </a:solidFill>
            <a:effectLst/>
          </p:grpSpPr>
          <p:sp>
            <p:nvSpPr>
              <p:cNvPr id="71" name="Block Arc 32"/>
              <p:cNvSpPr/>
              <p:nvPr>
                <p:custDataLst>
                  <p:tags r:id="rId3"/>
                </p:custDataLst>
              </p:nvPr>
            </p:nvSpPr>
            <p:spPr bwMode="auto">
              <a:xfrm rot="3684843">
                <a:off x="4363688" y="3288528"/>
                <a:ext cx="441051" cy="1253727"/>
              </a:xfrm>
              <a:custGeom>
                <a:avLst/>
                <a:gdLst/>
                <a:ahLst/>
                <a:cxnLst/>
                <a:rect l="l" t="t" r="r" b="b"/>
                <a:pathLst>
                  <a:path w="511332" h="1453507">
                    <a:moveTo>
                      <a:pt x="0" y="170835"/>
                    </a:moveTo>
                    <a:lnTo>
                      <a:pt x="154655" y="139657"/>
                    </a:lnTo>
                    <a:lnTo>
                      <a:pt x="188611" y="0"/>
                    </a:lnTo>
                    <a:cubicBezTo>
                      <a:pt x="531911" y="379928"/>
                      <a:pt x="607985" y="928949"/>
                      <a:pt x="384728" y="1385725"/>
                    </a:cubicBezTo>
                    <a:lnTo>
                      <a:pt x="475475" y="1435021"/>
                    </a:lnTo>
                    <a:lnTo>
                      <a:pt x="208187" y="1453507"/>
                    </a:lnTo>
                    <a:lnTo>
                      <a:pt x="78212" y="1219218"/>
                    </a:lnTo>
                    <a:lnTo>
                      <a:pt x="159218" y="1263222"/>
                    </a:lnTo>
                    <a:cubicBezTo>
                      <a:pt x="332687" y="902393"/>
                      <a:pt x="270721" y="470594"/>
                      <a:pt x="0" y="170835"/>
                    </a:cubicBezTo>
                    <a:close/>
                  </a:path>
                </a:pathLst>
              </a:custGeom>
              <a:grpFill/>
              <a:ln w="9525" cap="flat" cmpd="sng" algn="ctr">
                <a:noFill/>
                <a:prstDash val="solid"/>
                <a:headEnd type="none" w="med" len="med"/>
                <a:tailEnd type="none" w="med" len="med"/>
              </a:ln>
              <a:effectLst/>
              <a:scene3d>
                <a:camera prst="orthographicFront"/>
                <a:lightRig rig="glow" dir="t"/>
              </a:scene3d>
              <a:sp3d/>
            </p:spPr>
            <p:txBody>
              <a:bodyPr vert="horz" wrap="square" lIns="87769" tIns="43885" rIns="87769" bIns="43885" numCol="1" rtlCol="0" anchor="ctr" anchorCtr="0" compatLnSpc="1">
                <a:prstTxWarp prst="textNoShape">
                  <a:avLst/>
                </a:prstTxWarp>
              </a:bodyPr>
              <a:lstStyle/>
              <a:p>
                <a:pPr algn="ctr" defTabSz="877402" fontAlgn="base">
                  <a:spcBef>
                    <a:spcPct val="0"/>
                  </a:spcBef>
                  <a:spcAft>
                    <a:spcPct val="0"/>
                  </a:spcAft>
                  <a:defRPr/>
                </a:pPr>
                <a:endParaRPr lang="en-US" sz="2400" kern="0" dirty="0"/>
              </a:p>
            </p:txBody>
          </p:sp>
          <p:sp>
            <p:nvSpPr>
              <p:cNvPr id="72" name="Block Arc 32"/>
              <p:cNvSpPr/>
              <p:nvPr>
                <p:custDataLst>
                  <p:tags r:id="rId4"/>
                </p:custDataLst>
              </p:nvPr>
            </p:nvSpPr>
            <p:spPr bwMode="auto">
              <a:xfrm rot="8009585">
                <a:off x="3347480" y="3270439"/>
                <a:ext cx="441051" cy="1253727"/>
              </a:xfrm>
              <a:custGeom>
                <a:avLst/>
                <a:gdLst/>
                <a:ahLst/>
                <a:cxnLst/>
                <a:rect l="l" t="t" r="r" b="b"/>
                <a:pathLst>
                  <a:path w="511332" h="1453507">
                    <a:moveTo>
                      <a:pt x="0" y="170835"/>
                    </a:moveTo>
                    <a:lnTo>
                      <a:pt x="154655" y="139657"/>
                    </a:lnTo>
                    <a:lnTo>
                      <a:pt x="188611" y="0"/>
                    </a:lnTo>
                    <a:cubicBezTo>
                      <a:pt x="531911" y="379928"/>
                      <a:pt x="607985" y="928949"/>
                      <a:pt x="384728" y="1385725"/>
                    </a:cubicBezTo>
                    <a:lnTo>
                      <a:pt x="475475" y="1435021"/>
                    </a:lnTo>
                    <a:lnTo>
                      <a:pt x="208187" y="1453507"/>
                    </a:lnTo>
                    <a:lnTo>
                      <a:pt x="78212" y="1219218"/>
                    </a:lnTo>
                    <a:lnTo>
                      <a:pt x="159218" y="1263222"/>
                    </a:lnTo>
                    <a:cubicBezTo>
                      <a:pt x="332687" y="902393"/>
                      <a:pt x="270721" y="470594"/>
                      <a:pt x="0" y="170835"/>
                    </a:cubicBezTo>
                    <a:close/>
                  </a:path>
                </a:pathLst>
              </a:custGeom>
              <a:grpFill/>
              <a:ln w="9525" cap="flat" cmpd="sng" algn="ctr">
                <a:noFill/>
                <a:prstDash val="solid"/>
                <a:headEnd type="none" w="med" len="med"/>
                <a:tailEnd type="none" w="med" len="med"/>
              </a:ln>
              <a:effectLst/>
              <a:scene3d>
                <a:camera prst="orthographicFront"/>
                <a:lightRig rig="glow" dir="t"/>
              </a:scene3d>
              <a:sp3d/>
            </p:spPr>
            <p:txBody>
              <a:bodyPr vert="horz" wrap="square" lIns="87769" tIns="43885" rIns="87769" bIns="43885" numCol="1" rtlCol="0" anchor="ctr" anchorCtr="0" compatLnSpc="1">
                <a:prstTxWarp prst="textNoShape">
                  <a:avLst/>
                </a:prstTxWarp>
              </a:bodyPr>
              <a:lstStyle/>
              <a:p>
                <a:pPr algn="ctr" defTabSz="877402" fontAlgn="base">
                  <a:spcBef>
                    <a:spcPct val="0"/>
                  </a:spcBef>
                  <a:spcAft>
                    <a:spcPct val="0"/>
                  </a:spcAft>
                  <a:defRPr/>
                </a:pPr>
                <a:endParaRPr lang="en-US" sz="2400" kern="0" dirty="0"/>
              </a:p>
            </p:txBody>
          </p:sp>
          <p:sp>
            <p:nvSpPr>
              <p:cNvPr id="73" name="Block Arc 32"/>
              <p:cNvSpPr/>
              <p:nvPr>
                <p:custDataLst>
                  <p:tags r:id="rId5"/>
                </p:custDataLst>
              </p:nvPr>
            </p:nvSpPr>
            <p:spPr bwMode="auto">
              <a:xfrm rot="12350672">
                <a:off x="3055997" y="2295029"/>
                <a:ext cx="441051" cy="1253727"/>
              </a:xfrm>
              <a:custGeom>
                <a:avLst/>
                <a:gdLst/>
                <a:ahLst/>
                <a:cxnLst/>
                <a:rect l="l" t="t" r="r" b="b"/>
                <a:pathLst>
                  <a:path w="511332" h="1453507">
                    <a:moveTo>
                      <a:pt x="0" y="170835"/>
                    </a:moveTo>
                    <a:lnTo>
                      <a:pt x="154655" y="139657"/>
                    </a:lnTo>
                    <a:lnTo>
                      <a:pt x="188611" y="0"/>
                    </a:lnTo>
                    <a:cubicBezTo>
                      <a:pt x="531911" y="379928"/>
                      <a:pt x="607985" y="928949"/>
                      <a:pt x="384728" y="1385725"/>
                    </a:cubicBezTo>
                    <a:lnTo>
                      <a:pt x="475475" y="1435021"/>
                    </a:lnTo>
                    <a:lnTo>
                      <a:pt x="208187" y="1453507"/>
                    </a:lnTo>
                    <a:lnTo>
                      <a:pt x="78212" y="1219218"/>
                    </a:lnTo>
                    <a:lnTo>
                      <a:pt x="159218" y="1263222"/>
                    </a:lnTo>
                    <a:cubicBezTo>
                      <a:pt x="332687" y="902393"/>
                      <a:pt x="270721" y="470594"/>
                      <a:pt x="0" y="170835"/>
                    </a:cubicBezTo>
                    <a:close/>
                  </a:path>
                </a:pathLst>
              </a:custGeom>
              <a:grpFill/>
              <a:ln w="9525" cap="flat" cmpd="sng" algn="ctr">
                <a:noFill/>
                <a:prstDash val="solid"/>
                <a:headEnd type="none" w="med" len="med"/>
                <a:tailEnd type="none" w="med" len="med"/>
              </a:ln>
              <a:effectLst/>
              <a:scene3d>
                <a:camera prst="orthographicFront"/>
                <a:lightRig rig="glow" dir="t"/>
              </a:scene3d>
              <a:sp3d/>
            </p:spPr>
            <p:txBody>
              <a:bodyPr vert="horz" wrap="square" lIns="87769" tIns="43885" rIns="87769" bIns="43885" numCol="1" rtlCol="0" anchor="ctr" anchorCtr="0" compatLnSpc="1">
                <a:prstTxWarp prst="textNoShape">
                  <a:avLst/>
                </a:prstTxWarp>
              </a:bodyPr>
              <a:lstStyle/>
              <a:p>
                <a:pPr algn="ctr" defTabSz="877402" fontAlgn="base">
                  <a:spcBef>
                    <a:spcPct val="0"/>
                  </a:spcBef>
                  <a:spcAft>
                    <a:spcPct val="0"/>
                  </a:spcAft>
                  <a:defRPr/>
                </a:pPr>
                <a:endParaRPr lang="en-US" sz="2400" kern="0" dirty="0"/>
              </a:p>
            </p:txBody>
          </p:sp>
          <p:sp>
            <p:nvSpPr>
              <p:cNvPr id="74" name="Block Arc 32"/>
              <p:cNvSpPr/>
              <p:nvPr>
                <p:custDataLst>
                  <p:tags r:id="rId6"/>
                </p:custDataLst>
              </p:nvPr>
            </p:nvSpPr>
            <p:spPr bwMode="auto">
              <a:xfrm rot="16624349">
                <a:off x="3890753" y="1722061"/>
                <a:ext cx="429275" cy="1238782"/>
              </a:xfrm>
              <a:custGeom>
                <a:avLst/>
                <a:gdLst/>
                <a:ahLst/>
                <a:cxnLst/>
                <a:rect l="l" t="t" r="r" b="b"/>
                <a:pathLst>
                  <a:path w="497679" h="1436180">
                    <a:moveTo>
                      <a:pt x="485475" y="646717"/>
                    </a:moveTo>
                    <a:cubicBezTo>
                      <a:pt x="519499" y="888561"/>
                      <a:pt x="482703" y="1140010"/>
                      <a:pt x="371075" y="1368398"/>
                    </a:cubicBezTo>
                    <a:lnTo>
                      <a:pt x="461822" y="1417694"/>
                    </a:lnTo>
                    <a:lnTo>
                      <a:pt x="194534" y="1436180"/>
                    </a:lnTo>
                    <a:lnTo>
                      <a:pt x="64559" y="1201891"/>
                    </a:lnTo>
                    <a:lnTo>
                      <a:pt x="145565" y="1245895"/>
                    </a:lnTo>
                    <a:cubicBezTo>
                      <a:pt x="315843" y="891703"/>
                      <a:pt x="259268" y="469128"/>
                      <a:pt x="0" y="171110"/>
                    </a:cubicBezTo>
                    <a:lnTo>
                      <a:pt x="150635" y="140254"/>
                    </a:lnTo>
                    <a:lnTo>
                      <a:pt x="188385" y="0"/>
                    </a:lnTo>
                    <a:cubicBezTo>
                      <a:pt x="352534" y="185898"/>
                      <a:pt x="452422" y="411775"/>
                      <a:pt x="485475" y="646717"/>
                    </a:cubicBezTo>
                    <a:close/>
                  </a:path>
                </a:pathLst>
              </a:custGeom>
              <a:grpFill/>
              <a:ln w="9525" cap="flat" cmpd="sng" algn="ctr">
                <a:noFill/>
                <a:prstDash val="solid"/>
                <a:headEnd type="none" w="med" len="med"/>
                <a:tailEnd type="none" w="med" len="med"/>
              </a:ln>
              <a:effectLst/>
              <a:scene3d>
                <a:camera prst="orthographicFront"/>
                <a:lightRig rig="glow" dir="t"/>
              </a:scene3d>
              <a:sp3d/>
            </p:spPr>
            <p:txBody>
              <a:bodyPr vert="horz" wrap="square" lIns="87769" tIns="43885" rIns="87769" bIns="43885" numCol="1" rtlCol="0" anchor="ctr" anchorCtr="0" compatLnSpc="1">
                <a:prstTxWarp prst="textNoShape">
                  <a:avLst/>
                </a:prstTxWarp>
              </a:bodyPr>
              <a:lstStyle/>
              <a:p>
                <a:pPr algn="ctr" defTabSz="877402" fontAlgn="base">
                  <a:spcBef>
                    <a:spcPct val="0"/>
                  </a:spcBef>
                  <a:spcAft>
                    <a:spcPct val="0"/>
                  </a:spcAft>
                  <a:defRPr/>
                </a:pPr>
                <a:endParaRPr lang="en-US" sz="2400" kern="0" dirty="0"/>
              </a:p>
            </p:txBody>
          </p:sp>
          <p:sp>
            <p:nvSpPr>
              <p:cNvPr id="75" name="Block Arc 32"/>
              <p:cNvSpPr/>
              <p:nvPr>
                <p:custDataLst>
                  <p:tags r:id="rId7"/>
                </p:custDataLst>
              </p:nvPr>
            </p:nvSpPr>
            <p:spPr bwMode="auto">
              <a:xfrm rot="20943300">
                <a:off x="4693371" y="2327708"/>
                <a:ext cx="441051" cy="1253727"/>
              </a:xfrm>
              <a:custGeom>
                <a:avLst/>
                <a:gdLst/>
                <a:ahLst/>
                <a:cxnLst/>
                <a:rect l="l" t="t" r="r" b="b"/>
                <a:pathLst>
                  <a:path w="511332" h="1453507">
                    <a:moveTo>
                      <a:pt x="0" y="170835"/>
                    </a:moveTo>
                    <a:lnTo>
                      <a:pt x="154655" y="139657"/>
                    </a:lnTo>
                    <a:lnTo>
                      <a:pt x="188611" y="0"/>
                    </a:lnTo>
                    <a:cubicBezTo>
                      <a:pt x="531911" y="379928"/>
                      <a:pt x="607985" y="928949"/>
                      <a:pt x="384728" y="1385725"/>
                    </a:cubicBezTo>
                    <a:lnTo>
                      <a:pt x="475475" y="1435021"/>
                    </a:lnTo>
                    <a:lnTo>
                      <a:pt x="208187" y="1453507"/>
                    </a:lnTo>
                    <a:lnTo>
                      <a:pt x="78212" y="1219218"/>
                    </a:lnTo>
                    <a:lnTo>
                      <a:pt x="159218" y="1263222"/>
                    </a:lnTo>
                    <a:cubicBezTo>
                      <a:pt x="332687" y="902393"/>
                      <a:pt x="270721" y="470594"/>
                      <a:pt x="0" y="170835"/>
                    </a:cubicBezTo>
                    <a:close/>
                  </a:path>
                </a:pathLst>
              </a:custGeom>
              <a:grpFill/>
              <a:ln w="9525" cap="flat" cmpd="sng" algn="ctr">
                <a:noFill/>
                <a:prstDash val="solid"/>
                <a:headEnd type="none" w="med" len="med"/>
                <a:tailEnd type="none" w="med" len="med"/>
              </a:ln>
              <a:effectLst/>
              <a:scene3d>
                <a:camera prst="orthographicFront"/>
                <a:lightRig rig="glow" dir="t"/>
              </a:scene3d>
              <a:sp3d/>
            </p:spPr>
            <p:txBody>
              <a:bodyPr vert="horz" wrap="square" lIns="87769" tIns="43885" rIns="87769" bIns="43885" numCol="1" rtlCol="0" anchor="ctr" anchorCtr="0" compatLnSpc="1">
                <a:prstTxWarp prst="textNoShape">
                  <a:avLst/>
                </a:prstTxWarp>
              </a:bodyPr>
              <a:lstStyle/>
              <a:p>
                <a:pPr algn="ctr" defTabSz="877402" fontAlgn="base">
                  <a:spcBef>
                    <a:spcPct val="0"/>
                  </a:spcBef>
                  <a:spcAft>
                    <a:spcPct val="0"/>
                  </a:spcAft>
                  <a:defRPr/>
                </a:pPr>
                <a:endParaRPr lang="en-US" sz="2400" kern="0" dirty="0"/>
              </a:p>
            </p:txBody>
          </p:sp>
        </p:grpSp>
        <p:sp>
          <p:nvSpPr>
            <p:cNvPr id="81" name="TextBox 80"/>
            <p:cNvSpPr txBox="1"/>
            <p:nvPr/>
          </p:nvSpPr>
          <p:spPr>
            <a:xfrm>
              <a:off x="753868" y="6044740"/>
              <a:ext cx="1656125" cy="657047"/>
            </a:xfrm>
            <a:prstGeom prst="rect">
              <a:avLst/>
            </a:prstGeom>
            <a:noFill/>
          </p:spPr>
          <p:txBody>
            <a:bodyPr wrap="square" lIns="91427" tIns="45713" rIns="91427" bIns="45713" rtlCol="0">
              <a:spAutoFit/>
            </a:bodyPr>
            <a:lstStyle/>
            <a:p>
              <a:pPr algn="ctr"/>
              <a:r>
                <a:rPr lang="en-US" sz="1199" dirty="0"/>
                <a:t>REMOTE AND CENTRALIZED DATA VISUALIZATION</a:t>
              </a:r>
            </a:p>
          </p:txBody>
        </p:sp>
        <p:sp>
          <p:nvSpPr>
            <p:cNvPr id="82" name="TextBox 81"/>
            <p:cNvSpPr txBox="1"/>
            <p:nvPr/>
          </p:nvSpPr>
          <p:spPr>
            <a:xfrm>
              <a:off x="236809" y="2334151"/>
              <a:ext cx="1643936" cy="468809"/>
            </a:xfrm>
            <a:prstGeom prst="rect">
              <a:avLst/>
            </a:prstGeom>
            <a:noFill/>
          </p:spPr>
          <p:txBody>
            <a:bodyPr wrap="square" lIns="91427" tIns="45713" rIns="91427" bIns="45713" rtlCol="0">
              <a:spAutoFit/>
            </a:bodyPr>
            <a:lstStyle/>
            <a:p>
              <a:pPr algn="ctr"/>
              <a:r>
                <a:rPr lang="en-US" sz="1199" dirty="0"/>
                <a:t>PHYSICAL AND HUMAN NETWORKS</a:t>
              </a:r>
            </a:p>
          </p:txBody>
        </p:sp>
        <p:sp>
          <p:nvSpPr>
            <p:cNvPr id="83" name="TextBox 82"/>
            <p:cNvSpPr txBox="1"/>
            <p:nvPr/>
          </p:nvSpPr>
          <p:spPr>
            <a:xfrm>
              <a:off x="4542328" y="6246496"/>
              <a:ext cx="1888608" cy="280570"/>
            </a:xfrm>
            <a:prstGeom prst="rect">
              <a:avLst/>
            </a:prstGeom>
            <a:noFill/>
          </p:spPr>
          <p:txBody>
            <a:bodyPr wrap="square" lIns="91427" tIns="45713" rIns="91427" bIns="45713" rtlCol="0">
              <a:spAutoFit/>
            </a:bodyPr>
            <a:lstStyle/>
            <a:p>
              <a:pPr algn="ctr"/>
              <a:r>
                <a:rPr lang="en-US" sz="1199" dirty="0"/>
                <a:t>BIG DATA ANALYTICS</a:t>
              </a:r>
            </a:p>
          </p:txBody>
        </p:sp>
        <p:sp>
          <p:nvSpPr>
            <p:cNvPr id="84" name="Round Same Side Corner Rectangle 2"/>
            <p:cNvSpPr/>
            <p:nvPr/>
          </p:nvSpPr>
          <p:spPr>
            <a:xfrm>
              <a:off x="2603839" y="5141879"/>
              <a:ext cx="413999" cy="839338"/>
            </a:xfrm>
            <a:custGeom>
              <a:avLst/>
              <a:gdLst/>
              <a:ahLst/>
              <a:cxnLst/>
              <a:rect l="l" t="t" r="r" b="b"/>
              <a:pathLst>
                <a:path w="1479550" h="2999631">
                  <a:moveTo>
                    <a:pt x="739775" y="2723722"/>
                  </a:moveTo>
                  <a:cubicBezTo>
                    <a:pt x="701170" y="2723722"/>
                    <a:pt x="669874" y="2755018"/>
                    <a:pt x="669874" y="2793623"/>
                  </a:cubicBezTo>
                  <a:cubicBezTo>
                    <a:pt x="669874" y="2832228"/>
                    <a:pt x="701170" y="2863524"/>
                    <a:pt x="739775" y="2863524"/>
                  </a:cubicBezTo>
                  <a:cubicBezTo>
                    <a:pt x="778380" y="2863524"/>
                    <a:pt x="809676" y="2832228"/>
                    <a:pt x="809676" y="2793623"/>
                  </a:cubicBezTo>
                  <a:cubicBezTo>
                    <a:pt x="809676" y="2755018"/>
                    <a:pt x="778380" y="2723722"/>
                    <a:pt x="739775" y="2723722"/>
                  </a:cubicBezTo>
                  <a:close/>
                  <a:moveTo>
                    <a:pt x="201613" y="1629933"/>
                  </a:moveTo>
                  <a:lnTo>
                    <a:pt x="1123848" y="1629933"/>
                  </a:lnTo>
                  <a:lnTo>
                    <a:pt x="1123848" y="2058558"/>
                  </a:lnTo>
                  <a:lnTo>
                    <a:pt x="201613" y="2058558"/>
                  </a:lnTo>
                  <a:close/>
                  <a:moveTo>
                    <a:pt x="685698" y="1155271"/>
                  </a:moveTo>
                  <a:lnTo>
                    <a:pt x="1123848" y="1155271"/>
                  </a:lnTo>
                  <a:lnTo>
                    <a:pt x="1123848" y="1583896"/>
                  </a:lnTo>
                  <a:lnTo>
                    <a:pt x="685698" y="1583896"/>
                  </a:lnTo>
                  <a:close/>
                  <a:moveTo>
                    <a:pt x="201613" y="1155271"/>
                  </a:moveTo>
                  <a:lnTo>
                    <a:pt x="639763" y="1155271"/>
                  </a:lnTo>
                  <a:lnTo>
                    <a:pt x="639763" y="1583896"/>
                  </a:lnTo>
                  <a:lnTo>
                    <a:pt x="201613" y="1583896"/>
                  </a:lnTo>
                  <a:close/>
                  <a:moveTo>
                    <a:pt x="685698" y="680609"/>
                  </a:moveTo>
                  <a:lnTo>
                    <a:pt x="1123848" y="680609"/>
                  </a:lnTo>
                  <a:lnTo>
                    <a:pt x="1123848" y="1109234"/>
                  </a:lnTo>
                  <a:lnTo>
                    <a:pt x="685698" y="1109234"/>
                  </a:lnTo>
                  <a:close/>
                  <a:moveTo>
                    <a:pt x="201613" y="680609"/>
                  </a:moveTo>
                  <a:lnTo>
                    <a:pt x="639763" y="680609"/>
                  </a:lnTo>
                  <a:lnTo>
                    <a:pt x="639763" y="1109234"/>
                  </a:lnTo>
                  <a:lnTo>
                    <a:pt x="201613" y="1109234"/>
                  </a:lnTo>
                  <a:close/>
                  <a:moveTo>
                    <a:pt x="154163" y="413909"/>
                  </a:moveTo>
                  <a:lnTo>
                    <a:pt x="154163" y="2528459"/>
                  </a:lnTo>
                  <a:lnTo>
                    <a:pt x="201613" y="2528459"/>
                  </a:lnTo>
                  <a:lnTo>
                    <a:pt x="201613" y="2104596"/>
                  </a:lnTo>
                  <a:lnTo>
                    <a:pt x="639763" y="2104596"/>
                  </a:lnTo>
                  <a:lnTo>
                    <a:pt x="639763" y="2528459"/>
                  </a:lnTo>
                  <a:lnTo>
                    <a:pt x="685698" y="2528459"/>
                  </a:lnTo>
                  <a:lnTo>
                    <a:pt x="685698" y="2104596"/>
                  </a:lnTo>
                  <a:lnTo>
                    <a:pt x="1123848" y="2104596"/>
                  </a:lnTo>
                  <a:lnTo>
                    <a:pt x="1123848" y="2528459"/>
                  </a:lnTo>
                  <a:lnTo>
                    <a:pt x="1325388" y="2528459"/>
                  </a:lnTo>
                  <a:lnTo>
                    <a:pt x="1325388" y="413909"/>
                  </a:lnTo>
                  <a:close/>
                  <a:moveTo>
                    <a:pt x="556419" y="171020"/>
                  </a:moveTo>
                  <a:cubicBezTo>
                    <a:pt x="543267" y="171020"/>
                    <a:pt x="532606" y="181681"/>
                    <a:pt x="532606" y="194833"/>
                  </a:cubicBezTo>
                  <a:cubicBezTo>
                    <a:pt x="532606" y="207984"/>
                    <a:pt x="543267" y="218645"/>
                    <a:pt x="556419" y="218645"/>
                  </a:cubicBezTo>
                  <a:lnTo>
                    <a:pt x="923131" y="218646"/>
                  </a:lnTo>
                  <a:cubicBezTo>
                    <a:pt x="936283" y="218646"/>
                    <a:pt x="946944" y="207985"/>
                    <a:pt x="946944" y="194833"/>
                  </a:cubicBezTo>
                  <a:lnTo>
                    <a:pt x="946945" y="194833"/>
                  </a:lnTo>
                  <a:cubicBezTo>
                    <a:pt x="946945" y="181681"/>
                    <a:pt x="936284" y="171020"/>
                    <a:pt x="923132" y="171020"/>
                  </a:cubicBezTo>
                  <a:close/>
                  <a:moveTo>
                    <a:pt x="725487" y="274"/>
                  </a:moveTo>
                  <a:cubicBezTo>
                    <a:pt x="1081947" y="-5382"/>
                    <a:pt x="1443170" y="76220"/>
                    <a:pt x="1479550" y="262045"/>
                  </a:cubicBezTo>
                  <a:lnTo>
                    <a:pt x="1479550" y="1250633"/>
                  </a:lnTo>
                  <a:lnTo>
                    <a:pt x="1479550" y="1748998"/>
                  </a:lnTo>
                  <a:lnTo>
                    <a:pt x="1479550" y="2737586"/>
                  </a:lnTo>
                  <a:cubicBezTo>
                    <a:pt x="1406789" y="3109236"/>
                    <a:pt x="34660" y="3063993"/>
                    <a:pt x="0" y="2737586"/>
                  </a:cubicBezTo>
                  <a:lnTo>
                    <a:pt x="0" y="1748998"/>
                  </a:lnTo>
                  <a:lnTo>
                    <a:pt x="0" y="1250633"/>
                  </a:lnTo>
                  <a:lnTo>
                    <a:pt x="0" y="262045"/>
                  </a:lnTo>
                  <a:cubicBezTo>
                    <a:pt x="17330" y="98842"/>
                    <a:pt x="369027" y="5929"/>
                    <a:pt x="725487" y="274"/>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6" name="Oval 15"/>
            <p:cNvSpPr/>
            <p:nvPr/>
          </p:nvSpPr>
          <p:spPr>
            <a:xfrm>
              <a:off x="2937024" y="3387606"/>
              <a:ext cx="1955852" cy="998512"/>
            </a:xfrm>
            <a:custGeom>
              <a:avLst/>
              <a:gdLst/>
              <a:ahLst/>
              <a:cxnLst/>
              <a:rect l="l" t="t" r="r" b="b"/>
              <a:pathLst>
                <a:path w="2895600" h="1478280">
                  <a:moveTo>
                    <a:pt x="1112520" y="0"/>
                  </a:moveTo>
                  <a:cubicBezTo>
                    <a:pt x="1435175" y="0"/>
                    <a:pt x="1705787" y="222820"/>
                    <a:pt x="1776897" y="523460"/>
                  </a:cubicBezTo>
                  <a:cubicBezTo>
                    <a:pt x="1830330" y="473455"/>
                    <a:pt x="1902261" y="443446"/>
                    <a:pt x="1981200" y="443446"/>
                  </a:cubicBezTo>
                  <a:cubicBezTo>
                    <a:pt x="2141537" y="443446"/>
                    <a:pt x="2272959" y="567249"/>
                    <a:pt x="2283615" y="724590"/>
                  </a:cubicBezTo>
                  <a:cubicBezTo>
                    <a:pt x="2337590" y="699394"/>
                    <a:pt x="2397838" y="685800"/>
                    <a:pt x="2461260" y="685800"/>
                  </a:cubicBezTo>
                  <a:cubicBezTo>
                    <a:pt x="2701139" y="685800"/>
                    <a:pt x="2895600" y="880261"/>
                    <a:pt x="2895600" y="1120140"/>
                  </a:cubicBezTo>
                  <a:cubicBezTo>
                    <a:pt x="2895600" y="1271517"/>
                    <a:pt x="2818161" y="1404807"/>
                    <a:pt x="2698117" y="1478280"/>
                  </a:cubicBezTo>
                  <a:lnTo>
                    <a:pt x="64333" y="1478280"/>
                  </a:lnTo>
                  <a:cubicBezTo>
                    <a:pt x="23189" y="1414624"/>
                    <a:pt x="0" y="1338670"/>
                    <a:pt x="0" y="1257300"/>
                  </a:cubicBezTo>
                  <a:cubicBezTo>
                    <a:pt x="0" y="1025837"/>
                    <a:pt x="187637" y="838200"/>
                    <a:pt x="419100" y="838200"/>
                  </a:cubicBezTo>
                  <a:lnTo>
                    <a:pt x="445895" y="840901"/>
                  </a:lnTo>
                  <a:cubicBezTo>
                    <a:pt x="432838" y="791300"/>
                    <a:pt x="426720" y="739265"/>
                    <a:pt x="426720" y="685800"/>
                  </a:cubicBezTo>
                  <a:cubicBezTo>
                    <a:pt x="426720" y="307043"/>
                    <a:pt x="733763" y="0"/>
                    <a:pt x="1112520"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548562" bIns="91427" rtlCol="0" anchor="ctr"/>
            <a:lstStyle/>
            <a:p>
              <a:pPr algn="ctr"/>
              <a:r>
                <a:rPr lang="en-US" sz="1399" dirty="0">
                  <a:solidFill>
                    <a:schemeClr val="tx1"/>
                  </a:solidFill>
                </a:rPr>
                <a:t>SECURE, CLOUD-BASED NETWORK</a:t>
              </a:r>
            </a:p>
          </p:txBody>
        </p:sp>
        <p:sp>
          <p:nvSpPr>
            <p:cNvPr id="204" name="Down Arrow 28"/>
            <p:cNvSpPr/>
            <p:nvPr/>
          </p:nvSpPr>
          <p:spPr>
            <a:xfrm>
              <a:off x="4846638" y="5282587"/>
              <a:ext cx="830836" cy="873883"/>
            </a:xfrm>
            <a:custGeom>
              <a:avLst/>
              <a:gdLst/>
              <a:ahLst/>
              <a:cxnLst/>
              <a:rect l="l" t="t" r="r" b="b"/>
              <a:pathLst>
                <a:path w="2353503" h="2475441">
                  <a:moveTo>
                    <a:pt x="2265648" y="2258542"/>
                  </a:moveTo>
                  <a:cubicBezTo>
                    <a:pt x="2241709" y="2258542"/>
                    <a:pt x="2222300" y="2297357"/>
                    <a:pt x="2222300" y="2345239"/>
                  </a:cubicBezTo>
                  <a:cubicBezTo>
                    <a:pt x="2222300" y="2393118"/>
                    <a:pt x="2241709" y="2431937"/>
                    <a:pt x="2265648" y="2431937"/>
                  </a:cubicBezTo>
                  <a:cubicBezTo>
                    <a:pt x="2289591" y="2431937"/>
                    <a:pt x="2309000" y="2393118"/>
                    <a:pt x="2309000" y="2345239"/>
                  </a:cubicBezTo>
                  <a:cubicBezTo>
                    <a:pt x="2309000" y="2297357"/>
                    <a:pt x="2289591" y="2258542"/>
                    <a:pt x="2265648" y="2258542"/>
                  </a:cubicBezTo>
                  <a:close/>
                  <a:moveTo>
                    <a:pt x="1782723" y="2258542"/>
                  </a:moveTo>
                  <a:cubicBezTo>
                    <a:pt x="1758780" y="2258542"/>
                    <a:pt x="1739374" y="2297357"/>
                    <a:pt x="1739374" y="2345239"/>
                  </a:cubicBezTo>
                  <a:cubicBezTo>
                    <a:pt x="1739374" y="2393118"/>
                    <a:pt x="1758780" y="2431937"/>
                    <a:pt x="1782723" y="2431937"/>
                  </a:cubicBezTo>
                  <a:cubicBezTo>
                    <a:pt x="1806666" y="2431937"/>
                    <a:pt x="1826072" y="2393118"/>
                    <a:pt x="1826072" y="2345239"/>
                  </a:cubicBezTo>
                  <a:cubicBezTo>
                    <a:pt x="1826072" y="2297357"/>
                    <a:pt x="1806666" y="2258542"/>
                    <a:pt x="1782723" y="2258542"/>
                  </a:cubicBezTo>
                  <a:close/>
                  <a:moveTo>
                    <a:pt x="1063952" y="2258542"/>
                  </a:moveTo>
                  <a:cubicBezTo>
                    <a:pt x="1040012" y="2258542"/>
                    <a:pt x="1020603" y="2297357"/>
                    <a:pt x="1020603" y="2345236"/>
                  </a:cubicBezTo>
                  <a:cubicBezTo>
                    <a:pt x="1020603" y="2393118"/>
                    <a:pt x="1040012" y="2431933"/>
                    <a:pt x="1063952" y="2431933"/>
                  </a:cubicBezTo>
                  <a:cubicBezTo>
                    <a:pt x="1087895" y="2431933"/>
                    <a:pt x="1107304" y="2393118"/>
                    <a:pt x="1107304" y="2345236"/>
                  </a:cubicBezTo>
                  <a:cubicBezTo>
                    <a:pt x="1107304" y="2297357"/>
                    <a:pt x="1087895" y="2258542"/>
                    <a:pt x="1063952" y="2258542"/>
                  </a:cubicBezTo>
                  <a:close/>
                  <a:moveTo>
                    <a:pt x="581023" y="2258542"/>
                  </a:moveTo>
                  <a:cubicBezTo>
                    <a:pt x="557083" y="2258542"/>
                    <a:pt x="537674" y="2297357"/>
                    <a:pt x="537674" y="2345236"/>
                  </a:cubicBezTo>
                  <a:cubicBezTo>
                    <a:pt x="537674" y="2393118"/>
                    <a:pt x="557083" y="2431933"/>
                    <a:pt x="581023" y="2431933"/>
                  </a:cubicBezTo>
                  <a:cubicBezTo>
                    <a:pt x="604966" y="2431933"/>
                    <a:pt x="624375" y="2393118"/>
                    <a:pt x="624375" y="2345236"/>
                  </a:cubicBezTo>
                  <a:cubicBezTo>
                    <a:pt x="624375" y="2297357"/>
                    <a:pt x="604966" y="2258542"/>
                    <a:pt x="581023" y="2258542"/>
                  </a:cubicBezTo>
                  <a:close/>
                  <a:moveTo>
                    <a:pt x="333940" y="2258542"/>
                  </a:moveTo>
                  <a:cubicBezTo>
                    <a:pt x="309997" y="2258542"/>
                    <a:pt x="290587" y="2297357"/>
                    <a:pt x="290587" y="2345236"/>
                  </a:cubicBezTo>
                  <a:cubicBezTo>
                    <a:pt x="290587" y="2393118"/>
                    <a:pt x="309997" y="2431933"/>
                    <a:pt x="333940" y="2431933"/>
                  </a:cubicBezTo>
                  <a:cubicBezTo>
                    <a:pt x="357879" y="2431933"/>
                    <a:pt x="377288" y="2393118"/>
                    <a:pt x="377288" y="2345236"/>
                  </a:cubicBezTo>
                  <a:cubicBezTo>
                    <a:pt x="377288" y="2297357"/>
                    <a:pt x="357879" y="2258542"/>
                    <a:pt x="333940" y="2258542"/>
                  </a:cubicBezTo>
                  <a:close/>
                  <a:moveTo>
                    <a:pt x="86853" y="2258542"/>
                  </a:moveTo>
                  <a:cubicBezTo>
                    <a:pt x="62910" y="2258542"/>
                    <a:pt x="43501" y="2297357"/>
                    <a:pt x="43501" y="2345236"/>
                  </a:cubicBezTo>
                  <a:cubicBezTo>
                    <a:pt x="43501" y="2393118"/>
                    <a:pt x="62910" y="2431933"/>
                    <a:pt x="86853" y="2431933"/>
                  </a:cubicBezTo>
                  <a:cubicBezTo>
                    <a:pt x="110792" y="2431933"/>
                    <a:pt x="130202" y="2393118"/>
                    <a:pt x="130202" y="2345236"/>
                  </a:cubicBezTo>
                  <a:cubicBezTo>
                    <a:pt x="130202" y="2297357"/>
                    <a:pt x="110792" y="2258542"/>
                    <a:pt x="86853" y="2258542"/>
                  </a:cubicBezTo>
                  <a:close/>
                  <a:moveTo>
                    <a:pt x="2265648" y="2215038"/>
                  </a:moveTo>
                  <a:cubicBezTo>
                    <a:pt x="2313619" y="2215038"/>
                    <a:pt x="2352501" y="2273332"/>
                    <a:pt x="2352501" y="2345239"/>
                  </a:cubicBezTo>
                  <a:cubicBezTo>
                    <a:pt x="2352501" y="2417146"/>
                    <a:pt x="2313619" y="2475441"/>
                    <a:pt x="2265648" y="2475441"/>
                  </a:cubicBezTo>
                  <a:cubicBezTo>
                    <a:pt x="2217681" y="2475441"/>
                    <a:pt x="2178796" y="2417146"/>
                    <a:pt x="2178796" y="2345239"/>
                  </a:cubicBezTo>
                  <a:cubicBezTo>
                    <a:pt x="2178796" y="2273332"/>
                    <a:pt x="2217681" y="2215038"/>
                    <a:pt x="2265648" y="2215038"/>
                  </a:cubicBezTo>
                  <a:close/>
                  <a:moveTo>
                    <a:pt x="2052416" y="2215038"/>
                  </a:moveTo>
                  <a:lnTo>
                    <a:pt x="2052416" y="2432805"/>
                  </a:lnTo>
                  <a:lnTo>
                    <a:pt x="2105418" y="2432805"/>
                  </a:lnTo>
                  <a:lnTo>
                    <a:pt x="2105418" y="2475437"/>
                  </a:lnTo>
                  <a:lnTo>
                    <a:pt x="1942957" y="2475437"/>
                  </a:lnTo>
                  <a:lnTo>
                    <a:pt x="1942957" y="2433958"/>
                  </a:lnTo>
                  <a:lnTo>
                    <a:pt x="1995956" y="2433958"/>
                  </a:lnTo>
                  <a:lnTo>
                    <a:pt x="1995956" y="2272648"/>
                  </a:lnTo>
                  <a:lnTo>
                    <a:pt x="1942957" y="2281864"/>
                  </a:lnTo>
                  <a:lnTo>
                    <a:pt x="1942957" y="2236931"/>
                  </a:lnTo>
                  <a:close/>
                  <a:moveTo>
                    <a:pt x="1782723" y="2215038"/>
                  </a:moveTo>
                  <a:cubicBezTo>
                    <a:pt x="1830690" y="2215038"/>
                    <a:pt x="1869576" y="2273332"/>
                    <a:pt x="1869576" y="2345239"/>
                  </a:cubicBezTo>
                  <a:cubicBezTo>
                    <a:pt x="1869576" y="2417146"/>
                    <a:pt x="1830690" y="2475441"/>
                    <a:pt x="1782723" y="2475441"/>
                  </a:cubicBezTo>
                  <a:cubicBezTo>
                    <a:pt x="1734756" y="2475441"/>
                    <a:pt x="1695870" y="2417146"/>
                    <a:pt x="1695870" y="2345239"/>
                  </a:cubicBezTo>
                  <a:cubicBezTo>
                    <a:pt x="1695870" y="2273332"/>
                    <a:pt x="1734756" y="2215038"/>
                    <a:pt x="1782723" y="2215038"/>
                  </a:cubicBezTo>
                  <a:close/>
                  <a:moveTo>
                    <a:pt x="1569490" y="2215038"/>
                  </a:moveTo>
                  <a:lnTo>
                    <a:pt x="1569490" y="2432805"/>
                  </a:lnTo>
                  <a:lnTo>
                    <a:pt x="1622489" y="2432805"/>
                  </a:lnTo>
                  <a:lnTo>
                    <a:pt x="1622489" y="2475437"/>
                  </a:lnTo>
                  <a:lnTo>
                    <a:pt x="1460028" y="2475437"/>
                  </a:lnTo>
                  <a:lnTo>
                    <a:pt x="1460028" y="2433958"/>
                  </a:lnTo>
                  <a:lnTo>
                    <a:pt x="1513030" y="2433958"/>
                  </a:lnTo>
                  <a:lnTo>
                    <a:pt x="1513030" y="2272648"/>
                  </a:lnTo>
                  <a:lnTo>
                    <a:pt x="1460028" y="2281864"/>
                  </a:lnTo>
                  <a:lnTo>
                    <a:pt x="1460028" y="2236931"/>
                  </a:lnTo>
                  <a:close/>
                  <a:moveTo>
                    <a:pt x="1333648" y="2215038"/>
                  </a:moveTo>
                  <a:lnTo>
                    <a:pt x="1333648" y="2432805"/>
                  </a:lnTo>
                  <a:lnTo>
                    <a:pt x="1386646" y="2432805"/>
                  </a:lnTo>
                  <a:lnTo>
                    <a:pt x="1386646" y="2475437"/>
                  </a:lnTo>
                  <a:lnTo>
                    <a:pt x="1224186" y="2475437"/>
                  </a:lnTo>
                  <a:lnTo>
                    <a:pt x="1224186" y="2433958"/>
                  </a:lnTo>
                  <a:lnTo>
                    <a:pt x="1277188" y="2433958"/>
                  </a:lnTo>
                  <a:lnTo>
                    <a:pt x="1277188" y="2272648"/>
                  </a:lnTo>
                  <a:lnTo>
                    <a:pt x="1224186" y="2281864"/>
                  </a:lnTo>
                  <a:lnTo>
                    <a:pt x="1224186" y="2236931"/>
                  </a:lnTo>
                  <a:close/>
                  <a:moveTo>
                    <a:pt x="1063952" y="2215038"/>
                  </a:moveTo>
                  <a:cubicBezTo>
                    <a:pt x="1111922" y="2215038"/>
                    <a:pt x="1150804" y="2273329"/>
                    <a:pt x="1150804" y="2345236"/>
                  </a:cubicBezTo>
                  <a:cubicBezTo>
                    <a:pt x="1150804" y="2417146"/>
                    <a:pt x="1111922" y="2475437"/>
                    <a:pt x="1063952" y="2475437"/>
                  </a:cubicBezTo>
                  <a:cubicBezTo>
                    <a:pt x="1015984" y="2475437"/>
                    <a:pt x="977099" y="2417146"/>
                    <a:pt x="977099" y="2345236"/>
                  </a:cubicBezTo>
                  <a:cubicBezTo>
                    <a:pt x="977099" y="2273329"/>
                    <a:pt x="1015984" y="2215038"/>
                    <a:pt x="1063952" y="2215038"/>
                  </a:cubicBezTo>
                  <a:close/>
                  <a:moveTo>
                    <a:pt x="850719" y="2215038"/>
                  </a:moveTo>
                  <a:lnTo>
                    <a:pt x="850719" y="2432805"/>
                  </a:lnTo>
                  <a:lnTo>
                    <a:pt x="903718" y="2432805"/>
                  </a:lnTo>
                  <a:lnTo>
                    <a:pt x="903718" y="2475437"/>
                  </a:lnTo>
                  <a:lnTo>
                    <a:pt x="741257" y="2475437"/>
                  </a:lnTo>
                  <a:lnTo>
                    <a:pt x="741257" y="2433958"/>
                  </a:lnTo>
                  <a:lnTo>
                    <a:pt x="794259" y="2433958"/>
                  </a:lnTo>
                  <a:lnTo>
                    <a:pt x="794259" y="2272648"/>
                  </a:lnTo>
                  <a:lnTo>
                    <a:pt x="741257" y="2281864"/>
                  </a:lnTo>
                  <a:lnTo>
                    <a:pt x="741257" y="2236931"/>
                  </a:lnTo>
                  <a:close/>
                  <a:moveTo>
                    <a:pt x="581023" y="2215038"/>
                  </a:moveTo>
                  <a:cubicBezTo>
                    <a:pt x="628994" y="2215038"/>
                    <a:pt x="667876" y="2273329"/>
                    <a:pt x="667876" y="2345236"/>
                  </a:cubicBezTo>
                  <a:cubicBezTo>
                    <a:pt x="667876" y="2417146"/>
                    <a:pt x="628994" y="2475437"/>
                    <a:pt x="581023" y="2475437"/>
                  </a:cubicBezTo>
                  <a:cubicBezTo>
                    <a:pt x="533056" y="2475437"/>
                    <a:pt x="494170" y="2417146"/>
                    <a:pt x="494170" y="2345236"/>
                  </a:cubicBezTo>
                  <a:cubicBezTo>
                    <a:pt x="494170" y="2273329"/>
                    <a:pt x="533056" y="2215038"/>
                    <a:pt x="581023" y="2215038"/>
                  </a:cubicBezTo>
                  <a:close/>
                  <a:moveTo>
                    <a:pt x="333940" y="2215038"/>
                  </a:moveTo>
                  <a:cubicBezTo>
                    <a:pt x="381907" y="2215038"/>
                    <a:pt x="420792" y="2273329"/>
                    <a:pt x="420792" y="2345236"/>
                  </a:cubicBezTo>
                  <a:cubicBezTo>
                    <a:pt x="420792" y="2417146"/>
                    <a:pt x="381907" y="2475437"/>
                    <a:pt x="333940" y="2475437"/>
                  </a:cubicBezTo>
                  <a:cubicBezTo>
                    <a:pt x="285969" y="2475437"/>
                    <a:pt x="247087" y="2417146"/>
                    <a:pt x="247087" y="2345236"/>
                  </a:cubicBezTo>
                  <a:cubicBezTo>
                    <a:pt x="247087" y="2273329"/>
                    <a:pt x="285969" y="2215038"/>
                    <a:pt x="333940" y="2215038"/>
                  </a:cubicBezTo>
                  <a:close/>
                  <a:moveTo>
                    <a:pt x="86853" y="2215038"/>
                  </a:moveTo>
                  <a:cubicBezTo>
                    <a:pt x="134820" y="2215038"/>
                    <a:pt x="173705" y="2273329"/>
                    <a:pt x="173705" y="2345236"/>
                  </a:cubicBezTo>
                  <a:cubicBezTo>
                    <a:pt x="173705" y="2417146"/>
                    <a:pt x="134820" y="2475437"/>
                    <a:pt x="86853" y="2475437"/>
                  </a:cubicBezTo>
                  <a:cubicBezTo>
                    <a:pt x="38882" y="2475437"/>
                    <a:pt x="0" y="2417146"/>
                    <a:pt x="0" y="2345236"/>
                  </a:cubicBezTo>
                  <a:cubicBezTo>
                    <a:pt x="0" y="2273329"/>
                    <a:pt x="38882" y="2215038"/>
                    <a:pt x="86853" y="2215038"/>
                  </a:cubicBezTo>
                  <a:close/>
                  <a:moveTo>
                    <a:pt x="1787705" y="1939506"/>
                  </a:moveTo>
                  <a:cubicBezTo>
                    <a:pt x="1763765" y="1939506"/>
                    <a:pt x="1744356" y="1978321"/>
                    <a:pt x="1744356" y="2026203"/>
                  </a:cubicBezTo>
                  <a:cubicBezTo>
                    <a:pt x="1744356" y="2074082"/>
                    <a:pt x="1763765" y="2112897"/>
                    <a:pt x="1787705" y="2112897"/>
                  </a:cubicBezTo>
                  <a:cubicBezTo>
                    <a:pt x="1811648" y="2112897"/>
                    <a:pt x="1831057" y="2074082"/>
                    <a:pt x="1831057" y="2026203"/>
                  </a:cubicBezTo>
                  <a:cubicBezTo>
                    <a:pt x="1831057" y="1978321"/>
                    <a:pt x="1811648" y="1939506"/>
                    <a:pt x="1787705" y="1939506"/>
                  </a:cubicBezTo>
                  <a:close/>
                  <a:moveTo>
                    <a:pt x="1300143" y="1939506"/>
                  </a:moveTo>
                  <a:cubicBezTo>
                    <a:pt x="1276200" y="1939506"/>
                    <a:pt x="1256791" y="1978321"/>
                    <a:pt x="1256791" y="2026203"/>
                  </a:cubicBezTo>
                  <a:cubicBezTo>
                    <a:pt x="1256791" y="2074082"/>
                    <a:pt x="1276200" y="2112897"/>
                    <a:pt x="1300143" y="2112897"/>
                  </a:cubicBezTo>
                  <a:cubicBezTo>
                    <a:pt x="1324083" y="2112897"/>
                    <a:pt x="1343492" y="2074082"/>
                    <a:pt x="1343492" y="2026203"/>
                  </a:cubicBezTo>
                  <a:cubicBezTo>
                    <a:pt x="1343492" y="1978321"/>
                    <a:pt x="1324083" y="1939506"/>
                    <a:pt x="1300143" y="1939506"/>
                  </a:cubicBezTo>
                  <a:close/>
                  <a:moveTo>
                    <a:pt x="812578" y="1939506"/>
                  </a:moveTo>
                  <a:cubicBezTo>
                    <a:pt x="788635" y="1939506"/>
                    <a:pt x="769226" y="1978321"/>
                    <a:pt x="769226" y="2026203"/>
                  </a:cubicBezTo>
                  <a:cubicBezTo>
                    <a:pt x="769226" y="2074082"/>
                    <a:pt x="788635" y="2112897"/>
                    <a:pt x="812578" y="2112897"/>
                  </a:cubicBezTo>
                  <a:cubicBezTo>
                    <a:pt x="836518" y="2112897"/>
                    <a:pt x="855927" y="2074082"/>
                    <a:pt x="855927" y="2026203"/>
                  </a:cubicBezTo>
                  <a:cubicBezTo>
                    <a:pt x="855927" y="1978321"/>
                    <a:pt x="836518" y="1939506"/>
                    <a:pt x="812578" y="1939506"/>
                  </a:cubicBezTo>
                  <a:close/>
                  <a:moveTo>
                    <a:pt x="86853" y="1939506"/>
                  </a:moveTo>
                  <a:cubicBezTo>
                    <a:pt x="62910" y="1939506"/>
                    <a:pt x="43501" y="1978321"/>
                    <a:pt x="43501" y="2026203"/>
                  </a:cubicBezTo>
                  <a:cubicBezTo>
                    <a:pt x="43501" y="2074082"/>
                    <a:pt x="62910" y="2112897"/>
                    <a:pt x="86853" y="2112897"/>
                  </a:cubicBezTo>
                  <a:cubicBezTo>
                    <a:pt x="110792" y="2112897"/>
                    <a:pt x="130202" y="2074082"/>
                    <a:pt x="130202" y="2026203"/>
                  </a:cubicBezTo>
                  <a:cubicBezTo>
                    <a:pt x="130202" y="1978321"/>
                    <a:pt x="110792" y="1939506"/>
                    <a:pt x="86853" y="1939506"/>
                  </a:cubicBezTo>
                  <a:close/>
                  <a:moveTo>
                    <a:pt x="2297872" y="1896002"/>
                  </a:moveTo>
                  <a:lnTo>
                    <a:pt x="2297872" y="2113769"/>
                  </a:lnTo>
                  <a:lnTo>
                    <a:pt x="2350874" y="2113769"/>
                  </a:lnTo>
                  <a:lnTo>
                    <a:pt x="2350874" y="2156398"/>
                  </a:lnTo>
                  <a:lnTo>
                    <a:pt x="2188414" y="2156398"/>
                  </a:lnTo>
                  <a:lnTo>
                    <a:pt x="2188414" y="2114919"/>
                  </a:lnTo>
                  <a:lnTo>
                    <a:pt x="2241412" y="2114919"/>
                  </a:lnTo>
                  <a:lnTo>
                    <a:pt x="2241412" y="1953612"/>
                  </a:lnTo>
                  <a:lnTo>
                    <a:pt x="2188414" y="1962828"/>
                  </a:lnTo>
                  <a:lnTo>
                    <a:pt x="2188414" y="1917895"/>
                  </a:lnTo>
                  <a:close/>
                  <a:moveTo>
                    <a:pt x="2059719" y="1896002"/>
                  </a:moveTo>
                  <a:lnTo>
                    <a:pt x="2059719" y="2113769"/>
                  </a:lnTo>
                  <a:lnTo>
                    <a:pt x="2112718" y="2113769"/>
                  </a:lnTo>
                  <a:lnTo>
                    <a:pt x="2112718" y="2156398"/>
                  </a:lnTo>
                  <a:lnTo>
                    <a:pt x="1950257" y="2156398"/>
                  </a:lnTo>
                  <a:lnTo>
                    <a:pt x="1950257" y="2114919"/>
                  </a:lnTo>
                  <a:lnTo>
                    <a:pt x="2003259" y="2114919"/>
                  </a:lnTo>
                  <a:lnTo>
                    <a:pt x="2003259" y="1953612"/>
                  </a:lnTo>
                  <a:lnTo>
                    <a:pt x="1950257" y="1962828"/>
                  </a:lnTo>
                  <a:lnTo>
                    <a:pt x="1950257" y="1917895"/>
                  </a:lnTo>
                  <a:close/>
                  <a:moveTo>
                    <a:pt x="1787705" y="1896002"/>
                  </a:moveTo>
                  <a:cubicBezTo>
                    <a:pt x="1835676" y="1896002"/>
                    <a:pt x="1874558" y="1954297"/>
                    <a:pt x="1874558" y="2026203"/>
                  </a:cubicBezTo>
                  <a:cubicBezTo>
                    <a:pt x="1874558" y="2098110"/>
                    <a:pt x="1835676" y="2156405"/>
                    <a:pt x="1787705" y="2156405"/>
                  </a:cubicBezTo>
                  <a:cubicBezTo>
                    <a:pt x="1739738" y="2156405"/>
                    <a:pt x="1700856" y="2098110"/>
                    <a:pt x="1700856" y="2026203"/>
                  </a:cubicBezTo>
                  <a:cubicBezTo>
                    <a:pt x="1700856" y="1954297"/>
                    <a:pt x="1739738" y="1896002"/>
                    <a:pt x="1787705" y="1896002"/>
                  </a:cubicBezTo>
                  <a:close/>
                  <a:moveTo>
                    <a:pt x="1572154" y="1896002"/>
                  </a:moveTo>
                  <a:lnTo>
                    <a:pt x="1572154" y="2113769"/>
                  </a:lnTo>
                  <a:lnTo>
                    <a:pt x="1625156" y="2113769"/>
                  </a:lnTo>
                  <a:lnTo>
                    <a:pt x="1625156" y="2156398"/>
                  </a:lnTo>
                  <a:lnTo>
                    <a:pt x="1462692" y="2156398"/>
                  </a:lnTo>
                  <a:lnTo>
                    <a:pt x="1462692" y="2114919"/>
                  </a:lnTo>
                  <a:lnTo>
                    <a:pt x="1515698" y="2114919"/>
                  </a:lnTo>
                  <a:lnTo>
                    <a:pt x="1515698" y="1953612"/>
                  </a:lnTo>
                  <a:lnTo>
                    <a:pt x="1462692" y="1962828"/>
                  </a:lnTo>
                  <a:lnTo>
                    <a:pt x="1462692" y="1917895"/>
                  </a:lnTo>
                  <a:close/>
                  <a:moveTo>
                    <a:pt x="1300143" y="1896002"/>
                  </a:moveTo>
                  <a:cubicBezTo>
                    <a:pt x="1348110" y="1896002"/>
                    <a:pt x="1386996" y="1954297"/>
                    <a:pt x="1386996" y="2026203"/>
                  </a:cubicBezTo>
                  <a:cubicBezTo>
                    <a:pt x="1386996" y="2098110"/>
                    <a:pt x="1348110" y="2156405"/>
                    <a:pt x="1300143" y="2156405"/>
                  </a:cubicBezTo>
                  <a:cubicBezTo>
                    <a:pt x="1252172" y="2156405"/>
                    <a:pt x="1213291" y="2098110"/>
                    <a:pt x="1213291" y="2026203"/>
                  </a:cubicBezTo>
                  <a:cubicBezTo>
                    <a:pt x="1213291" y="1954297"/>
                    <a:pt x="1252172" y="1896002"/>
                    <a:pt x="1300143" y="1896002"/>
                  </a:cubicBezTo>
                  <a:close/>
                  <a:moveTo>
                    <a:pt x="1084589" y="1896002"/>
                  </a:moveTo>
                  <a:lnTo>
                    <a:pt x="1084589" y="2113769"/>
                  </a:lnTo>
                  <a:lnTo>
                    <a:pt x="1137591" y="2113769"/>
                  </a:lnTo>
                  <a:lnTo>
                    <a:pt x="1137591" y="2156398"/>
                  </a:lnTo>
                  <a:lnTo>
                    <a:pt x="975130" y="2156398"/>
                  </a:lnTo>
                  <a:lnTo>
                    <a:pt x="975130" y="2114919"/>
                  </a:lnTo>
                  <a:lnTo>
                    <a:pt x="1028132" y="2114919"/>
                  </a:lnTo>
                  <a:lnTo>
                    <a:pt x="1028132" y="1953612"/>
                  </a:lnTo>
                  <a:lnTo>
                    <a:pt x="975130" y="1962828"/>
                  </a:lnTo>
                  <a:lnTo>
                    <a:pt x="975130" y="1917895"/>
                  </a:lnTo>
                  <a:close/>
                  <a:moveTo>
                    <a:pt x="812578" y="1896002"/>
                  </a:moveTo>
                  <a:cubicBezTo>
                    <a:pt x="860545" y="1896002"/>
                    <a:pt x="899431" y="1954297"/>
                    <a:pt x="899431" y="2026203"/>
                  </a:cubicBezTo>
                  <a:cubicBezTo>
                    <a:pt x="899431" y="2098110"/>
                    <a:pt x="860545" y="2156405"/>
                    <a:pt x="812578" y="2156405"/>
                  </a:cubicBezTo>
                  <a:cubicBezTo>
                    <a:pt x="764607" y="2156405"/>
                    <a:pt x="725726" y="2098110"/>
                    <a:pt x="725726" y="2026203"/>
                  </a:cubicBezTo>
                  <a:cubicBezTo>
                    <a:pt x="725726" y="1954297"/>
                    <a:pt x="764607" y="1896002"/>
                    <a:pt x="812578" y="1896002"/>
                  </a:cubicBezTo>
                  <a:close/>
                  <a:moveTo>
                    <a:pt x="597024" y="1896002"/>
                  </a:moveTo>
                  <a:lnTo>
                    <a:pt x="597024" y="2113769"/>
                  </a:lnTo>
                  <a:lnTo>
                    <a:pt x="650026" y="2113769"/>
                  </a:lnTo>
                  <a:lnTo>
                    <a:pt x="650026" y="2156398"/>
                  </a:lnTo>
                  <a:lnTo>
                    <a:pt x="487565" y="2156398"/>
                  </a:lnTo>
                  <a:lnTo>
                    <a:pt x="487565" y="2114919"/>
                  </a:lnTo>
                  <a:lnTo>
                    <a:pt x="540568" y="2114919"/>
                  </a:lnTo>
                  <a:lnTo>
                    <a:pt x="540568" y="1953612"/>
                  </a:lnTo>
                  <a:lnTo>
                    <a:pt x="487565" y="1962828"/>
                  </a:lnTo>
                  <a:lnTo>
                    <a:pt x="487565" y="1917895"/>
                  </a:lnTo>
                  <a:close/>
                  <a:moveTo>
                    <a:pt x="358864" y="1896002"/>
                  </a:moveTo>
                  <a:lnTo>
                    <a:pt x="358864" y="2113769"/>
                  </a:lnTo>
                  <a:lnTo>
                    <a:pt x="411866" y="2113769"/>
                  </a:lnTo>
                  <a:lnTo>
                    <a:pt x="411866" y="2156398"/>
                  </a:lnTo>
                  <a:lnTo>
                    <a:pt x="249405" y="2156398"/>
                  </a:lnTo>
                  <a:lnTo>
                    <a:pt x="249405" y="2114919"/>
                  </a:lnTo>
                  <a:lnTo>
                    <a:pt x="302407" y="2114919"/>
                  </a:lnTo>
                  <a:lnTo>
                    <a:pt x="302407" y="1953612"/>
                  </a:lnTo>
                  <a:lnTo>
                    <a:pt x="249405" y="1962828"/>
                  </a:lnTo>
                  <a:lnTo>
                    <a:pt x="249405" y="1917895"/>
                  </a:lnTo>
                  <a:close/>
                  <a:moveTo>
                    <a:pt x="86853" y="1896002"/>
                  </a:moveTo>
                  <a:cubicBezTo>
                    <a:pt x="134820" y="1896002"/>
                    <a:pt x="173705" y="1954297"/>
                    <a:pt x="173705" y="2026203"/>
                  </a:cubicBezTo>
                  <a:cubicBezTo>
                    <a:pt x="173705" y="2098110"/>
                    <a:pt x="134820" y="2156405"/>
                    <a:pt x="86853" y="2156405"/>
                  </a:cubicBezTo>
                  <a:cubicBezTo>
                    <a:pt x="38882" y="2156405"/>
                    <a:pt x="0" y="2098110"/>
                    <a:pt x="0" y="2026203"/>
                  </a:cubicBezTo>
                  <a:cubicBezTo>
                    <a:pt x="0" y="1954297"/>
                    <a:pt x="38882" y="1896002"/>
                    <a:pt x="86853" y="1896002"/>
                  </a:cubicBezTo>
                  <a:close/>
                  <a:moveTo>
                    <a:pt x="2028204" y="1642643"/>
                  </a:moveTo>
                  <a:cubicBezTo>
                    <a:pt x="2004265" y="1642643"/>
                    <a:pt x="1984856" y="1681458"/>
                    <a:pt x="1984856" y="1729340"/>
                  </a:cubicBezTo>
                  <a:cubicBezTo>
                    <a:pt x="1984856" y="1777219"/>
                    <a:pt x="2004265" y="1816034"/>
                    <a:pt x="2028204" y="1816034"/>
                  </a:cubicBezTo>
                  <a:cubicBezTo>
                    <a:pt x="2052147" y="1816034"/>
                    <a:pt x="2071556" y="1777219"/>
                    <a:pt x="2071556" y="1729340"/>
                  </a:cubicBezTo>
                  <a:cubicBezTo>
                    <a:pt x="2071556" y="1681458"/>
                    <a:pt x="2052147" y="1642643"/>
                    <a:pt x="2028204" y="1642643"/>
                  </a:cubicBezTo>
                  <a:close/>
                  <a:moveTo>
                    <a:pt x="1540057" y="1642643"/>
                  </a:moveTo>
                  <a:cubicBezTo>
                    <a:pt x="1516114" y="1642643"/>
                    <a:pt x="1496705" y="1681458"/>
                    <a:pt x="1496705" y="1729340"/>
                  </a:cubicBezTo>
                  <a:cubicBezTo>
                    <a:pt x="1496705" y="1777219"/>
                    <a:pt x="1516114" y="1816034"/>
                    <a:pt x="1540057" y="1816034"/>
                  </a:cubicBezTo>
                  <a:cubicBezTo>
                    <a:pt x="1563996" y="1816034"/>
                    <a:pt x="1583406" y="1777219"/>
                    <a:pt x="1583406" y="1729340"/>
                  </a:cubicBezTo>
                  <a:cubicBezTo>
                    <a:pt x="1583406" y="1681458"/>
                    <a:pt x="1563996" y="1642643"/>
                    <a:pt x="1540057" y="1642643"/>
                  </a:cubicBezTo>
                  <a:close/>
                  <a:moveTo>
                    <a:pt x="575000" y="1642643"/>
                  </a:moveTo>
                  <a:cubicBezTo>
                    <a:pt x="551061" y="1642643"/>
                    <a:pt x="531651" y="1681458"/>
                    <a:pt x="531651" y="1729340"/>
                  </a:cubicBezTo>
                  <a:cubicBezTo>
                    <a:pt x="531651" y="1777219"/>
                    <a:pt x="551061" y="1816034"/>
                    <a:pt x="575000" y="1816034"/>
                  </a:cubicBezTo>
                  <a:cubicBezTo>
                    <a:pt x="598943" y="1816034"/>
                    <a:pt x="618352" y="1777219"/>
                    <a:pt x="618352" y="1729340"/>
                  </a:cubicBezTo>
                  <a:cubicBezTo>
                    <a:pt x="618352" y="1681458"/>
                    <a:pt x="598943" y="1642643"/>
                    <a:pt x="575000" y="1642643"/>
                  </a:cubicBezTo>
                  <a:close/>
                  <a:moveTo>
                    <a:pt x="86853" y="1642643"/>
                  </a:moveTo>
                  <a:cubicBezTo>
                    <a:pt x="62910" y="1642643"/>
                    <a:pt x="43501" y="1681458"/>
                    <a:pt x="43501" y="1729340"/>
                  </a:cubicBezTo>
                  <a:cubicBezTo>
                    <a:pt x="43501" y="1777219"/>
                    <a:pt x="62910" y="1816034"/>
                    <a:pt x="86853" y="1816034"/>
                  </a:cubicBezTo>
                  <a:cubicBezTo>
                    <a:pt x="110792" y="1816034"/>
                    <a:pt x="130202" y="1777219"/>
                    <a:pt x="130202" y="1729340"/>
                  </a:cubicBezTo>
                  <a:cubicBezTo>
                    <a:pt x="130202" y="1681458"/>
                    <a:pt x="110792" y="1642643"/>
                    <a:pt x="86853" y="1642643"/>
                  </a:cubicBezTo>
                  <a:close/>
                  <a:moveTo>
                    <a:pt x="2300504" y="1599139"/>
                  </a:moveTo>
                  <a:lnTo>
                    <a:pt x="2300504" y="1816902"/>
                  </a:lnTo>
                  <a:lnTo>
                    <a:pt x="2353503" y="1816902"/>
                  </a:lnTo>
                  <a:lnTo>
                    <a:pt x="2353503" y="1859535"/>
                  </a:lnTo>
                  <a:lnTo>
                    <a:pt x="2191042" y="1859535"/>
                  </a:lnTo>
                  <a:lnTo>
                    <a:pt x="2191042" y="1818056"/>
                  </a:lnTo>
                  <a:lnTo>
                    <a:pt x="2244044" y="1818056"/>
                  </a:lnTo>
                  <a:lnTo>
                    <a:pt x="2244044" y="1656745"/>
                  </a:lnTo>
                  <a:lnTo>
                    <a:pt x="2191042" y="1665965"/>
                  </a:lnTo>
                  <a:lnTo>
                    <a:pt x="2191042" y="1621028"/>
                  </a:lnTo>
                  <a:close/>
                  <a:moveTo>
                    <a:pt x="2028204" y="1599139"/>
                  </a:moveTo>
                  <a:cubicBezTo>
                    <a:pt x="2076175" y="1599139"/>
                    <a:pt x="2115057" y="1657430"/>
                    <a:pt x="2115057" y="1729340"/>
                  </a:cubicBezTo>
                  <a:cubicBezTo>
                    <a:pt x="2115057" y="1801247"/>
                    <a:pt x="2076175" y="1859538"/>
                    <a:pt x="2028204" y="1859538"/>
                  </a:cubicBezTo>
                  <a:cubicBezTo>
                    <a:pt x="1980237" y="1859538"/>
                    <a:pt x="1941352" y="1801247"/>
                    <a:pt x="1941352" y="1729340"/>
                  </a:cubicBezTo>
                  <a:cubicBezTo>
                    <a:pt x="1941352" y="1657430"/>
                    <a:pt x="1980237" y="1599139"/>
                    <a:pt x="2028204" y="1599139"/>
                  </a:cubicBezTo>
                  <a:close/>
                  <a:moveTo>
                    <a:pt x="1812361" y="1599139"/>
                  </a:moveTo>
                  <a:lnTo>
                    <a:pt x="1812361" y="1816906"/>
                  </a:lnTo>
                  <a:lnTo>
                    <a:pt x="1865363" y="1816906"/>
                  </a:lnTo>
                  <a:lnTo>
                    <a:pt x="1865363" y="1859538"/>
                  </a:lnTo>
                  <a:lnTo>
                    <a:pt x="1702899" y="1859538"/>
                  </a:lnTo>
                  <a:lnTo>
                    <a:pt x="1702899" y="1818059"/>
                  </a:lnTo>
                  <a:lnTo>
                    <a:pt x="1755901" y="1818059"/>
                  </a:lnTo>
                  <a:lnTo>
                    <a:pt x="1755901" y="1656749"/>
                  </a:lnTo>
                  <a:lnTo>
                    <a:pt x="1702899" y="1665968"/>
                  </a:lnTo>
                  <a:lnTo>
                    <a:pt x="1702899" y="1621032"/>
                  </a:lnTo>
                  <a:close/>
                  <a:moveTo>
                    <a:pt x="1540057" y="1599139"/>
                  </a:moveTo>
                  <a:cubicBezTo>
                    <a:pt x="1588024" y="1599139"/>
                    <a:pt x="1626910" y="1657430"/>
                    <a:pt x="1626910" y="1729340"/>
                  </a:cubicBezTo>
                  <a:cubicBezTo>
                    <a:pt x="1626910" y="1801247"/>
                    <a:pt x="1588024" y="1859538"/>
                    <a:pt x="1540057" y="1859538"/>
                  </a:cubicBezTo>
                  <a:cubicBezTo>
                    <a:pt x="1492086" y="1859538"/>
                    <a:pt x="1453204" y="1801247"/>
                    <a:pt x="1453204" y="1729340"/>
                  </a:cubicBezTo>
                  <a:cubicBezTo>
                    <a:pt x="1453204" y="1657430"/>
                    <a:pt x="1492086" y="1599139"/>
                    <a:pt x="1540057" y="1599139"/>
                  </a:cubicBezTo>
                  <a:close/>
                  <a:moveTo>
                    <a:pt x="1324210" y="1599139"/>
                  </a:moveTo>
                  <a:lnTo>
                    <a:pt x="1324210" y="1816906"/>
                  </a:lnTo>
                  <a:lnTo>
                    <a:pt x="1377212" y="1816906"/>
                  </a:lnTo>
                  <a:lnTo>
                    <a:pt x="1377212" y="1859538"/>
                  </a:lnTo>
                  <a:lnTo>
                    <a:pt x="1214751" y="1859538"/>
                  </a:lnTo>
                  <a:lnTo>
                    <a:pt x="1214751" y="1818059"/>
                  </a:lnTo>
                  <a:lnTo>
                    <a:pt x="1267753" y="1818059"/>
                  </a:lnTo>
                  <a:lnTo>
                    <a:pt x="1267753" y="1656749"/>
                  </a:lnTo>
                  <a:lnTo>
                    <a:pt x="1214751" y="1665968"/>
                  </a:lnTo>
                  <a:lnTo>
                    <a:pt x="1214751" y="1621032"/>
                  </a:lnTo>
                  <a:close/>
                  <a:moveTo>
                    <a:pt x="1085757" y="1599139"/>
                  </a:moveTo>
                  <a:lnTo>
                    <a:pt x="1085757" y="1816906"/>
                  </a:lnTo>
                  <a:lnTo>
                    <a:pt x="1138759" y="1816906"/>
                  </a:lnTo>
                  <a:lnTo>
                    <a:pt x="1138759" y="1859538"/>
                  </a:lnTo>
                  <a:lnTo>
                    <a:pt x="976298" y="1859538"/>
                  </a:lnTo>
                  <a:lnTo>
                    <a:pt x="976298" y="1818059"/>
                  </a:lnTo>
                  <a:lnTo>
                    <a:pt x="1029300" y="1818059"/>
                  </a:lnTo>
                  <a:lnTo>
                    <a:pt x="1029300" y="1656749"/>
                  </a:lnTo>
                  <a:lnTo>
                    <a:pt x="976298" y="1665968"/>
                  </a:lnTo>
                  <a:lnTo>
                    <a:pt x="976298" y="1621032"/>
                  </a:lnTo>
                  <a:close/>
                  <a:moveTo>
                    <a:pt x="847307" y="1599139"/>
                  </a:moveTo>
                  <a:lnTo>
                    <a:pt x="847307" y="1816906"/>
                  </a:lnTo>
                  <a:lnTo>
                    <a:pt x="900306" y="1816906"/>
                  </a:lnTo>
                  <a:lnTo>
                    <a:pt x="900306" y="1859538"/>
                  </a:lnTo>
                  <a:lnTo>
                    <a:pt x="737845" y="1859538"/>
                  </a:lnTo>
                  <a:lnTo>
                    <a:pt x="737845" y="1818059"/>
                  </a:lnTo>
                  <a:lnTo>
                    <a:pt x="790847" y="1818059"/>
                  </a:lnTo>
                  <a:lnTo>
                    <a:pt x="790847" y="1656749"/>
                  </a:lnTo>
                  <a:lnTo>
                    <a:pt x="737845" y="1665968"/>
                  </a:lnTo>
                  <a:lnTo>
                    <a:pt x="737845" y="1621032"/>
                  </a:lnTo>
                  <a:close/>
                  <a:moveTo>
                    <a:pt x="575000" y="1599139"/>
                  </a:moveTo>
                  <a:cubicBezTo>
                    <a:pt x="622971" y="1599139"/>
                    <a:pt x="661853" y="1657430"/>
                    <a:pt x="661853" y="1729340"/>
                  </a:cubicBezTo>
                  <a:cubicBezTo>
                    <a:pt x="661853" y="1801247"/>
                    <a:pt x="622971" y="1859538"/>
                    <a:pt x="575000" y="1859538"/>
                  </a:cubicBezTo>
                  <a:cubicBezTo>
                    <a:pt x="527033" y="1859538"/>
                    <a:pt x="488148" y="1801247"/>
                    <a:pt x="488148" y="1729340"/>
                  </a:cubicBezTo>
                  <a:cubicBezTo>
                    <a:pt x="488148" y="1657430"/>
                    <a:pt x="527033" y="1599139"/>
                    <a:pt x="575000" y="1599139"/>
                  </a:cubicBezTo>
                  <a:close/>
                  <a:moveTo>
                    <a:pt x="359156" y="1599139"/>
                  </a:moveTo>
                  <a:lnTo>
                    <a:pt x="359156" y="1816906"/>
                  </a:lnTo>
                  <a:lnTo>
                    <a:pt x="412159" y="1816906"/>
                  </a:lnTo>
                  <a:lnTo>
                    <a:pt x="412159" y="1859538"/>
                  </a:lnTo>
                  <a:lnTo>
                    <a:pt x="249698" y="1859538"/>
                  </a:lnTo>
                  <a:lnTo>
                    <a:pt x="249698" y="1818059"/>
                  </a:lnTo>
                  <a:lnTo>
                    <a:pt x="302700" y="1818059"/>
                  </a:lnTo>
                  <a:lnTo>
                    <a:pt x="302700" y="1656749"/>
                  </a:lnTo>
                  <a:lnTo>
                    <a:pt x="249698" y="1665968"/>
                  </a:lnTo>
                  <a:lnTo>
                    <a:pt x="249698" y="1621032"/>
                  </a:lnTo>
                  <a:close/>
                  <a:moveTo>
                    <a:pt x="86853" y="1599139"/>
                  </a:moveTo>
                  <a:cubicBezTo>
                    <a:pt x="134820" y="1599139"/>
                    <a:pt x="173705" y="1657430"/>
                    <a:pt x="173705" y="1729340"/>
                  </a:cubicBezTo>
                  <a:cubicBezTo>
                    <a:pt x="173705" y="1801247"/>
                    <a:pt x="134820" y="1859538"/>
                    <a:pt x="86853" y="1859538"/>
                  </a:cubicBezTo>
                  <a:cubicBezTo>
                    <a:pt x="38882" y="1859538"/>
                    <a:pt x="0" y="1801247"/>
                    <a:pt x="0" y="1729340"/>
                  </a:cubicBezTo>
                  <a:cubicBezTo>
                    <a:pt x="0" y="1657430"/>
                    <a:pt x="38882" y="1599139"/>
                    <a:pt x="86853" y="1599139"/>
                  </a:cubicBezTo>
                  <a:close/>
                  <a:moveTo>
                    <a:pt x="2265648" y="1323607"/>
                  </a:moveTo>
                  <a:cubicBezTo>
                    <a:pt x="2241709" y="1323607"/>
                    <a:pt x="2222300" y="1362422"/>
                    <a:pt x="2222300" y="1410304"/>
                  </a:cubicBezTo>
                  <a:cubicBezTo>
                    <a:pt x="2222300" y="1458183"/>
                    <a:pt x="2241709" y="1497002"/>
                    <a:pt x="2265648" y="1497002"/>
                  </a:cubicBezTo>
                  <a:cubicBezTo>
                    <a:pt x="2289591" y="1497002"/>
                    <a:pt x="2309000" y="1458183"/>
                    <a:pt x="2309000" y="1410304"/>
                  </a:cubicBezTo>
                  <a:cubicBezTo>
                    <a:pt x="2309000" y="1362422"/>
                    <a:pt x="2289591" y="1323607"/>
                    <a:pt x="2265648" y="1323607"/>
                  </a:cubicBezTo>
                  <a:close/>
                  <a:moveTo>
                    <a:pt x="1782723" y="1323607"/>
                  </a:moveTo>
                  <a:cubicBezTo>
                    <a:pt x="1758780" y="1323607"/>
                    <a:pt x="1739374" y="1362422"/>
                    <a:pt x="1739374" y="1410304"/>
                  </a:cubicBezTo>
                  <a:cubicBezTo>
                    <a:pt x="1739374" y="1458183"/>
                    <a:pt x="1758780" y="1497002"/>
                    <a:pt x="1782723" y="1497002"/>
                  </a:cubicBezTo>
                  <a:cubicBezTo>
                    <a:pt x="1806666" y="1497002"/>
                    <a:pt x="1826072" y="1458183"/>
                    <a:pt x="1826072" y="1410304"/>
                  </a:cubicBezTo>
                  <a:cubicBezTo>
                    <a:pt x="1826072" y="1362422"/>
                    <a:pt x="1806666" y="1323607"/>
                    <a:pt x="1782723" y="1323607"/>
                  </a:cubicBezTo>
                  <a:close/>
                  <a:moveTo>
                    <a:pt x="1063952" y="1323607"/>
                  </a:moveTo>
                  <a:cubicBezTo>
                    <a:pt x="1040012" y="1323607"/>
                    <a:pt x="1020603" y="1362422"/>
                    <a:pt x="1020603" y="1410301"/>
                  </a:cubicBezTo>
                  <a:cubicBezTo>
                    <a:pt x="1020603" y="1458183"/>
                    <a:pt x="1040012" y="1496998"/>
                    <a:pt x="1063952" y="1496998"/>
                  </a:cubicBezTo>
                  <a:cubicBezTo>
                    <a:pt x="1087895" y="1496998"/>
                    <a:pt x="1107304" y="1458183"/>
                    <a:pt x="1107304" y="1410301"/>
                  </a:cubicBezTo>
                  <a:cubicBezTo>
                    <a:pt x="1107304" y="1362422"/>
                    <a:pt x="1087895" y="1323607"/>
                    <a:pt x="1063952" y="1323607"/>
                  </a:cubicBezTo>
                  <a:close/>
                  <a:moveTo>
                    <a:pt x="581023" y="1323607"/>
                  </a:moveTo>
                  <a:cubicBezTo>
                    <a:pt x="557083" y="1323607"/>
                    <a:pt x="537674" y="1362422"/>
                    <a:pt x="537674" y="1410301"/>
                  </a:cubicBezTo>
                  <a:cubicBezTo>
                    <a:pt x="537674" y="1458183"/>
                    <a:pt x="557083" y="1496998"/>
                    <a:pt x="581023" y="1496998"/>
                  </a:cubicBezTo>
                  <a:cubicBezTo>
                    <a:pt x="604966" y="1496998"/>
                    <a:pt x="624375" y="1458183"/>
                    <a:pt x="624375" y="1410301"/>
                  </a:cubicBezTo>
                  <a:cubicBezTo>
                    <a:pt x="624375" y="1362422"/>
                    <a:pt x="604966" y="1323607"/>
                    <a:pt x="581023" y="1323607"/>
                  </a:cubicBezTo>
                  <a:close/>
                  <a:moveTo>
                    <a:pt x="333940" y="1323607"/>
                  </a:moveTo>
                  <a:cubicBezTo>
                    <a:pt x="309997" y="1323607"/>
                    <a:pt x="290587" y="1362422"/>
                    <a:pt x="290587" y="1410301"/>
                  </a:cubicBezTo>
                  <a:cubicBezTo>
                    <a:pt x="290587" y="1458183"/>
                    <a:pt x="309997" y="1496998"/>
                    <a:pt x="333940" y="1496998"/>
                  </a:cubicBezTo>
                  <a:cubicBezTo>
                    <a:pt x="357879" y="1496998"/>
                    <a:pt x="377288" y="1458183"/>
                    <a:pt x="377288" y="1410301"/>
                  </a:cubicBezTo>
                  <a:cubicBezTo>
                    <a:pt x="377288" y="1362422"/>
                    <a:pt x="357879" y="1323607"/>
                    <a:pt x="333940" y="1323607"/>
                  </a:cubicBezTo>
                  <a:close/>
                  <a:moveTo>
                    <a:pt x="86853" y="1323607"/>
                  </a:moveTo>
                  <a:cubicBezTo>
                    <a:pt x="62910" y="1323607"/>
                    <a:pt x="43501" y="1362422"/>
                    <a:pt x="43501" y="1410301"/>
                  </a:cubicBezTo>
                  <a:cubicBezTo>
                    <a:pt x="43501" y="1458183"/>
                    <a:pt x="62910" y="1496998"/>
                    <a:pt x="86853" y="1496998"/>
                  </a:cubicBezTo>
                  <a:cubicBezTo>
                    <a:pt x="110792" y="1496998"/>
                    <a:pt x="130202" y="1458183"/>
                    <a:pt x="130202" y="1410301"/>
                  </a:cubicBezTo>
                  <a:cubicBezTo>
                    <a:pt x="130202" y="1362422"/>
                    <a:pt x="110792" y="1323607"/>
                    <a:pt x="86853" y="1323607"/>
                  </a:cubicBezTo>
                  <a:close/>
                  <a:moveTo>
                    <a:pt x="2265648" y="1280103"/>
                  </a:moveTo>
                  <a:cubicBezTo>
                    <a:pt x="2313619" y="1280103"/>
                    <a:pt x="2352501" y="1338398"/>
                    <a:pt x="2352501" y="1410304"/>
                  </a:cubicBezTo>
                  <a:cubicBezTo>
                    <a:pt x="2352501" y="1482211"/>
                    <a:pt x="2313619" y="1540506"/>
                    <a:pt x="2265648" y="1540506"/>
                  </a:cubicBezTo>
                  <a:cubicBezTo>
                    <a:pt x="2217681" y="1540506"/>
                    <a:pt x="2178796" y="1482211"/>
                    <a:pt x="2178796" y="1410304"/>
                  </a:cubicBezTo>
                  <a:cubicBezTo>
                    <a:pt x="2178796" y="1338398"/>
                    <a:pt x="2217681" y="1280103"/>
                    <a:pt x="2265648" y="1280103"/>
                  </a:cubicBezTo>
                  <a:close/>
                  <a:moveTo>
                    <a:pt x="2052416" y="1280103"/>
                  </a:moveTo>
                  <a:lnTo>
                    <a:pt x="2052416" y="1497870"/>
                  </a:lnTo>
                  <a:lnTo>
                    <a:pt x="2105418" y="1497870"/>
                  </a:lnTo>
                  <a:lnTo>
                    <a:pt x="2105418" y="1540502"/>
                  </a:lnTo>
                  <a:lnTo>
                    <a:pt x="1942957" y="1540502"/>
                  </a:lnTo>
                  <a:lnTo>
                    <a:pt x="1942957" y="1499023"/>
                  </a:lnTo>
                  <a:lnTo>
                    <a:pt x="1995956" y="1499023"/>
                  </a:lnTo>
                  <a:lnTo>
                    <a:pt x="1995956" y="1337713"/>
                  </a:lnTo>
                  <a:lnTo>
                    <a:pt x="1942957" y="1346929"/>
                  </a:lnTo>
                  <a:lnTo>
                    <a:pt x="1942957" y="1301996"/>
                  </a:lnTo>
                  <a:close/>
                  <a:moveTo>
                    <a:pt x="1782723" y="1280103"/>
                  </a:moveTo>
                  <a:cubicBezTo>
                    <a:pt x="1830690" y="1280103"/>
                    <a:pt x="1869576" y="1338398"/>
                    <a:pt x="1869576" y="1410304"/>
                  </a:cubicBezTo>
                  <a:cubicBezTo>
                    <a:pt x="1869576" y="1482211"/>
                    <a:pt x="1830690" y="1540506"/>
                    <a:pt x="1782723" y="1540506"/>
                  </a:cubicBezTo>
                  <a:cubicBezTo>
                    <a:pt x="1734756" y="1540506"/>
                    <a:pt x="1695870" y="1482211"/>
                    <a:pt x="1695870" y="1410304"/>
                  </a:cubicBezTo>
                  <a:cubicBezTo>
                    <a:pt x="1695870" y="1338398"/>
                    <a:pt x="1734756" y="1280103"/>
                    <a:pt x="1782723" y="1280103"/>
                  </a:cubicBezTo>
                  <a:close/>
                  <a:moveTo>
                    <a:pt x="1569490" y="1280103"/>
                  </a:moveTo>
                  <a:lnTo>
                    <a:pt x="1569490" y="1497870"/>
                  </a:lnTo>
                  <a:lnTo>
                    <a:pt x="1622489" y="1497870"/>
                  </a:lnTo>
                  <a:lnTo>
                    <a:pt x="1622489" y="1540502"/>
                  </a:lnTo>
                  <a:lnTo>
                    <a:pt x="1460028" y="1540502"/>
                  </a:lnTo>
                  <a:lnTo>
                    <a:pt x="1460028" y="1499023"/>
                  </a:lnTo>
                  <a:lnTo>
                    <a:pt x="1513030" y="1499023"/>
                  </a:lnTo>
                  <a:lnTo>
                    <a:pt x="1513030" y="1337713"/>
                  </a:lnTo>
                  <a:lnTo>
                    <a:pt x="1460028" y="1346929"/>
                  </a:lnTo>
                  <a:lnTo>
                    <a:pt x="1460028" y="1301996"/>
                  </a:lnTo>
                  <a:close/>
                  <a:moveTo>
                    <a:pt x="1333648" y="1280103"/>
                  </a:moveTo>
                  <a:lnTo>
                    <a:pt x="1333648" y="1497870"/>
                  </a:lnTo>
                  <a:lnTo>
                    <a:pt x="1386646" y="1497870"/>
                  </a:lnTo>
                  <a:lnTo>
                    <a:pt x="1386646" y="1540502"/>
                  </a:lnTo>
                  <a:lnTo>
                    <a:pt x="1224186" y="1540502"/>
                  </a:lnTo>
                  <a:lnTo>
                    <a:pt x="1224186" y="1499023"/>
                  </a:lnTo>
                  <a:lnTo>
                    <a:pt x="1277188" y="1499023"/>
                  </a:lnTo>
                  <a:lnTo>
                    <a:pt x="1277188" y="1337713"/>
                  </a:lnTo>
                  <a:lnTo>
                    <a:pt x="1224186" y="1346929"/>
                  </a:lnTo>
                  <a:lnTo>
                    <a:pt x="1224186" y="1301996"/>
                  </a:lnTo>
                  <a:close/>
                  <a:moveTo>
                    <a:pt x="1063952" y="1280103"/>
                  </a:moveTo>
                  <a:cubicBezTo>
                    <a:pt x="1111922" y="1280103"/>
                    <a:pt x="1150804" y="1338394"/>
                    <a:pt x="1150804" y="1410301"/>
                  </a:cubicBezTo>
                  <a:cubicBezTo>
                    <a:pt x="1150804" y="1482211"/>
                    <a:pt x="1111922" y="1540502"/>
                    <a:pt x="1063952" y="1540502"/>
                  </a:cubicBezTo>
                  <a:cubicBezTo>
                    <a:pt x="1015984" y="1540502"/>
                    <a:pt x="977099" y="1482211"/>
                    <a:pt x="977099" y="1410301"/>
                  </a:cubicBezTo>
                  <a:cubicBezTo>
                    <a:pt x="977099" y="1338394"/>
                    <a:pt x="1015984" y="1280103"/>
                    <a:pt x="1063952" y="1280103"/>
                  </a:cubicBezTo>
                  <a:close/>
                  <a:moveTo>
                    <a:pt x="850719" y="1280103"/>
                  </a:moveTo>
                  <a:lnTo>
                    <a:pt x="850719" y="1497870"/>
                  </a:lnTo>
                  <a:lnTo>
                    <a:pt x="903718" y="1497870"/>
                  </a:lnTo>
                  <a:lnTo>
                    <a:pt x="903718" y="1540502"/>
                  </a:lnTo>
                  <a:lnTo>
                    <a:pt x="741257" y="1540502"/>
                  </a:lnTo>
                  <a:lnTo>
                    <a:pt x="741257" y="1499023"/>
                  </a:lnTo>
                  <a:lnTo>
                    <a:pt x="794259" y="1499023"/>
                  </a:lnTo>
                  <a:lnTo>
                    <a:pt x="794259" y="1337713"/>
                  </a:lnTo>
                  <a:lnTo>
                    <a:pt x="741257" y="1346929"/>
                  </a:lnTo>
                  <a:lnTo>
                    <a:pt x="741257" y="1301996"/>
                  </a:lnTo>
                  <a:close/>
                  <a:moveTo>
                    <a:pt x="581023" y="1280103"/>
                  </a:moveTo>
                  <a:cubicBezTo>
                    <a:pt x="628994" y="1280103"/>
                    <a:pt x="667876" y="1338394"/>
                    <a:pt x="667876" y="1410301"/>
                  </a:cubicBezTo>
                  <a:cubicBezTo>
                    <a:pt x="667876" y="1482211"/>
                    <a:pt x="628994" y="1540502"/>
                    <a:pt x="581023" y="1540502"/>
                  </a:cubicBezTo>
                  <a:cubicBezTo>
                    <a:pt x="533056" y="1540502"/>
                    <a:pt x="494170" y="1482211"/>
                    <a:pt x="494170" y="1410301"/>
                  </a:cubicBezTo>
                  <a:cubicBezTo>
                    <a:pt x="494170" y="1338394"/>
                    <a:pt x="533056" y="1280103"/>
                    <a:pt x="581023" y="1280103"/>
                  </a:cubicBezTo>
                  <a:close/>
                  <a:moveTo>
                    <a:pt x="333940" y="1280103"/>
                  </a:moveTo>
                  <a:cubicBezTo>
                    <a:pt x="381907" y="1280103"/>
                    <a:pt x="420792" y="1338394"/>
                    <a:pt x="420792" y="1410301"/>
                  </a:cubicBezTo>
                  <a:cubicBezTo>
                    <a:pt x="420792" y="1482211"/>
                    <a:pt x="381907" y="1540502"/>
                    <a:pt x="333940" y="1540502"/>
                  </a:cubicBezTo>
                  <a:cubicBezTo>
                    <a:pt x="285969" y="1540502"/>
                    <a:pt x="247087" y="1482211"/>
                    <a:pt x="247087" y="1410301"/>
                  </a:cubicBezTo>
                  <a:cubicBezTo>
                    <a:pt x="247087" y="1338394"/>
                    <a:pt x="285969" y="1280103"/>
                    <a:pt x="333940" y="1280103"/>
                  </a:cubicBezTo>
                  <a:close/>
                  <a:moveTo>
                    <a:pt x="86853" y="1280103"/>
                  </a:moveTo>
                  <a:cubicBezTo>
                    <a:pt x="134820" y="1280103"/>
                    <a:pt x="173705" y="1338394"/>
                    <a:pt x="173705" y="1410301"/>
                  </a:cubicBezTo>
                  <a:cubicBezTo>
                    <a:pt x="173705" y="1482211"/>
                    <a:pt x="134820" y="1540502"/>
                    <a:pt x="86853" y="1540502"/>
                  </a:cubicBezTo>
                  <a:cubicBezTo>
                    <a:pt x="38882" y="1540502"/>
                    <a:pt x="0" y="1482211"/>
                    <a:pt x="0" y="1410301"/>
                  </a:cubicBezTo>
                  <a:cubicBezTo>
                    <a:pt x="0" y="1338394"/>
                    <a:pt x="38882" y="1280103"/>
                    <a:pt x="86853" y="1280103"/>
                  </a:cubicBezTo>
                  <a:close/>
                  <a:moveTo>
                    <a:pt x="1787705" y="1004571"/>
                  </a:moveTo>
                  <a:cubicBezTo>
                    <a:pt x="1763765" y="1004571"/>
                    <a:pt x="1744356" y="1043386"/>
                    <a:pt x="1744356" y="1091268"/>
                  </a:cubicBezTo>
                  <a:cubicBezTo>
                    <a:pt x="1744356" y="1139147"/>
                    <a:pt x="1763765" y="1177962"/>
                    <a:pt x="1787705" y="1177962"/>
                  </a:cubicBezTo>
                  <a:cubicBezTo>
                    <a:pt x="1811648" y="1177962"/>
                    <a:pt x="1831057" y="1139147"/>
                    <a:pt x="1831057" y="1091268"/>
                  </a:cubicBezTo>
                  <a:cubicBezTo>
                    <a:pt x="1831057" y="1043386"/>
                    <a:pt x="1811648" y="1004571"/>
                    <a:pt x="1787705" y="1004571"/>
                  </a:cubicBezTo>
                  <a:close/>
                  <a:moveTo>
                    <a:pt x="1300143" y="1004571"/>
                  </a:moveTo>
                  <a:cubicBezTo>
                    <a:pt x="1276200" y="1004571"/>
                    <a:pt x="1256791" y="1043386"/>
                    <a:pt x="1256791" y="1091268"/>
                  </a:cubicBezTo>
                  <a:cubicBezTo>
                    <a:pt x="1256791" y="1139147"/>
                    <a:pt x="1276200" y="1177962"/>
                    <a:pt x="1300143" y="1177962"/>
                  </a:cubicBezTo>
                  <a:cubicBezTo>
                    <a:pt x="1324083" y="1177962"/>
                    <a:pt x="1343492" y="1139147"/>
                    <a:pt x="1343492" y="1091268"/>
                  </a:cubicBezTo>
                  <a:cubicBezTo>
                    <a:pt x="1343492" y="1043386"/>
                    <a:pt x="1324083" y="1004571"/>
                    <a:pt x="1300143" y="1004571"/>
                  </a:cubicBezTo>
                  <a:close/>
                  <a:moveTo>
                    <a:pt x="812578" y="1004571"/>
                  </a:moveTo>
                  <a:cubicBezTo>
                    <a:pt x="788635" y="1004571"/>
                    <a:pt x="769226" y="1043386"/>
                    <a:pt x="769226" y="1091268"/>
                  </a:cubicBezTo>
                  <a:cubicBezTo>
                    <a:pt x="769226" y="1139147"/>
                    <a:pt x="788635" y="1177962"/>
                    <a:pt x="812578" y="1177962"/>
                  </a:cubicBezTo>
                  <a:cubicBezTo>
                    <a:pt x="836518" y="1177962"/>
                    <a:pt x="855927" y="1139147"/>
                    <a:pt x="855927" y="1091268"/>
                  </a:cubicBezTo>
                  <a:cubicBezTo>
                    <a:pt x="855927" y="1043386"/>
                    <a:pt x="836518" y="1004571"/>
                    <a:pt x="812578" y="1004571"/>
                  </a:cubicBezTo>
                  <a:close/>
                  <a:moveTo>
                    <a:pt x="86853" y="1004571"/>
                  </a:moveTo>
                  <a:cubicBezTo>
                    <a:pt x="62910" y="1004571"/>
                    <a:pt x="43501" y="1043386"/>
                    <a:pt x="43501" y="1091268"/>
                  </a:cubicBezTo>
                  <a:cubicBezTo>
                    <a:pt x="43501" y="1139147"/>
                    <a:pt x="62910" y="1177962"/>
                    <a:pt x="86853" y="1177962"/>
                  </a:cubicBezTo>
                  <a:cubicBezTo>
                    <a:pt x="110792" y="1177962"/>
                    <a:pt x="130202" y="1139147"/>
                    <a:pt x="130202" y="1091268"/>
                  </a:cubicBezTo>
                  <a:cubicBezTo>
                    <a:pt x="130202" y="1043386"/>
                    <a:pt x="110792" y="1004571"/>
                    <a:pt x="86853" y="1004571"/>
                  </a:cubicBezTo>
                  <a:close/>
                  <a:moveTo>
                    <a:pt x="2297872" y="961067"/>
                  </a:moveTo>
                  <a:lnTo>
                    <a:pt x="2297872" y="1178834"/>
                  </a:lnTo>
                  <a:lnTo>
                    <a:pt x="2350874" y="1178834"/>
                  </a:lnTo>
                  <a:lnTo>
                    <a:pt x="2350874" y="1221463"/>
                  </a:lnTo>
                  <a:lnTo>
                    <a:pt x="2188414" y="1221463"/>
                  </a:lnTo>
                  <a:lnTo>
                    <a:pt x="2188414" y="1179984"/>
                  </a:lnTo>
                  <a:lnTo>
                    <a:pt x="2241412" y="1179984"/>
                  </a:lnTo>
                  <a:lnTo>
                    <a:pt x="2241412" y="1018677"/>
                  </a:lnTo>
                  <a:lnTo>
                    <a:pt x="2188414" y="1027893"/>
                  </a:lnTo>
                  <a:lnTo>
                    <a:pt x="2188414" y="982960"/>
                  </a:lnTo>
                  <a:close/>
                  <a:moveTo>
                    <a:pt x="2059719" y="961067"/>
                  </a:moveTo>
                  <a:lnTo>
                    <a:pt x="2059719" y="1178834"/>
                  </a:lnTo>
                  <a:lnTo>
                    <a:pt x="2112718" y="1178834"/>
                  </a:lnTo>
                  <a:lnTo>
                    <a:pt x="2112718" y="1221463"/>
                  </a:lnTo>
                  <a:lnTo>
                    <a:pt x="1950257" y="1221463"/>
                  </a:lnTo>
                  <a:lnTo>
                    <a:pt x="1950257" y="1179984"/>
                  </a:lnTo>
                  <a:lnTo>
                    <a:pt x="2003259" y="1179984"/>
                  </a:lnTo>
                  <a:lnTo>
                    <a:pt x="2003259" y="1018677"/>
                  </a:lnTo>
                  <a:lnTo>
                    <a:pt x="1950257" y="1027893"/>
                  </a:lnTo>
                  <a:lnTo>
                    <a:pt x="1950257" y="982960"/>
                  </a:lnTo>
                  <a:close/>
                  <a:moveTo>
                    <a:pt x="1787705" y="961067"/>
                  </a:moveTo>
                  <a:cubicBezTo>
                    <a:pt x="1835676" y="961067"/>
                    <a:pt x="1874558" y="1019362"/>
                    <a:pt x="1874558" y="1091268"/>
                  </a:cubicBezTo>
                  <a:cubicBezTo>
                    <a:pt x="1874558" y="1163175"/>
                    <a:pt x="1835676" y="1221470"/>
                    <a:pt x="1787705" y="1221470"/>
                  </a:cubicBezTo>
                  <a:cubicBezTo>
                    <a:pt x="1739738" y="1221470"/>
                    <a:pt x="1700856" y="1163175"/>
                    <a:pt x="1700856" y="1091268"/>
                  </a:cubicBezTo>
                  <a:cubicBezTo>
                    <a:pt x="1700856" y="1019362"/>
                    <a:pt x="1739738" y="961067"/>
                    <a:pt x="1787705" y="961067"/>
                  </a:cubicBezTo>
                  <a:close/>
                  <a:moveTo>
                    <a:pt x="1572154" y="961067"/>
                  </a:moveTo>
                  <a:lnTo>
                    <a:pt x="1572154" y="1178834"/>
                  </a:lnTo>
                  <a:lnTo>
                    <a:pt x="1625156" y="1178834"/>
                  </a:lnTo>
                  <a:lnTo>
                    <a:pt x="1625156" y="1221463"/>
                  </a:lnTo>
                  <a:lnTo>
                    <a:pt x="1462692" y="1221463"/>
                  </a:lnTo>
                  <a:lnTo>
                    <a:pt x="1462692" y="1179984"/>
                  </a:lnTo>
                  <a:lnTo>
                    <a:pt x="1515698" y="1179984"/>
                  </a:lnTo>
                  <a:lnTo>
                    <a:pt x="1515698" y="1018677"/>
                  </a:lnTo>
                  <a:lnTo>
                    <a:pt x="1462692" y="1027893"/>
                  </a:lnTo>
                  <a:lnTo>
                    <a:pt x="1462692" y="982960"/>
                  </a:lnTo>
                  <a:close/>
                  <a:moveTo>
                    <a:pt x="1300143" y="961067"/>
                  </a:moveTo>
                  <a:cubicBezTo>
                    <a:pt x="1348110" y="961067"/>
                    <a:pt x="1386996" y="1019362"/>
                    <a:pt x="1386996" y="1091268"/>
                  </a:cubicBezTo>
                  <a:cubicBezTo>
                    <a:pt x="1386996" y="1163175"/>
                    <a:pt x="1348110" y="1221470"/>
                    <a:pt x="1300143" y="1221470"/>
                  </a:cubicBezTo>
                  <a:cubicBezTo>
                    <a:pt x="1252172" y="1221470"/>
                    <a:pt x="1213291" y="1163175"/>
                    <a:pt x="1213291" y="1091268"/>
                  </a:cubicBezTo>
                  <a:cubicBezTo>
                    <a:pt x="1213291" y="1019362"/>
                    <a:pt x="1252172" y="961067"/>
                    <a:pt x="1300143" y="961067"/>
                  </a:cubicBezTo>
                  <a:close/>
                  <a:moveTo>
                    <a:pt x="1084589" y="961067"/>
                  </a:moveTo>
                  <a:lnTo>
                    <a:pt x="1084589" y="1178834"/>
                  </a:lnTo>
                  <a:lnTo>
                    <a:pt x="1137591" y="1178834"/>
                  </a:lnTo>
                  <a:lnTo>
                    <a:pt x="1137591" y="1221463"/>
                  </a:lnTo>
                  <a:lnTo>
                    <a:pt x="975130" y="1221463"/>
                  </a:lnTo>
                  <a:lnTo>
                    <a:pt x="975130" y="1179984"/>
                  </a:lnTo>
                  <a:lnTo>
                    <a:pt x="1028132" y="1179984"/>
                  </a:lnTo>
                  <a:lnTo>
                    <a:pt x="1028132" y="1018677"/>
                  </a:lnTo>
                  <a:lnTo>
                    <a:pt x="975130" y="1027893"/>
                  </a:lnTo>
                  <a:lnTo>
                    <a:pt x="975130" y="982960"/>
                  </a:lnTo>
                  <a:close/>
                  <a:moveTo>
                    <a:pt x="812578" y="961067"/>
                  </a:moveTo>
                  <a:cubicBezTo>
                    <a:pt x="860545" y="961067"/>
                    <a:pt x="899431" y="1019362"/>
                    <a:pt x="899431" y="1091268"/>
                  </a:cubicBezTo>
                  <a:cubicBezTo>
                    <a:pt x="899431" y="1163175"/>
                    <a:pt x="860545" y="1221470"/>
                    <a:pt x="812578" y="1221470"/>
                  </a:cubicBezTo>
                  <a:cubicBezTo>
                    <a:pt x="764607" y="1221470"/>
                    <a:pt x="725726" y="1163175"/>
                    <a:pt x="725726" y="1091268"/>
                  </a:cubicBezTo>
                  <a:cubicBezTo>
                    <a:pt x="725726" y="1019362"/>
                    <a:pt x="764607" y="961067"/>
                    <a:pt x="812578" y="961067"/>
                  </a:cubicBezTo>
                  <a:close/>
                  <a:moveTo>
                    <a:pt x="597024" y="961067"/>
                  </a:moveTo>
                  <a:lnTo>
                    <a:pt x="597024" y="1178834"/>
                  </a:lnTo>
                  <a:lnTo>
                    <a:pt x="650026" y="1178834"/>
                  </a:lnTo>
                  <a:lnTo>
                    <a:pt x="650026" y="1221463"/>
                  </a:lnTo>
                  <a:lnTo>
                    <a:pt x="487565" y="1221463"/>
                  </a:lnTo>
                  <a:lnTo>
                    <a:pt x="487565" y="1179984"/>
                  </a:lnTo>
                  <a:lnTo>
                    <a:pt x="540568" y="1179984"/>
                  </a:lnTo>
                  <a:lnTo>
                    <a:pt x="540568" y="1018677"/>
                  </a:lnTo>
                  <a:lnTo>
                    <a:pt x="487565" y="1027893"/>
                  </a:lnTo>
                  <a:lnTo>
                    <a:pt x="487565" y="982960"/>
                  </a:lnTo>
                  <a:close/>
                  <a:moveTo>
                    <a:pt x="358864" y="961067"/>
                  </a:moveTo>
                  <a:lnTo>
                    <a:pt x="358864" y="1178834"/>
                  </a:lnTo>
                  <a:lnTo>
                    <a:pt x="411866" y="1178834"/>
                  </a:lnTo>
                  <a:lnTo>
                    <a:pt x="411866" y="1221463"/>
                  </a:lnTo>
                  <a:lnTo>
                    <a:pt x="249405" y="1221463"/>
                  </a:lnTo>
                  <a:lnTo>
                    <a:pt x="249405" y="1179984"/>
                  </a:lnTo>
                  <a:lnTo>
                    <a:pt x="302407" y="1179984"/>
                  </a:lnTo>
                  <a:lnTo>
                    <a:pt x="302407" y="1018677"/>
                  </a:lnTo>
                  <a:lnTo>
                    <a:pt x="249405" y="1027893"/>
                  </a:lnTo>
                  <a:lnTo>
                    <a:pt x="249405" y="982960"/>
                  </a:lnTo>
                  <a:close/>
                  <a:moveTo>
                    <a:pt x="86853" y="961067"/>
                  </a:moveTo>
                  <a:cubicBezTo>
                    <a:pt x="134820" y="961067"/>
                    <a:pt x="173705" y="1019362"/>
                    <a:pt x="173705" y="1091268"/>
                  </a:cubicBezTo>
                  <a:cubicBezTo>
                    <a:pt x="173705" y="1163175"/>
                    <a:pt x="134820" y="1221470"/>
                    <a:pt x="86853" y="1221470"/>
                  </a:cubicBezTo>
                  <a:cubicBezTo>
                    <a:pt x="38882" y="1221470"/>
                    <a:pt x="0" y="1163175"/>
                    <a:pt x="0" y="1091268"/>
                  </a:cubicBezTo>
                  <a:cubicBezTo>
                    <a:pt x="0" y="1019362"/>
                    <a:pt x="38882" y="961067"/>
                    <a:pt x="86853" y="961067"/>
                  </a:cubicBezTo>
                  <a:close/>
                  <a:moveTo>
                    <a:pt x="2028204" y="681576"/>
                  </a:moveTo>
                  <a:cubicBezTo>
                    <a:pt x="2004265" y="681576"/>
                    <a:pt x="1984856" y="720391"/>
                    <a:pt x="1984856" y="768273"/>
                  </a:cubicBezTo>
                  <a:cubicBezTo>
                    <a:pt x="1984856" y="816152"/>
                    <a:pt x="2004265" y="854967"/>
                    <a:pt x="2028204" y="854967"/>
                  </a:cubicBezTo>
                  <a:cubicBezTo>
                    <a:pt x="2052147" y="854967"/>
                    <a:pt x="2071556" y="816152"/>
                    <a:pt x="2071556" y="768273"/>
                  </a:cubicBezTo>
                  <a:cubicBezTo>
                    <a:pt x="2071556" y="720391"/>
                    <a:pt x="2052147" y="681576"/>
                    <a:pt x="2028204" y="681576"/>
                  </a:cubicBezTo>
                  <a:close/>
                  <a:moveTo>
                    <a:pt x="1540057" y="681576"/>
                  </a:moveTo>
                  <a:cubicBezTo>
                    <a:pt x="1516114" y="681576"/>
                    <a:pt x="1496705" y="720391"/>
                    <a:pt x="1496705" y="768273"/>
                  </a:cubicBezTo>
                  <a:cubicBezTo>
                    <a:pt x="1496705" y="816152"/>
                    <a:pt x="1516114" y="854967"/>
                    <a:pt x="1540057" y="854967"/>
                  </a:cubicBezTo>
                  <a:cubicBezTo>
                    <a:pt x="1563996" y="854967"/>
                    <a:pt x="1583406" y="816152"/>
                    <a:pt x="1583406" y="768273"/>
                  </a:cubicBezTo>
                  <a:cubicBezTo>
                    <a:pt x="1583406" y="720391"/>
                    <a:pt x="1563996" y="681576"/>
                    <a:pt x="1540057" y="681576"/>
                  </a:cubicBezTo>
                  <a:close/>
                  <a:moveTo>
                    <a:pt x="575000" y="681576"/>
                  </a:moveTo>
                  <a:cubicBezTo>
                    <a:pt x="551061" y="681576"/>
                    <a:pt x="531651" y="720391"/>
                    <a:pt x="531651" y="768273"/>
                  </a:cubicBezTo>
                  <a:cubicBezTo>
                    <a:pt x="531651" y="816152"/>
                    <a:pt x="551061" y="854967"/>
                    <a:pt x="575000" y="854967"/>
                  </a:cubicBezTo>
                  <a:cubicBezTo>
                    <a:pt x="598943" y="854967"/>
                    <a:pt x="618352" y="816152"/>
                    <a:pt x="618352" y="768273"/>
                  </a:cubicBezTo>
                  <a:cubicBezTo>
                    <a:pt x="618352" y="720391"/>
                    <a:pt x="598943" y="681576"/>
                    <a:pt x="575000" y="681576"/>
                  </a:cubicBezTo>
                  <a:close/>
                  <a:moveTo>
                    <a:pt x="86853" y="681576"/>
                  </a:moveTo>
                  <a:cubicBezTo>
                    <a:pt x="62910" y="681576"/>
                    <a:pt x="43501" y="720391"/>
                    <a:pt x="43501" y="768273"/>
                  </a:cubicBezTo>
                  <a:cubicBezTo>
                    <a:pt x="43501" y="816152"/>
                    <a:pt x="62910" y="854967"/>
                    <a:pt x="86853" y="854967"/>
                  </a:cubicBezTo>
                  <a:cubicBezTo>
                    <a:pt x="110792" y="854967"/>
                    <a:pt x="130202" y="816152"/>
                    <a:pt x="130202" y="768273"/>
                  </a:cubicBezTo>
                  <a:cubicBezTo>
                    <a:pt x="130202" y="720391"/>
                    <a:pt x="110792" y="681576"/>
                    <a:pt x="86853" y="681576"/>
                  </a:cubicBezTo>
                  <a:close/>
                  <a:moveTo>
                    <a:pt x="2300504" y="638072"/>
                  </a:moveTo>
                  <a:lnTo>
                    <a:pt x="2300504" y="855835"/>
                  </a:lnTo>
                  <a:lnTo>
                    <a:pt x="2353503" y="855835"/>
                  </a:lnTo>
                  <a:lnTo>
                    <a:pt x="2353503" y="898467"/>
                  </a:lnTo>
                  <a:lnTo>
                    <a:pt x="2191042" y="898467"/>
                  </a:lnTo>
                  <a:lnTo>
                    <a:pt x="2191042" y="856989"/>
                  </a:lnTo>
                  <a:lnTo>
                    <a:pt x="2244044" y="856989"/>
                  </a:lnTo>
                  <a:lnTo>
                    <a:pt x="2244044" y="695678"/>
                  </a:lnTo>
                  <a:lnTo>
                    <a:pt x="2191042" y="704898"/>
                  </a:lnTo>
                  <a:lnTo>
                    <a:pt x="2191042" y="659961"/>
                  </a:lnTo>
                  <a:close/>
                  <a:moveTo>
                    <a:pt x="2028204" y="638072"/>
                  </a:moveTo>
                  <a:cubicBezTo>
                    <a:pt x="2076175" y="638072"/>
                    <a:pt x="2115057" y="696363"/>
                    <a:pt x="2115057" y="768273"/>
                  </a:cubicBezTo>
                  <a:cubicBezTo>
                    <a:pt x="2115057" y="840180"/>
                    <a:pt x="2076175" y="898471"/>
                    <a:pt x="2028204" y="898471"/>
                  </a:cubicBezTo>
                  <a:cubicBezTo>
                    <a:pt x="1980237" y="898471"/>
                    <a:pt x="1941352" y="840180"/>
                    <a:pt x="1941352" y="768273"/>
                  </a:cubicBezTo>
                  <a:cubicBezTo>
                    <a:pt x="1941352" y="696363"/>
                    <a:pt x="1980237" y="638072"/>
                    <a:pt x="2028204" y="638072"/>
                  </a:cubicBezTo>
                  <a:close/>
                  <a:moveTo>
                    <a:pt x="1812361" y="638072"/>
                  </a:moveTo>
                  <a:lnTo>
                    <a:pt x="1812361" y="855839"/>
                  </a:lnTo>
                  <a:lnTo>
                    <a:pt x="1865363" y="855839"/>
                  </a:lnTo>
                  <a:lnTo>
                    <a:pt x="1865363" y="898471"/>
                  </a:lnTo>
                  <a:lnTo>
                    <a:pt x="1702899" y="898471"/>
                  </a:lnTo>
                  <a:lnTo>
                    <a:pt x="1702899" y="856992"/>
                  </a:lnTo>
                  <a:lnTo>
                    <a:pt x="1755901" y="856992"/>
                  </a:lnTo>
                  <a:lnTo>
                    <a:pt x="1755901" y="695682"/>
                  </a:lnTo>
                  <a:lnTo>
                    <a:pt x="1702899" y="704901"/>
                  </a:lnTo>
                  <a:lnTo>
                    <a:pt x="1702899" y="659965"/>
                  </a:lnTo>
                  <a:close/>
                  <a:moveTo>
                    <a:pt x="1540057" y="638072"/>
                  </a:moveTo>
                  <a:cubicBezTo>
                    <a:pt x="1588024" y="638072"/>
                    <a:pt x="1626910" y="696363"/>
                    <a:pt x="1626910" y="768273"/>
                  </a:cubicBezTo>
                  <a:cubicBezTo>
                    <a:pt x="1626910" y="840180"/>
                    <a:pt x="1588024" y="898471"/>
                    <a:pt x="1540057" y="898471"/>
                  </a:cubicBezTo>
                  <a:cubicBezTo>
                    <a:pt x="1492086" y="898471"/>
                    <a:pt x="1453204" y="840180"/>
                    <a:pt x="1453204" y="768273"/>
                  </a:cubicBezTo>
                  <a:cubicBezTo>
                    <a:pt x="1453204" y="696363"/>
                    <a:pt x="1492086" y="638072"/>
                    <a:pt x="1540057" y="638072"/>
                  </a:cubicBezTo>
                  <a:close/>
                  <a:moveTo>
                    <a:pt x="1324210" y="638072"/>
                  </a:moveTo>
                  <a:lnTo>
                    <a:pt x="1324210" y="855839"/>
                  </a:lnTo>
                  <a:lnTo>
                    <a:pt x="1377212" y="855839"/>
                  </a:lnTo>
                  <a:lnTo>
                    <a:pt x="1377212" y="898471"/>
                  </a:lnTo>
                  <a:lnTo>
                    <a:pt x="1214751" y="898471"/>
                  </a:lnTo>
                  <a:lnTo>
                    <a:pt x="1214751" y="856992"/>
                  </a:lnTo>
                  <a:lnTo>
                    <a:pt x="1267753" y="856992"/>
                  </a:lnTo>
                  <a:lnTo>
                    <a:pt x="1267753" y="695682"/>
                  </a:lnTo>
                  <a:lnTo>
                    <a:pt x="1214751" y="704901"/>
                  </a:lnTo>
                  <a:lnTo>
                    <a:pt x="1214751" y="659965"/>
                  </a:lnTo>
                  <a:close/>
                  <a:moveTo>
                    <a:pt x="1085757" y="638072"/>
                  </a:moveTo>
                  <a:lnTo>
                    <a:pt x="1085757" y="855839"/>
                  </a:lnTo>
                  <a:lnTo>
                    <a:pt x="1138759" y="855839"/>
                  </a:lnTo>
                  <a:lnTo>
                    <a:pt x="1138759" y="898471"/>
                  </a:lnTo>
                  <a:lnTo>
                    <a:pt x="976298" y="898471"/>
                  </a:lnTo>
                  <a:lnTo>
                    <a:pt x="976298" y="856992"/>
                  </a:lnTo>
                  <a:lnTo>
                    <a:pt x="1029300" y="856992"/>
                  </a:lnTo>
                  <a:lnTo>
                    <a:pt x="1029300" y="695682"/>
                  </a:lnTo>
                  <a:lnTo>
                    <a:pt x="976298" y="704901"/>
                  </a:lnTo>
                  <a:lnTo>
                    <a:pt x="976298" y="659965"/>
                  </a:lnTo>
                  <a:close/>
                  <a:moveTo>
                    <a:pt x="847307" y="638072"/>
                  </a:moveTo>
                  <a:lnTo>
                    <a:pt x="847307" y="855839"/>
                  </a:lnTo>
                  <a:lnTo>
                    <a:pt x="900306" y="855839"/>
                  </a:lnTo>
                  <a:lnTo>
                    <a:pt x="900306" y="898471"/>
                  </a:lnTo>
                  <a:lnTo>
                    <a:pt x="737845" y="898471"/>
                  </a:lnTo>
                  <a:lnTo>
                    <a:pt x="737845" y="856992"/>
                  </a:lnTo>
                  <a:lnTo>
                    <a:pt x="790847" y="856992"/>
                  </a:lnTo>
                  <a:lnTo>
                    <a:pt x="790847" y="695682"/>
                  </a:lnTo>
                  <a:lnTo>
                    <a:pt x="737845" y="704901"/>
                  </a:lnTo>
                  <a:lnTo>
                    <a:pt x="737845" y="659965"/>
                  </a:lnTo>
                  <a:close/>
                  <a:moveTo>
                    <a:pt x="575000" y="638072"/>
                  </a:moveTo>
                  <a:cubicBezTo>
                    <a:pt x="622971" y="638072"/>
                    <a:pt x="661853" y="696363"/>
                    <a:pt x="661853" y="768273"/>
                  </a:cubicBezTo>
                  <a:cubicBezTo>
                    <a:pt x="661853" y="840180"/>
                    <a:pt x="622971" y="898471"/>
                    <a:pt x="575000" y="898471"/>
                  </a:cubicBezTo>
                  <a:cubicBezTo>
                    <a:pt x="527033" y="898471"/>
                    <a:pt x="488148" y="840180"/>
                    <a:pt x="488148" y="768273"/>
                  </a:cubicBezTo>
                  <a:cubicBezTo>
                    <a:pt x="488148" y="696363"/>
                    <a:pt x="527033" y="638072"/>
                    <a:pt x="575000" y="638072"/>
                  </a:cubicBezTo>
                  <a:close/>
                  <a:moveTo>
                    <a:pt x="359156" y="638072"/>
                  </a:moveTo>
                  <a:lnTo>
                    <a:pt x="359156" y="855839"/>
                  </a:lnTo>
                  <a:lnTo>
                    <a:pt x="412159" y="855839"/>
                  </a:lnTo>
                  <a:lnTo>
                    <a:pt x="412159" y="898471"/>
                  </a:lnTo>
                  <a:lnTo>
                    <a:pt x="249698" y="898471"/>
                  </a:lnTo>
                  <a:lnTo>
                    <a:pt x="249698" y="856992"/>
                  </a:lnTo>
                  <a:lnTo>
                    <a:pt x="302700" y="856992"/>
                  </a:lnTo>
                  <a:lnTo>
                    <a:pt x="302700" y="695682"/>
                  </a:lnTo>
                  <a:lnTo>
                    <a:pt x="249698" y="704901"/>
                  </a:lnTo>
                  <a:lnTo>
                    <a:pt x="249698" y="659965"/>
                  </a:lnTo>
                  <a:close/>
                  <a:moveTo>
                    <a:pt x="86853" y="638072"/>
                  </a:moveTo>
                  <a:cubicBezTo>
                    <a:pt x="134820" y="638072"/>
                    <a:pt x="173705" y="696363"/>
                    <a:pt x="173705" y="768273"/>
                  </a:cubicBezTo>
                  <a:cubicBezTo>
                    <a:pt x="173705" y="840180"/>
                    <a:pt x="134820" y="898471"/>
                    <a:pt x="86853" y="898471"/>
                  </a:cubicBezTo>
                  <a:cubicBezTo>
                    <a:pt x="38882" y="898471"/>
                    <a:pt x="0" y="840180"/>
                    <a:pt x="0" y="768273"/>
                  </a:cubicBezTo>
                  <a:cubicBezTo>
                    <a:pt x="0" y="696363"/>
                    <a:pt x="38882" y="638072"/>
                    <a:pt x="86853" y="638072"/>
                  </a:cubicBezTo>
                  <a:close/>
                  <a:moveTo>
                    <a:pt x="2265648" y="362540"/>
                  </a:moveTo>
                  <a:cubicBezTo>
                    <a:pt x="2241709" y="362540"/>
                    <a:pt x="2222300" y="401355"/>
                    <a:pt x="2222300" y="449237"/>
                  </a:cubicBezTo>
                  <a:cubicBezTo>
                    <a:pt x="2222300" y="497116"/>
                    <a:pt x="2241709" y="535935"/>
                    <a:pt x="2265648" y="535935"/>
                  </a:cubicBezTo>
                  <a:cubicBezTo>
                    <a:pt x="2289591" y="535935"/>
                    <a:pt x="2309000" y="497116"/>
                    <a:pt x="2309000" y="449237"/>
                  </a:cubicBezTo>
                  <a:cubicBezTo>
                    <a:pt x="2309000" y="401355"/>
                    <a:pt x="2289591" y="362540"/>
                    <a:pt x="2265648" y="362540"/>
                  </a:cubicBezTo>
                  <a:close/>
                  <a:moveTo>
                    <a:pt x="1782723" y="362540"/>
                  </a:moveTo>
                  <a:cubicBezTo>
                    <a:pt x="1758780" y="362540"/>
                    <a:pt x="1739374" y="401355"/>
                    <a:pt x="1739374" y="449237"/>
                  </a:cubicBezTo>
                  <a:cubicBezTo>
                    <a:pt x="1739374" y="497116"/>
                    <a:pt x="1758780" y="535935"/>
                    <a:pt x="1782723" y="535935"/>
                  </a:cubicBezTo>
                  <a:cubicBezTo>
                    <a:pt x="1806666" y="535935"/>
                    <a:pt x="1826072" y="497116"/>
                    <a:pt x="1826072" y="449237"/>
                  </a:cubicBezTo>
                  <a:cubicBezTo>
                    <a:pt x="1826072" y="401355"/>
                    <a:pt x="1806666" y="362540"/>
                    <a:pt x="1782723" y="362540"/>
                  </a:cubicBezTo>
                  <a:close/>
                  <a:moveTo>
                    <a:pt x="1063952" y="362540"/>
                  </a:moveTo>
                  <a:cubicBezTo>
                    <a:pt x="1040012" y="362540"/>
                    <a:pt x="1020603" y="401355"/>
                    <a:pt x="1020603" y="449234"/>
                  </a:cubicBezTo>
                  <a:cubicBezTo>
                    <a:pt x="1020603" y="497116"/>
                    <a:pt x="1040012" y="535931"/>
                    <a:pt x="1063952" y="535931"/>
                  </a:cubicBezTo>
                  <a:cubicBezTo>
                    <a:pt x="1087895" y="535931"/>
                    <a:pt x="1107304" y="497116"/>
                    <a:pt x="1107304" y="449234"/>
                  </a:cubicBezTo>
                  <a:cubicBezTo>
                    <a:pt x="1107304" y="401355"/>
                    <a:pt x="1087895" y="362540"/>
                    <a:pt x="1063952" y="362540"/>
                  </a:cubicBezTo>
                  <a:close/>
                  <a:moveTo>
                    <a:pt x="581023" y="362540"/>
                  </a:moveTo>
                  <a:cubicBezTo>
                    <a:pt x="557083" y="362540"/>
                    <a:pt x="537674" y="401355"/>
                    <a:pt x="537674" y="449234"/>
                  </a:cubicBezTo>
                  <a:cubicBezTo>
                    <a:pt x="537674" y="497116"/>
                    <a:pt x="557083" y="535931"/>
                    <a:pt x="581023" y="535931"/>
                  </a:cubicBezTo>
                  <a:cubicBezTo>
                    <a:pt x="604966" y="535931"/>
                    <a:pt x="624375" y="497116"/>
                    <a:pt x="624375" y="449234"/>
                  </a:cubicBezTo>
                  <a:cubicBezTo>
                    <a:pt x="624375" y="401355"/>
                    <a:pt x="604966" y="362540"/>
                    <a:pt x="581023" y="362540"/>
                  </a:cubicBezTo>
                  <a:close/>
                  <a:moveTo>
                    <a:pt x="333940" y="362540"/>
                  </a:moveTo>
                  <a:cubicBezTo>
                    <a:pt x="309997" y="362540"/>
                    <a:pt x="290587" y="401355"/>
                    <a:pt x="290587" y="449234"/>
                  </a:cubicBezTo>
                  <a:cubicBezTo>
                    <a:pt x="290587" y="497116"/>
                    <a:pt x="309997" y="535931"/>
                    <a:pt x="333940" y="535931"/>
                  </a:cubicBezTo>
                  <a:cubicBezTo>
                    <a:pt x="357879" y="535931"/>
                    <a:pt x="377288" y="497116"/>
                    <a:pt x="377288" y="449234"/>
                  </a:cubicBezTo>
                  <a:cubicBezTo>
                    <a:pt x="377288" y="401355"/>
                    <a:pt x="357879" y="362540"/>
                    <a:pt x="333940" y="362540"/>
                  </a:cubicBezTo>
                  <a:close/>
                  <a:moveTo>
                    <a:pt x="86853" y="362540"/>
                  </a:moveTo>
                  <a:cubicBezTo>
                    <a:pt x="62910" y="362540"/>
                    <a:pt x="43501" y="401355"/>
                    <a:pt x="43501" y="449234"/>
                  </a:cubicBezTo>
                  <a:cubicBezTo>
                    <a:pt x="43501" y="497116"/>
                    <a:pt x="62910" y="535931"/>
                    <a:pt x="86853" y="535931"/>
                  </a:cubicBezTo>
                  <a:cubicBezTo>
                    <a:pt x="110792" y="535931"/>
                    <a:pt x="130202" y="497116"/>
                    <a:pt x="130202" y="449234"/>
                  </a:cubicBezTo>
                  <a:cubicBezTo>
                    <a:pt x="130202" y="401355"/>
                    <a:pt x="110792" y="362540"/>
                    <a:pt x="86853" y="362540"/>
                  </a:cubicBezTo>
                  <a:close/>
                  <a:moveTo>
                    <a:pt x="2265648" y="319036"/>
                  </a:moveTo>
                  <a:cubicBezTo>
                    <a:pt x="2313619" y="319036"/>
                    <a:pt x="2352501" y="377330"/>
                    <a:pt x="2352501" y="449237"/>
                  </a:cubicBezTo>
                  <a:cubicBezTo>
                    <a:pt x="2352501" y="521144"/>
                    <a:pt x="2313619" y="579439"/>
                    <a:pt x="2265648" y="579439"/>
                  </a:cubicBezTo>
                  <a:cubicBezTo>
                    <a:pt x="2217681" y="579439"/>
                    <a:pt x="2178796" y="521144"/>
                    <a:pt x="2178796" y="449237"/>
                  </a:cubicBezTo>
                  <a:cubicBezTo>
                    <a:pt x="2178796" y="377330"/>
                    <a:pt x="2217681" y="319036"/>
                    <a:pt x="2265648" y="319036"/>
                  </a:cubicBezTo>
                  <a:close/>
                  <a:moveTo>
                    <a:pt x="2052416" y="319036"/>
                  </a:moveTo>
                  <a:lnTo>
                    <a:pt x="2052416" y="536803"/>
                  </a:lnTo>
                  <a:lnTo>
                    <a:pt x="2105418" y="536803"/>
                  </a:lnTo>
                  <a:lnTo>
                    <a:pt x="2105418" y="579435"/>
                  </a:lnTo>
                  <a:lnTo>
                    <a:pt x="1942957" y="579435"/>
                  </a:lnTo>
                  <a:lnTo>
                    <a:pt x="1942957" y="537956"/>
                  </a:lnTo>
                  <a:lnTo>
                    <a:pt x="1995956" y="537956"/>
                  </a:lnTo>
                  <a:lnTo>
                    <a:pt x="1995956" y="376646"/>
                  </a:lnTo>
                  <a:lnTo>
                    <a:pt x="1942957" y="385862"/>
                  </a:lnTo>
                  <a:lnTo>
                    <a:pt x="1942957" y="340929"/>
                  </a:lnTo>
                  <a:close/>
                  <a:moveTo>
                    <a:pt x="1782723" y="319036"/>
                  </a:moveTo>
                  <a:cubicBezTo>
                    <a:pt x="1830690" y="319036"/>
                    <a:pt x="1869576" y="377330"/>
                    <a:pt x="1869576" y="449237"/>
                  </a:cubicBezTo>
                  <a:cubicBezTo>
                    <a:pt x="1869576" y="521144"/>
                    <a:pt x="1830690" y="579439"/>
                    <a:pt x="1782723" y="579439"/>
                  </a:cubicBezTo>
                  <a:cubicBezTo>
                    <a:pt x="1734756" y="579439"/>
                    <a:pt x="1695870" y="521144"/>
                    <a:pt x="1695870" y="449237"/>
                  </a:cubicBezTo>
                  <a:cubicBezTo>
                    <a:pt x="1695870" y="377330"/>
                    <a:pt x="1734756" y="319036"/>
                    <a:pt x="1782723" y="319036"/>
                  </a:cubicBezTo>
                  <a:close/>
                  <a:moveTo>
                    <a:pt x="1569490" y="319036"/>
                  </a:moveTo>
                  <a:lnTo>
                    <a:pt x="1569490" y="536803"/>
                  </a:lnTo>
                  <a:lnTo>
                    <a:pt x="1622489" y="536803"/>
                  </a:lnTo>
                  <a:lnTo>
                    <a:pt x="1622489" y="579435"/>
                  </a:lnTo>
                  <a:lnTo>
                    <a:pt x="1460028" y="579435"/>
                  </a:lnTo>
                  <a:lnTo>
                    <a:pt x="1460028" y="537956"/>
                  </a:lnTo>
                  <a:lnTo>
                    <a:pt x="1513030" y="537956"/>
                  </a:lnTo>
                  <a:lnTo>
                    <a:pt x="1513030" y="376646"/>
                  </a:lnTo>
                  <a:lnTo>
                    <a:pt x="1460028" y="385862"/>
                  </a:lnTo>
                  <a:lnTo>
                    <a:pt x="1460028" y="340929"/>
                  </a:lnTo>
                  <a:close/>
                  <a:moveTo>
                    <a:pt x="1333648" y="319036"/>
                  </a:moveTo>
                  <a:lnTo>
                    <a:pt x="1333648" y="536803"/>
                  </a:lnTo>
                  <a:lnTo>
                    <a:pt x="1386646" y="536803"/>
                  </a:lnTo>
                  <a:lnTo>
                    <a:pt x="1386646" y="579435"/>
                  </a:lnTo>
                  <a:lnTo>
                    <a:pt x="1224186" y="579435"/>
                  </a:lnTo>
                  <a:lnTo>
                    <a:pt x="1224186" y="537956"/>
                  </a:lnTo>
                  <a:lnTo>
                    <a:pt x="1277188" y="537956"/>
                  </a:lnTo>
                  <a:lnTo>
                    <a:pt x="1277188" y="376646"/>
                  </a:lnTo>
                  <a:lnTo>
                    <a:pt x="1224186" y="385862"/>
                  </a:lnTo>
                  <a:lnTo>
                    <a:pt x="1224186" y="340929"/>
                  </a:lnTo>
                  <a:close/>
                  <a:moveTo>
                    <a:pt x="1063952" y="319036"/>
                  </a:moveTo>
                  <a:cubicBezTo>
                    <a:pt x="1111922" y="319036"/>
                    <a:pt x="1150804" y="377327"/>
                    <a:pt x="1150804" y="449234"/>
                  </a:cubicBezTo>
                  <a:cubicBezTo>
                    <a:pt x="1150804" y="521144"/>
                    <a:pt x="1111922" y="579435"/>
                    <a:pt x="1063952" y="579435"/>
                  </a:cubicBezTo>
                  <a:cubicBezTo>
                    <a:pt x="1015984" y="579435"/>
                    <a:pt x="977099" y="521144"/>
                    <a:pt x="977099" y="449234"/>
                  </a:cubicBezTo>
                  <a:cubicBezTo>
                    <a:pt x="977099" y="377327"/>
                    <a:pt x="1015984" y="319036"/>
                    <a:pt x="1063952" y="319036"/>
                  </a:cubicBezTo>
                  <a:close/>
                  <a:moveTo>
                    <a:pt x="850719" y="319036"/>
                  </a:moveTo>
                  <a:lnTo>
                    <a:pt x="850719" y="536803"/>
                  </a:lnTo>
                  <a:lnTo>
                    <a:pt x="903718" y="536803"/>
                  </a:lnTo>
                  <a:lnTo>
                    <a:pt x="903718" y="579435"/>
                  </a:lnTo>
                  <a:lnTo>
                    <a:pt x="741257" y="579435"/>
                  </a:lnTo>
                  <a:lnTo>
                    <a:pt x="741257" y="537956"/>
                  </a:lnTo>
                  <a:lnTo>
                    <a:pt x="794259" y="537956"/>
                  </a:lnTo>
                  <a:lnTo>
                    <a:pt x="794259" y="376646"/>
                  </a:lnTo>
                  <a:lnTo>
                    <a:pt x="741257" y="385862"/>
                  </a:lnTo>
                  <a:lnTo>
                    <a:pt x="741257" y="340929"/>
                  </a:lnTo>
                  <a:close/>
                  <a:moveTo>
                    <a:pt x="581023" y="319036"/>
                  </a:moveTo>
                  <a:cubicBezTo>
                    <a:pt x="628994" y="319036"/>
                    <a:pt x="667876" y="377327"/>
                    <a:pt x="667876" y="449234"/>
                  </a:cubicBezTo>
                  <a:cubicBezTo>
                    <a:pt x="667876" y="521144"/>
                    <a:pt x="628994" y="579435"/>
                    <a:pt x="581023" y="579435"/>
                  </a:cubicBezTo>
                  <a:cubicBezTo>
                    <a:pt x="533056" y="579435"/>
                    <a:pt x="494170" y="521144"/>
                    <a:pt x="494170" y="449234"/>
                  </a:cubicBezTo>
                  <a:cubicBezTo>
                    <a:pt x="494170" y="377327"/>
                    <a:pt x="533056" y="319036"/>
                    <a:pt x="581023" y="319036"/>
                  </a:cubicBezTo>
                  <a:close/>
                  <a:moveTo>
                    <a:pt x="333940" y="319036"/>
                  </a:moveTo>
                  <a:cubicBezTo>
                    <a:pt x="381907" y="319036"/>
                    <a:pt x="420792" y="377327"/>
                    <a:pt x="420792" y="449234"/>
                  </a:cubicBezTo>
                  <a:cubicBezTo>
                    <a:pt x="420792" y="521144"/>
                    <a:pt x="381907" y="579435"/>
                    <a:pt x="333940" y="579435"/>
                  </a:cubicBezTo>
                  <a:cubicBezTo>
                    <a:pt x="285969" y="579435"/>
                    <a:pt x="247087" y="521144"/>
                    <a:pt x="247087" y="449234"/>
                  </a:cubicBezTo>
                  <a:cubicBezTo>
                    <a:pt x="247087" y="377327"/>
                    <a:pt x="285969" y="319036"/>
                    <a:pt x="333940" y="319036"/>
                  </a:cubicBezTo>
                  <a:close/>
                  <a:moveTo>
                    <a:pt x="86853" y="319036"/>
                  </a:moveTo>
                  <a:cubicBezTo>
                    <a:pt x="134820" y="319036"/>
                    <a:pt x="173705" y="377327"/>
                    <a:pt x="173705" y="449234"/>
                  </a:cubicBezTo>
                  <a:cubicBezTo>
                    <a:pt x="173705" y="521144"/>
                    <a:pt x="134820" y="579435"/>
                    <a:pt x="86853" y="579435"/>
                  </a:cubicBezTo>
                  <a:cubicBezTo>
                    <a:pt x="38882" y="579435"/>
                    <a:pt x="0" y="521144"/>
                    <a:pt x="0" y="449234"/>
                  </a:cubicBezTo>
                  <a:cubicBezTo>
                    <a:pt x="0" y="377327"/>
                    <a:pt x="38882" y="319036"/>
                    <a:pt x="86853" y="319036"/>
                  </a:cubicBezTo>
                  <a:close/>
                  <a:moveTo>
                    <a:pt x="1787705" y="43504"/>
                  </a:moveTo>
                  <a:cubicBezTo>
                    <a:pt x="1763765" y="43504"/>
                    <a:pt x="1744356" y="82319"/>
                    <a:pt x="1744356" y="130201"/>
                  </a:cubicBezTo>
                  <a:cubicBezTo>
                    <a:pt x="1744356" y="178080"/>
                    <a:pt x="1763765" y="216895"/>
                    <a:pt x="1787705" y="216895"/>
                  </a:cubicBezTo>
                  <a:cubicBezTo>
                    <a:pt x="1811648" y="216895"/>
                    <a:pt x="1831057" y="178080"/>
                    <a:pt x="1831057" y="130201"/>
                  </a:cubicBezTo>
                  <a:cubicBezTo>
                    <a:pt x="1831057" y="82319"/>
                    <a:pt x="1811648" y="43504"/>
                    <a:pt x="1787705" y="43504"/>
                  </a:cubicBezTo>
                  <a:close/>
                  <a:moveTo>
                    <a:pt x="1300143" y="43504"/>
                  </a:moveTo>
                  <a:cubicBezTo>
                    <a:pt x="1276200" y="43504"/>
                    <a:pt x="1256791" y="82319"/>
                    <a:pt x="1256791" y="130201"/>
                  </a:cubicBezTo>
                  <a:cubicBezTo>
                    <a:pt x="1256791" y="178080"/>
                    <a:pt x="1276200" y="216895"/>
                    <a:pt x="1300143" y="216895"/>
                  </a:cubicBezTo>
                  <a:cubicBezTo>
                    <a:pt x="1324083" y="216895"/>
                    <a:pt x="1343492" y="178080"/>
                    <a:pt x="1343492" y="130201"/>
                  </a:cubicBezTo>
                  <a:cubicBezTo>
                    <a:pt x="1343492" y="82319"/>
                    <a:pt x="1324083" y="43504"/>
                    <a:pt x="1300143" y="43504"/>
                  </a:cubicBezTo>
                  <a:close/>
                  <a:moveTo>
                    <a:pt x="812578" y="43504"/>
                  </a:moveTo>
                  <a:cubicBezTo>
                    <a:pt x="788635" y="43504"/>
                    <a:pt x="769226" y="82319"/>
                    <a:pt x="769226" y="130201"/>
                  </a:cubicBezTo>
                  <a:cubicBezTo>
                    <a:pt x="769226" y="178080"/>
                    <a:pt x="788635" y="216895"/>
                    <a:pt x="812578" y="216895"/>
                  </a:cubicBezTo>
                  <a:cubicBezTo>
                    <a:pt x="836518" y="216895"/>
                    <a:pt x="855927" y="178080"/>
                    <a:pt x="855927" y="130201"/>
                  </a:cubicBezTo>
                  <a:cubicBezTo>
                    <a:pt x="855927" y="82319"/>
                    <a:pt x="836518" y="43504"/>
                    <a:pt x="812578" y="43504"/>
                  </a:cubicBezTo>
                  <a:close/>
                  <a:moveTo>
                    <a:pt x="86853" y="43504"/>
                  </a:moveTo>
                  <a:cubicBezTo>
                    <a:pt x="62910" y="43504"/>
                    <a:pt x="43501" y="82319"/>
                    <a:pt x="43501" y="130201"/>
                  </a:cubicBezTo>
                  <a:cubicBezTo>
                    <a:pt x="43501" y="178080"/>
                    <a:pt x="62910" y="216895"/>
                    <a:pt x="86853" y="216895"/>
                  </a:cubicBezTo>
                  <a:cubicBezTo>
                    <a:pt x="110792" y="216895"/>
                    <a:pt x="130202" y="178080"/>
                    <a:pt x="130202" y="130201"/>
                  </a:cubicBezTo>
                  <a:cubicBezTo>
                    <a:pt x="130202" y="82319"/>
                    <a:pt x="110792" y="43504"/>
                    <a:pt x="86853" y="43504"/>
                  </a:cubicBezTo>
                  <a:close/>
                  <a:moveTo>
                    <a:pt x="2297872" y="0"/>
                  </a:moveTo>
                  <a:lnTo>
                    <a:pt x="2297872" y="217767"/>
                  </a:lnTo>
                  <a:lnTo>
                    <a:pt x="2350874" y="217767"/>
                  </a:lnTo>
                  <a:lnTo>
                    <a:pt x="2350874" y="260396"/>
                  </a:lnTo>
                  <a:lnTo>
                    <a:pt x="2188414" y="260396"/>
                  </a:lnTo>
                  <a:lnTo>
                    <a:pt x="2188414" y="218917"/>
                  </a:lnTo>
                  <a:lnTo>
                    <a:pt x="2241412" y="218917"/>
                  </a:lnTo>
                  <a:lnTo>
                    <a:pt x="2241412" y="57610"/>
                  </a:lnTo>
                  <a:lnTo>
                    <a:pt x="2188414" y="66826"/>
                  </a:lnTo>
                  <a:lnTo>
                    <a:pt x="2188414" y="21893"/>
                  </a:lnTo>
                  <a:close/>
                  <a:moveTo>
                    <a:pt x="2059719" y="0"/>
                  </a:moveTo>
                  <a:lnTo>
                    <a:pt x="2059719" y="217767"/>
                  </a:lnTo>
                  <a:lnTo>
                    <a:pt x="2112718" y="217767"/>
                  </a:lnTo>
                  <a:lnTo>
                    <a:pt x="2112718" y="260396"/>
                  </a:lnTo>
                  <a:lnTo>
                    <a:pt x="1950257" y="260396"/>
                  </a:lnTo>
                  <a:lnTo>
                    <a:pt x="1950257" y="218917"/>
                  </a:lnTo>
                  <a:lnTo>
                    <a:pt x="2003259" y="218917"/>
                  </a:lnTo>
                  <a:lnTo>
                    <a:pt x="2003259" y="57610"/>
                  </a:lnTo>
                  <a:lnTo>
                    <a:pt x="1950257" y="66826"/>
                  </a:lnTo>
                  <a:lnTo>
                    <a:pt x="1950257" y="21893"/>
                  </a:lnTo>
                  <a:close/>
                  <a:moveTo>
                    <a:pt x="1787705" y="0"/>
                  </a:moveTo>
                  <a:cubicBezTo>
                    <a:pt x="1835676" y="0"/>
                    <a:pt x="1874558" y="58295"/>
                    <a:pt x="1874558" y="130201"/>
                  </a:cubicBezTo>
                  <a:cubicBezTo>
                    <a:pt x="1874558" y="202108"/>
                    <a:pt x="1835676" y="260403"/>
                    <a:pt x="1787705" y="260403"/>
                  </a:cubicBezTo>
                  <a:cubicBezTo>
                    <a:pt x="1739738" y="260403"/>
                    <a:pt x="1700856" y="202108"/>
                    <a:pt x="1700856" y="130201"/>
                  </a:cubicBezTo>
                  <a:cubicBezTo>
                    <a:pt x="1700856" y="58295"/>
                    <a:pt x="1739738" y="0"/>
                    <a:pt x="1787705" y="0"/>
                  </a:cubicBezTo>
                  <a:close/>
                  <a:moveTo>
                    <a:pt x="1572154" y="0"/>
                  </a:moveTo>
                  <a:lnTo>
                    <a:pt x="1572154" y="217767"/>
                  </a:lnTo>
                  <a:lnTo>
                    <a:pt x="1625156" y="217767"/>
                  </a:lnTo>
                  <a:lnTo>
                    <a:pt x="1625156" y="260396"/>
                  </a:lnTo>
                  <a:lnTo>
                    <a:pt x="1462692" y="260396"/>
                  </a:lnTo>
                  <a:lnTo>
                    <a:pt x="1462692" y="218917"/>
                  </a:lnTo>
                  <a:lnTo>
                    <a:pt x="1515698" y="218917"/>
                  </a:lnTo>
                  <a:lnTo>
                    <a:pt x="1515698" y="57610"/>
                  </a:lnTo>
                  <a:lnTo>
                    <a:pt x="1462692" y="66826"/>
                  </a:lnTo>
                  <a:lnTo>
                    <a:pt x="1462692" y="21893"/>
                  </a:lnTo>
                  <a:close/>
                  <a:moveTo>
                    <a:pt x="1300143" y="0"/>
                  </a:moveTo>
                  <a:cubicBezTo>
                    <a:pt x="1348110" y="0"/>
                    <a:pt x="1386996" y="58295"/>
                    <a:pt x="1386996" y="130201"/>
                  </a:cubicBezTo>
                  <a:cubicBezTo>
                    <a:pt x="1386996" y="202108"/>
                    <a:pt x="1348110" y="260403"/>
                    <a:pt x="1300143" y="260403"/>
                  </a:cubicBezTo>
                  <a:cubicBezTo>
                    <a:pt x="1252172" y="260403"/>
                    <a:pt x="1213291" y="202108"/>
                    <a:pt x="1213291" y="130201"/>
                  </a:cubicBezTo>
                  <a:cubicBezTo>
                    <a:pt x="1213291" y="58295"/>
                    <a:pt x="1252172" y="0"/>
                    <a:pt x="1300143" y="0"/>
                  </a:cubicBezTo>
                  <a:close/>
                  <a:moveTo>
                    <a:pt x="1084589" y="0"/>
                  </a:moveTo>
                  <a:lnTo>
                    <a:pt x="1084589" y="217767"/>
                  </a:lnTo>
                  <a:lnTo>
                    <a:pt x="1137591" y="217767"/>
                  </a:lnTo>
                  <a:lnTo>
                    <a:pt x="1137591" y="260396"/>
                  </a:lnTo>
                  <a:lnTo>
                    <a:pt x="975130" y="260396"/>
                  </a:lnTo>
                  <a:lnTo>
                    <a:pt x="975130" y="218917"/>
                  </a:lnTo>
                  <a:lnTo>
                    <a:pt x="1028132" y="218917"/>
                  </a:lnTo>
                  <a:lnTo>
                    <a:pt x="1028132" y="57610"/>
                  </a:lnTo>
                  <a:lnTo>
                    <a:pt x="975130" y="66826"/>
                  </a:lnTo>
                  <a:lnTo>
                    <a:pt x="975130" y="21893"/>
                  </a:lnTo>
                  <a:close/>
                  <a:moveTo>
                    <a:pt x="812578" y="0"/>
                  </a:moveTo>
                  <a:cubicBezTo>
                    <a:pt x="860545" y="0"/>
                    <a:pt x="899431" y="58295"/>
                    <a:pt x="899431" y="130201"/>
                  </a:cubicBezTo>
                  <a:cubicBezTo>
                    <a:pt x="899431" y="202108"/>
                    <a:pt x="860545" y="260403"/>
                    <a:pt x="812578" y="260403"/>
                  </a:cubicBezTo>
                  <a:cubicBezTo>
                    <a:pt x="764607" y="260403"/>
                    <a:pt x="725726" y="202108"/>
                    <a:pt x="725726" y="130201"/>
                  </a:cubicBezTo>
                  <a:cubicBezTo>
                    <a:pt x="725726" y="58295"/>
                    <a:pt x="764607" y="0"/>
                    <a:pt x="812578" y="0"/>
                  </a:cubicBezTo>
                  <a:close/>
                  <a:moveTo>
                    <a:pt x="597024" y="0"/>
                  </a:moveTo>
                  <a:lnTo>
                    <a:pt x="597024" y="217767"/>
                  </a:lnTo>
                  <a:lnTo>
                    <a:pt x="650026" y="217767"/>
                  </a:lnTo>
                  <a:lnTo>
                    <a:pt x="650026" y="260396"/>
                  </a:lnTo>
                  <a:lnTo>
                    <a:pt x="487565" y="260396"/>
                  </a:lnTo>
                  <a:lnTo>
                    <a:pt x="487565" y="218917"/>
                  </a:lnTo>
                  <a:lnTo>
                    <a:pt x="540568" y="218917"/>
                  </a:lnTo>
                  <a:lnTo>
                    <a:pt x="540568" y="57610"/>
                  </a:lnTo>
                  <a:lnTo>
                    <a:pt x="487565" y="66826"/>
                  </a:lnTo>
                  <a:lnTo>
                    <a:pt x="487565" y="21893"/>
                  </a:lnTo>
                  <a:close/>
                  <a:moveTo>
                    <a:pt x="358864" y="0"/>
                  </a:moveTo>
                  <a:lnTo>
                    <a:pt x="358864" y="217767"/>
                  </a:lnTo>
                  <a:lnTo>
                    <a:pt x="411866" y="217767"/>
                  </a:lnTo>
                  <a:lnTo>
                    <a:pt x="411866" y="260396"/>
                  </a:lnTo>
                  <a:lnTo>
                    <a:pt x="249405" y="260396"/>
                  </a:lnTo>
                  <a:lnTo>
                    <a:pt x="249405" y="218917"/>
                  </a:lnTo>
                  <a:lnTo>
                    <a:pt x="302407" y="218917"/>
                  </a:lnTo>
                  <a:lnTo>
                    <a:pt x="302407" y="57610"/>
                  </a:lnTo>
                  <a:lnTo>
                    <a:pt x="249405" y="66826"/>
                  </a:lnTo>
                  <a:lnTo>
                    <a:pt x="249405" y="21893"/>
                  </a:lnTo>
                  <a:close/>
                  <a:moveTo>
                    <a:pt x="86853" y="0"/>
                  </a:moveTo>
                  <a:cubicBezTo>
                    <a:pt x="134820" y="0"/>
                    <a:pt x="173705" y="58295"/>
                    <a:pt x="173705" y="130201"/>
                  </a:cubicBezTo>
                  <a:cubicBezTo>
                    <a:pt x="173705" y="202108"/>
                    <a:pt x="134820" y="260403"/>
                    <a:pt x="86853" y="260403"/>
                  </a:cubicBezTo>
                  <a:cubicBezTo>
                    <a:pt x="38882" y="260403"/>
                    <a:pt x="0" y="202108"/>
                    <a:pt x="0" y="130201"/>
                  </a:cubicBezTo>
                  <a:cubicBezTo>
                    <a:pt x="0" y="58295"/>
                    <a:pt x="38882" y="0"/>
                    <a:pt x="86853"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a:endParaRPr lang="en-US" sz="1199" dirty="0" err="1">
                <a:solidFill>
                  <a:schemeClr val="tx1"/>
                </a:solidFill>
              </a:endParaRPr>
            </a:p>
          </p:txBody>
        </p:sp>
        <p:grpSp>
          <p:nvGrpSpPr>
            <p:cNvPr id="24" name="Group 23"/>
            <p:cNvGrpSpPr/>
            <p:nvPr/>
          </p:nvGrpSpPr>
          <p:grpSpPr>
            <a:xfrm>
              <a:off x="5067291" y="2611215"/>
              <a:ext cx="2322107" cy="1114794"/>
              <a:chOff x="8537728" y="2856113"/>
              <a:chExt cx="2322107" cy="1114794"/>
            </a:xfrm>
          </p:grpSpPr>
          <p:sp>
            <p:nvSpPr>
              <p:cNvPr id="11" name="TextBox 10"/>
              <p:cNvSpPr txBox="1"/>
              <p:nvPr/>
            </p:nvSpPr>
            <p:spPr>
              <a:xfrm>
                <a:off x="8560020" y="3405931"/>
                <a:ext cx="1278684" cy="564976"/>
              </a:xfrm>
              <a:prstGeom prst="rect">
                <a:avLst/>
              </a:prstGeom>
              <a:noFill/>
            </p:spPr>
            <p:txBody>
              <a:bodyPr wrap="none" lIns="0" tIns="0" rIns="0" bIns="0" rtlCol="0">
                <a:spAutoFit/>
              </a:bodyPr>
              <a:lstStyle/>
              <a:p>
                <a:pPr>
                  <a:lnSpc>
                    <a:spcPct val="90000"/>
                  </a:lnSpc>
                  <a:spcAft>
                    <a:spcPts val="600"/>
                  </a:spcAft>
                </a:pPr>
                <a:r>
                  <a:rPr lang="en-US" sz="3999" spc="500" dirty="0"/>
                  <a:t>data</a:t>
                </a:r>
              </a:p>
            </p:txBody>
          </p:sp>
          <p:sp>
            <p:nvSpPr>
              <p:cNvPr id="205" name="TextBox 204"/>
              <p:cNvSpPr txBox="1"/>
              <p:nvPr/>
            </p:nvSpPr>
            <p:spPr>
              <a:xfrm>
                <a:off x="9611433" y="3196472"/>
                <a:ext cx="1248402" cy="339064"/>
              </a:xfrm>
              <a:prstGeom prst="rect">
                <a:avLst/>
              </a:prstGeom>
              <a:noFill/>
            </p:spPr>
            <p:txBody>
              <a:bodyPr wrap="none" lIns="0" tIns="0" rIns="0" bIns="0" rtlCol="0">
                <a:spAutoFit/>
              </a:bodyPr>
              <a:lstStyle/>
              <a:p>
                <a:pPr>
                  <a:lnSpc>
                    <a:spcPct val="90000"/>
                  </a:lnSpc>
                  <a:spcAft>
                    <a:spcPts val="600"/>
                  </a:spcAft>
                </a:pPr>
                <a:r>
                  <a:rPr lang="en-US" sz="2400" dirty="0"/>
                  <a:t>database</a:t>
                </a:r>
              </a:p>
            </p:txBody>
          </p:sp>
          <p:sp>
            <p:nvSpPr>
              <p:cNvPr id="206" name="TextBox 205"/>
              <p:cNvSpPr txBox="1"/>
              <p:nvPr/>
            </p:nvSpPr>
            <p:spPr>
              <a:xfrm>
                <a:off x="9530474" y="2972092"/>
                <a:ext cx="1316489" cy="254298"/>
              </a:xfrm>
              <a:prstGeom prst="rect">
                <a:avLst/>
              </a:prstGeom>
              <a:noFill/>
            </p:spPr>
            <p:txBody>
              <a:bodyPr wrap="none" lIns="0" tIns="0" rIns="0" bIns="0" rtlCol="0">
                <a:spAutoFit/>
              </a:bodyPr>
              <a:lstStyle/>
              <a:p>
                <a:pPr>
                  <a:lnSpc>
                    <a:spcPct val="90000"/>
                  </a:lnSpc>
                  <a:spcAft>
                    <a:spcPts val="600"/>
                  </a:spcAft>
                </a:pPr>
                <a:r>
                  <a:rPr lang="en-US" dirty="0"/>
                  <a:t>compression</a:t>
                </a:r>
              </a:p>
            </p:txBody>
          </p:sp>
          <p:sp>
            <p:nvSpPr>
              <p:cNvPr id="207" name="TextBox 206"/>
              <p:cNvSpPr txBox="1"/>
              <p:nvPr/>
            </p:nvSpPr>
            <p:spPr>
              <a:xfrm>
                <a:off x="8743247" y="3164633"/>
                <a:ext cx="885595" cy="282554"/>
              </a:xfrm>
              <a:prstGeom prst="rect">
                <a:avLst/>
              </a:prstGeom>
              <a:noFill/>
            </p:spPr>
            <p:txBody>
              <a:bodyPr wrap="none" lIns="0" tIns="0" rIns="0" bIns="0" rtlCol="0">
                <a:spAutoFit/>
              </a:bodyPr>
              <a:lstStyle/>
              <a:p>
                <a:pPr>
                  <a:lnSpc>
                    <a:spcPct val="90000"/>
                  </a:lnSpc>
                  <a:spcAft>
                    <a:spcPts val="600"/>
                  </a:spcAft>
                </a:pPr>
                <a:r>
                  <a:rPr lang="en-US" sz="2000" dirty="0"/>
                  <a:t>Storage</a:t>
                </a:r>
              </a:p>
            </p:txBody>
          </p:sp>
          <p:sp>
            <p:nvSpPr>
              <p:cNvPr id="208" name="TextBox 207"/>
              <p:cNvSpPr txBox="1"/>
              <p:nvPr/>
            </p:nvSpPr>
            <p:spPr>
              <a:xfrm>
                <a:off x="8560020" y="3450062"/>
                <a:ext cx="230556" cy="141276"/>
              </a:xfrm>
              <a:prstGeom prst="rect">
                <a:avLst/>
              </a:prstGeom>
              <a:noFill/>
            </p:spPr>
            <p:txBody>
              <a:bodyPr wrap="none" lIns="0" tIns="0" rIns="0" bIns="0" rtlCol="0">
                <a:spAutoFit/>
              </a:bodyPr>
              <a:lstStyle/>
              <a:p>
                <a:pPr>
                  <a:lnSpc>
                    <a:spcPct val="90000"/>
                  </a:lnSpc>
                  <a:spcAft>
                    <a:spcPts val="600"/>
                  </a:spcAft>
                </a:pPr>
                <a:r>
                  <a:rPr lang="en-US" sz="1000" dirty="0"/>
                  <a:t>SQL</a:t>
                </a:r>
              </a:p>
            </p:txBody>
          </p:sp>
          <p:sp>
            <p:nvSpPr>
              <p:cNvPr id="209" name="TextBox 208"/>
              <p:cNvSpPr txBox="1"/>
              <p:nvPr/>
            </p:nvSpPr>
            <p:spPr>
              <a:xfrm>
                <a:off x="8826649" y="3450062"/>
                <a:ext cx="475828" cy="141276"/>
              </a:xfrm>
              <a:prstGeom prst="rect">
                <a:avLst/>
              </a:prstGeom>
              <a:noFill/>
            </p:spPr>
            <p:txBody>
              <a:bodyPr wrap="none" lIns="0" tIns="0" rIns="0" bIns="0" rtlCol="0">
                <a:spAutoFit/>
              </a:bodyPr>
              <a:lstStyle/>
              <a:p>
                <a:pPr>
                  <a:lnSpc>
                    <a:spcPct val="90000"/>
                  </a:lnSpc>
                  <a:spcAft>
                    <a:spcPts val="600"/>
                  </a:spcAft>
                </a:pPr>
                <a:r>
                  <a:rPr lang="en-US" sz="1000" dirty="0"/>
                  <a:t>big data</a:t>
                </a:r>
              </a:p>
            </p:txBody>
          </p:sp>
          <p:sp>
            <p:nvSpPr>
              <p:cNvPr id="210" name="TextBox 209"/>
              <p:cNvSpPr txBox="1"/>
              <p:nvPr/>
            </p:nvSpPr>
            <p:spPr>
              <a:xfrm>
                <a:off x="9399365" y="3450062"/>
                <a:ext cx="237097" cy="141276"/>
              </a:xfrm>
              <a:prstGeom prst="rect">
                <a:avLst/>
              </a:prstGeom>
              <a:noFill/>
            </p:spPr>
            <p:txBody>
              <a:bodyPr wrap="none" lIns="0" tIns="0" rIns="0" bIns="0" rtlCol="0">
                <a:spAutoFit/>
              </a:bodyPr>
              <a:lstStyle/>
              <a:p>
                <a:pPr>
                  <a:lnSpc>
                    <a:spcPct val="90000"/>
                  </a:lnSpc>
                  <a:spcAft>
                    <a:spcPts val="600"/>
                  </a:spcAft>
                </a:pPr>
                <a:r>
                  <a:rPr lang="en-US" sz="1000" dirty="0"/>
                  <a:t>new</a:t>
                </a:r>
              </a:p>
            </p:txBody>
          </p:sp>
          <p:sp>
            <p:nvSpPr>
              <p:cNvPr id="211" name="TextBox 210"/>
              <p:cNvSpPr txBox="1"/>
              <p:nvPr/>
            </p:nvSpPr>
            <p:spPr>
              <a:xfrm>
                <a:off x="10498880" y="2856113"/>
                <a:ext cx="328665" cy="141276"/>
              </a:xfrm>
              <a:prstGeom prst="rect">
                <a:avLst/>
              </a:prstGeom>
              <a:noFill/>
            </p:spPr>
            <p:txBody>
              <a:bodyPr wrap="none" lIns="0" tIns="0" rIns="0" bIns="0" rtlCol="0">
                <a:spAutoFit/>
              </a:bodyPr>
              <a:lstStyle/>
              <a:p>
                <a:pPr>
                  <a:lnSpc>
                    <a:spcPct val="90000"/>
                  </a:lnSpc>
                  <a:spcAft>
                    <a:spcPts val="600"/>
                  </a:spcAft>
                </a:pPr>
                <a:r>
                  <a:rPr lang="en-US" sz="1000" dirty="0"/>
                  <a:t>query</a:t>
                </a:r>
              </a:p>
            </p:txBody>
          </p:sp>
          <p:sp>
            <p:nvSpPr>
              <p:cNvPr id="212" name="TextBox 211"/>
              <p:cNvSpPr txBox="1"/>
              <p:nvPr/>
            </p:nvSpPr>
            <p:spPr>
              <a:xfrm>
                <a:off x="8969562" y="3073522"/>
                <a:ext cx="523247" cy="141276"/>
              </a:xfrm>
              <a:prstGeom prst="rect">
                <a:avLst/>
              </a:prstGeom>
              <a:noFill/>
            </p:spPr>
            <p:txBody>
              <a:bodyPr wrap="none" lIns="0" tIns="0" rIns="0" bIns="0" rtlCol="0">
                <a:spAutoFit/>
              </a:bodyPr>
              <a:lstStyle/>
              <a:p>
                <a:pPr>
                  <a:lnSpc>
                    <a:spcPct val="90000"/>
                  </a:lnSpc>
                  <a:spcAft>
                    <a:spcPts val="600"/>
                  </a:spcAft>
                </a:pPr>
                <a:r>
                  <a:rPr lang="en-US" sz="1000" dirty="0"/>
                  <a:t>database</a:t>
                </a:r>
              </a:p>
            </p:txBody>
          </p:sp>
          <p:sp>
            <p:nvSpPr>
              <p:cNvPr id="213" name="TextBox 212"/>
              <p:cNvSpPr txBox="1"/>
              <p:nvPr/>
            </p:nvSpPr>
            <p:spPr>
              <a:xfrm>
                <a:off x="10140434" y="2856113"/>
                <a:ext cx="237097" cy="141276"/>
              </a:xfrm>
              <a:prstGeom prst="rect">
                <a:avLst/>
              </a:prstGeom>
              <a:noFill/>
            </p:spPr>
            <p:txBody>
              <a:bodyPr wrap="none" lIns="0" tIns="0" rIns="0" bIns="0" rtlCol="0">
                <a:spAutoFit/>
              </a:bodyPr>
              <a:lstStyle/>
              <a:p>
                <a:pPr>
                  <a:lnSpc>
                    <a:spcPct val="90000"/>
                  </a:lnSpc>
                  <a:spcAft>
                    <a:spcPts val="600"/>
                  </a:spcAft>
                </a:pPr>
                <a:r>
                  <a:rPr lang="en-US" sz="1000" dirty="0"/>
                  <a:t>new</a:t>
                </a:r>
              </a:p>
            </p:txBody>
          </p:sp>
          <p:sp>
            <p:nvSpPr>
              <p:cNvPr id="214" name="TextBox 213"/>
              <p:cNvSpPr txBox="1"/>
              <p:nvPr/>
            </p:nvSpPr>
            <p:spPr>
              <a:xfrm>
                <a:off x="8537728" y="3051002"/>
                <a:ext cx="397341" cy="141276"/>
              </a:xfrm>
              <a:prstGeom prst="rect">
                <a:avLst/>
              </a:prstGeom>
              <a:noFill/>
            </p:spPr>
            <p:txBody>
              <a:bodyPr wrap="none" lIns="0" tIns="0" rIns="0" bIns="0" rtlCol="0">
                <a:spAutoFit/>
              </a:bodyPr>
              <a:lstStyle/>
              <a:p>
                <a:pPr>
                  <a:lnSpc>
                    <a:spcPct val="90000"/>
                  </a:lnSpc>
                  <a:spcAft>
                    <a:spcPts val="600"/>
                  </a:spcAft>
                </a:pPr>
                <a:r>
                  <a:rPr lang="en-US" sz="1000" dirty="0"/>
                  <a:t>mobile</a:t>
                </a:r>
              </a:p>
            </p:txBody>
          </p:sp>
          <p:sp>
            <p:nvSpPr>
              <p:cNvPr id="215" name="TextBox 214"/>
              <p:cNvSpPr txBox="1"/>
              <p:nvPr/>
            </p:nvSpPr>
            <p:spPr>
              <a:xfrm>
                <a:off x="9735763" y="3494005"/>
                <a:ext cx="621356" cy="141276"/>
              </a:xfrm>
              <a:prstGeom prst="rect">
                <a:avLst/>
              </a:prstGeom>
              <a:noFill/>
            </p:spPr>
            <p:txBody>
              <a:bodyPr wrap="none" lIns="0" tIns="0" rIns="0" bIns="0" rtlCol="0">
                <a:spAutoFit/>
              </a:bodyPr>
              <a:lstStyle/>
              <a:p>
                <a:pPr>
                  <a:lnSpc>
                    <a:spcPct val="90000"/>
                  </a:lnSpc>
                  <a:spcAft>
                    <a:spcPts val="600"/>
                  </a:spcAft>
                </a:pPr>
                <a:r>
                  <a:rPr lang="en-US" sz="1000" dirty="0"/>
                  <a:t>processing</a:t>
                </a:r>
              </a:p>
            </p:txBody>
          </p:sp>
          <p:sp>
            <p:nvSpPr>
              <p:cNvPr id="216" name="TextBox 215"/>
              <p:cNvSpPr txBox="1"/>
              <p:nvPr/>
            </p:nvSpPr>
            <p:spPr>
              <a:xfrm>
                <a:off x="9407147" y="2871259"/>
                <a:ext cx="645884" cy="141276"/>
              </a:xfrm>
              <a:prstGeom prst="rect">
                <a:avLst/>
              </a:prstGeom>
              <a:noFill/>
            </p:spPr>
            <p:txBody>
              <a:bodyPr wrap="none" lIns="0" tIns="0" rIns="0" bIns="0" rtlCol="0">
                <a:spAutoFit/>
              </a:bodyPr>
              <a:lstStyle/>
              <a:p>
                <a:pPr>
                  <a:lnSpc>
                    <a:spcPct val="90000"/>
                  </a:lnSpc>
                  <a:spcAft>
                    <a:spcPts val="600"/>
                  </a:spcAft>
                </a:pPr>
                <a:r>
                  <a:rPr lang="en-US" sz="1000" dirty="0"/>
                  <a:t>technology</a:t>
                </a:r>
              </a:p>
            </p:txBody>
          </p:sp>
        </p:grpSp>
        <p:grpSp>
          <p:nvGrpSpPr>
            <p:cNvPr id="202" name="Group 201"/>
            <p:cNvGrpSpPr/>
            <p:nvPr/>
          </p:nvGrpSpPr>
          <p:grpSpPr>
            <a:xfrm>
              <a:off x="3395904" y="1783460"/>
              <a:ext cx="1117158" cy="646332"/>
              <a:chOff x="2235378" y="5130504"/>
              <a:chExt cx="3980327" cy="2302824"/>
            </a:xfrm>
          </p:grpSpPr>
          <p:sp>
            <p:nvSpPr>
              <p:cNvPr id="203" name="Freeform 202"/>
              <p:cNvSpPr/>
              <p:nvPr/>
            </p:nvSpPr>
            <p:spPr bwMode="auto">
              <a:xfrm>
                <a:off x="2235378" y="5310917"/>
                <a:ext cx="605928" cy="557651"/>
              </a:xfrm>
              <a:custGeom>
                <a:avLst/>
                <a:gdLst>
                  <a:gd name="connsiteX0" fmla="*/ 495300 w 895350"/>
                  <a:gd name="connsiteY0" fmla="*/ 0 h 742950"/>
                  <a:gd name="connsiteX1" fmla="*/ 895350 w 895350"/>
                  <a:gd name="connsiteY1" fmla="*/ 171450 h 742950"/>
                  <a:gd name="connsiteX2" fmla="*/ 733425 w 895350"/>
                  <a:gd name="connsiteY2" fmla="*/ 742950 h 742950"/>
                  <a:gd name="connsiteX3" fmla="*/ 219075 w 895350"/>
                  <a:gd name="connsiteY3" fmla="*/ 476250 h 742950"/>
                  <a:gd name="connsiteX4" fmla="*/ 190500 w 895350"/>
                  <a:gd name="connsiteY4" fmla="*/ 361950 h 742950"/>
                  <a:gd name="connsiteX5" fmla="*/ 0 w 895350"/>
                  <a:gd name="connsiteY5" fmla="*/ 133350 h 742950"/>
                  <a:gd name="connsiteX6" fmla="*/ 285750 w 895350"/>
                  <a:gd name="connsiteY6" fmla="*/ 114300 h 742950"/>
                  <a:gd name="connsiteX7" fmla="*/ 495300 w 895350"/>
                  <a:gd name="connsiteY7" fmla="*/ 0 h 742950"/>
                  <a:gd name="connsiteX0" fmla="*/ 495300 w 895350"/>
                  <a:gd name="connsiteY0" fmla="*/ 0 h 742950"/>
                  <a:gd name="connsiteX1" fmla="*/ 895350 w 895350"/>
                  <a:gd name="connsiteY1" fmla="*/ 171450 h 742950"/>
                  <a:gd name="connsiteX2" fmla="*/ 733425 w 895350"/>
                  <a:gd name="connsiteY2" fmla="*/ 742950 h 742950"/>
                  <a:gd name="connsiteX3" fmla="*/ 219075 w 895350"/>
                  <a:gd name="connsiteY3" fmla="*/ 476250 h 742950"/>
                  <a:gd name="connsiteX4" fmla="*/ 190500 w 895350"/>
                  <a:gd name="connsiteY4" fmla="*/ 361950 h 742950"/>
                  <a:gd name="connsiteX5" fmla="*/ 0 w 895350"/>
                  <a:gd name="connsiteY5" fmla="*/ 133350 h 742950"/>
                  <a:gd name="connsiteX6" fmla="*/ 285750 w 895350"/>
                  <a:gd name="connsiteY6" fmla="*/ 114300 h 742950"/>
                  <a:gd name="connsiteX7" fmla="*/ 495300 w 895350"/>
                  <a:gd name="connsiteY7" fmla="*/ 0 h 742950"/>
                  <a:gd name="connsiteX0" fmla="*/ 495300 w 895350"/>
                  <a:gd name="connsiteY0" fmla="*/ 0 h 742950"/>
                  <a:gd name="connsiteX1" fmla="*/ 895350 w 895350"/>
                  <a:gd name="connsiteY1" fmla="*/ 171450 h 742950"/>
                  <a:gd name="connsiteX2" fmla="*/ 733425 w 895350"/>
                  <a:gd name="connsiteY2" fmla="*/ 742950 h 742950"/>
                  <a:gd name="connsiteX3" fmla="*/ 219075 w 895350"/>
                  <a:gd name="connsiteY3" fmla="*/ 476250 h 742950"/>
                  <a:gd name="connsiteX4" fmla="*/ 190500 w 895350"/>
                  <a:gd name="connsiteY4" fmla="*/ 361950 h 742950"/>
                  <a:gd name="connsiteX5" fmla="*/ 0 w 895350"/>
                  <a:gd name="connsiteY5" fmla="*/ 133350 h 742950"/>
                  <a:gd name="connsiteX6" fmla="*/ 285750 w 895350"/>
                  <a:gd name="connsiteY6" fmla="*/ 114300 h 742950"/>
                  <a:gd name="connsiteX7" fmla="*/ 495300 w 895350"/>
                  <a:gd name="connsiteY7" fmla="*/ 0 h 742950"/>
                  <a:gd name="connsiteX0" fmla="*/ 504825 w 904875"/>
                  <a:gd name="connsiteY0" fmla="*/ 0 h 742950"/>
                  <a:gd name="connsiteX1" fmla="*/ 904875 w 904875"/>
                  <a:gd name="connsiteY1" fmla="*/ 171450 h 742950"/>
                  <a:gd name="connsiteX2" fmla="*/ 742950 w 904875"/>
                  <a:gd name="connsiteY2" fmla="*/ 742950 h 742950"/>
                  <a:gd name="connsiteX3" fmla="*/ 228600 w 904875"/>
                  <a:gd name="connsiteY3" fmla="*/ 476250 h 742950"/>
                  <a:gd name="connsiteX4" fmla="*/ 200025 w 904875"/>
                  <a:gd name="connsiteY4" fmla="*/ 361950 h 742950"/>
                  <a:gd name="connsiteX5" fmla="*/ 0 w 904875"/>
                  <a:gd name="connsiteY5" fmla="*/ 150019 h 742950"/>
                  <a:gd name="connsiteX6" fmla="*/ 295275 w 904875"/>
                  <a:gd name="connsiteY6" fmla="*/ 114300 h 742950"/>
                  <a:gd name="connsiteX7" fmla="*/ 504825 w 904875"/>
                  <a:gd name="connsiteY7" fmla="*/ 0 h 742950"/>
                  <a:gd name="connsiteX0" fmla="*/ 504825 w 904875"/>
                  <a:gd name="connsiteY0" fmla="*/ 0 h 742950"/>
                  <a:gd name="connsiteX1" fmla="*/ 904875 w 904875"/>
                  <a:gd name="connsiteY1" fmla="*/ 171450 h 742950"/>
                  <a:gd name="connsiteX2" fmla="*/ 742950 w 904875"/>
                  <a:gd name="connsiteY2" fmla="*/ 742950 h 742950"/>
                  <a:gd name="connsiteX3" fmla="*/ 228600 w 904875"/>
                  <a:gd name="connsiteY3" fmla="*/ 476250 h 742950"/>
                  <a:gd name="connsiteX4" fmla="*/ 200025 w 904875"/>
                  <a:gd name="connsiteY4" fmla="*/ 361950 h 742950"/>
                  <a:gd name="connsiteX5" fmla="*/ 0 w 904875"/>
                  <a:gd name="connsiteY5" fmla="*/ 150019 h 742950"/>
                  <a:gd name="connsiteX6" fmla="*/ 304800 w 904875"/>
                  <a:gd name="connsiteY6" fmla="*/ 100012 h 742950"/>
                  <a:gd name="connsiteX7" fmla="*/ 504825 w 904875"/>
                  <a:gd name="connsiteY7" fmla="*/ 0 h 742950"/>
                  <a:gd name="connsiteX0" fmla="*/ 504825 w 904875"/>
                  <a:gd name="connsiteY0" fmla="*/ 0 h 742950"/>
                  <a:gd name="connsiteX1" fmla="*/ 904875 w 904875"/>
                  <a:gd name="connsiteY1" fmla="*/ 171450 h 742950"/>
                  <a:gd name="connsiteX2" fmla="*/ 742950 w 904875"/>
                  <a:gd name="connsiteY2" fmla="*/ 742950 h 742950"/>
                  <a:gd name="connsiteX3" fmla="*/ 228600 w 904875"/>
                  <a:gd name="connsiteY3" fmla="*/ 476250 h 742950"/>
                  <a:gd name="connsiteX4" fmla="*/ 200025 w 904875"/>
                  <a:gd name="connsiteY4" fmla="*/ 361950 h 742950"/>
                  <a:gd name="connsiteX5" fmla="*/ 0 w 904875"/>
                  <a:gd name="connsiteY5" fmla="*/ 150019 h 742950"/>
                  <a:gd name="connsiteX6" fmla="*/ 304800 w 904875"/>
                  <a:gd name="connsiteY6" fmla="*/ 100012 h 742950"/>
                  <a:gd name="connsiteX7" fmla="*/ 504825 w 904875"/>
                  <a:gd name="connsiteY7" fmla="*/ 0 h 742950"/>
                  <a:gd name="connsiteX0" fmla="*/ 504825 w 919163"/>
                  <a:gd name="connsiteY0" fmla="*/ 0 h 742950"/>
                  <a:gd name="connsiteX1" fmla="*/ 919163 w 919163"/>
                  <a:gd name="connsiteY1" fmla="*/ 140494 h 742950"/>
                  <a:gd name="connsiteX2" fmla="*/ 742950 w 919163"/>
                  <a:gd name="connsiteY2" fmla="*/ 742950 h 742950"/>
                  <a:gd name="connsiteX3" fmla="*/ 228600 w 919163"/>
                  <a:gd name="connsiteY3" fmla="*/ 476250 h 742950"/>
                  <a:gd name="connsiteX4" fmla="*/ 200025 w 919163"/>
                  <a:gd name="connsiteY4" fmla="*/ 361950 h 742950"/>
                  <a:gd name="connsiteX5" fmla="*/ 0 w 919163"/>
                  <a:gd name="connsiteY5" fmla="*/ 150019 h 742950"/>
                  <a:gd name="connsiteX6" fmla="*/ 304800 w 919163"/>
                  <a:gd name="connsiteY6" fmla="*/ 100012 h 742950"/>
                  <a:gd name="connsiteX7" fmla="*/ 504825 w 919163"/>
                  <a:gd name="connsiteY7" fmla="*/ 0 h 742950"/>
                  <a:gd name="connsiteX0" fmla="*/ 504825 w 919163"/>
                  <a:gd name="connsiteY0" fmla="*/ 0 h 742950"/>
                  <a:gd name="connsiteX1" fmla="*/ 919163 w 919163"/>
                  <a:gd name="connsiteY1" fmla="*/ 140494 h 742950"/>
                  <a:gd name="connsiteX2" fmla="*/ 742950 w 919163"/>
                  <a:gd name="connsiteY2" fmla="*/ 742950 h 742950"/>
                  <a:gd name="connsiteX3" fmla="*/ 228600 w 919163"/>
                  <a:gd name="connsiteY3" fmla="*/ 476250 h 742950"/>
                  <a:gd name="connsiteX4" fmla="*/ 200025 w 919163"/>
                  <a:gd name="connsiteY4" fmla="*/ 361950 h 742950"/>
                  <a:gd name="connsiteX5" fmla="*/ 0 w 919163"/>
                  <a:gd name="connsiteY5" fmla="*/ 150019 h 742950"/>
                  <a:gd name="connsiteX6" fmla="*/ 304800 w 919163"/>
                  <a:gd name="connsiteY6" fmla="*/ 100012 h 742950"/>
                  <a:gd name="connsiteX7" fmla="*/ 504825 w 919163"/>
                  <a:gd name="connsiteY7" fmla="*/ 0 h 742950"/>
                  <a:gd name="connsiteX0" fmla="*/ 504825 w 919163"/>
                  <a:gd name="connsiteY0" fmla="*/ 0 h 742950"/>
                  <a:gd name="connsiteX1" fmla="*/ 919163 w 919163"/>
                  <a:gd name="connsiteY1" fmla="*/ 140494 h 742950"/>
                  <a:gd name="connsiteX2" fmla="*/ 742950 w 919163"/>
                  <a:gd name="connsiteY2" fmla="*/ 742950 h 742950"/>
                  <a:gd name="connsiteX3" fmla="*/ 292895 w 919163"/>
                  <a:gd name="connsiteY3" fmla="*/ 581025 h 742950"/>
                  <a:gd name="connsiteX4" fmla="*/ 228600 w 919163"/>
                  <a:gd name="connsiteY4" fmla="*/ 476250 h 742950"/>
                  <a:gd name="connsiteX5" fmla="*/ 200025 w 919163"/>
                  <a:gd name="connsiteY5" fmla="*/ 361950 h 742950"/>
                  <a:gd name="connsiteX6" fmla="*/ 0 w 919163"/>
                  <a:gd name="connsiteY6" fmla="*/ 150019 h 742950"/>
                  <a:gd name="connsiteX7" fmla="*/ 304800 w 919163"/>
                  <a:gd name="connsiteY7" fmla="*/ 100012 h 742950"/>
                  <a:gd name="connsiteX8" fmla="*/ 504825 w 919163"/>
                  <a:gd name="connsiteY8" fmla="*/ 0 h 742950"/>
                  <a:gd name="connsiteX0" fmla="*/ 504825 w 919163"/>
                  <a:gd name="connsiteY0" fmla="*/ 0 h 742950"/>
                  <a:gd name="connsiteX1" fmla="*/ 919163 w 919163"/>
                  <a:gd name="connsiteY1" fmla="*/ 140494 h 742950"/>
                  <a:gd name="connsiteX2" fmla="*/ 742950 w 919163"/>
                  <a:gd name="connsiteY2" fmla="*/ 742950 h 742950"/>
                  <a:gd name="connsiteX3" fmla="*/ 292895 w 919163"/>
                  <a:gd name="connsiteY3" fmla="*/ 581025 h 742950"/>
                  <a:gd name="connsiteX4" fmla="*/ 200025 w 919163"/>
                  <a:gd name="connsiteY4" fmla="*/ 361950 h 742950"/>
                  <a:gd name="connsiteX5" fmla="*/ 0 w 919163"/>
                  <a:gd name="connsiteY5" fmla="*/ 150019 h 742950"/>
                  <a:gd name="connsiteX6" fmla="*/ 304800 w 919163"/>
                  <a:gd name="connsiteY6" fmla="*/ 100012 h 742950"/>
                  <a:gd name="connsiteX7" fmla="*/ 504825 w 919163"/>
                  <a:gd name="connsiteY7" fmla="*/ 0 h 742950"/>
                  <a:gd name="connsiteX0" fmla="*/ 504825 w 919163"/>
                  <a:gd name="connsiteY0" fmla="*/ 0 h 742950"/>
                  <a:gd name="connsiteX1" fmla="*/ 919163 w 919163"/>
                  <a:gd name="connsiteY1" fmla="*/ 140494 h 742950"/>
                  <a:gd name="connsiteX2" fmla="*/ 742950 w 919163"/>
                  <a:gd name="connsiteY2" fmla="*/ 742950 h 742950"/>
                  <a:gd name="connsiteX3" fmla="*/ 292895 w 919163"/>
                  <a:gd name="connsiteY3" fmla="*/ 581025 h 742950"/>
                  <a:gd name="connsiteX4" fmla="*/ 192882 w 919163"/>
                  <a:gd name="connsiteY4" fmla="*/ 376237 h 742950"/>
                  <a:gd name="connsiteX5" fmla="*/ 0 w 919163"/>
                  <a:gd name="connsiteY5" fmla="*/ 150019 h 742950"/>
                  <a:gd name="connsiteX6" fmla="*/ 304800 w 919163"/>
                  <a:gd name="connsiteY6" fmla="*/ 100012 h 742950"/>
                  <a:gd name="connsiteX7" fmla="*/ 504825 w 919163"/>
                  <a:gd name="connsiteY7" fmla="*/ 0 h 742950"/>
                  <a:gd name="connsiteX0" fmla="*/ 504825 w 919163"/>
                  <a:gd name="connsiteY0" fmla="*/ 0 h 742950"/>
                  <a:gd name="connsiteX1" fmla="*/ 919163 w 919163"/>
                  <a:gd name="connsiteY1" fmla="*/ 140494 h 742950"/>
                  <a:gd name="connsiteX2" fmla="*/ 742950 w 919163"/>
                  <a:gd name="connsiteY2" fmla="*/ 742950 h 742950"/>
                  <a:gd name="connsiteX3" fmla="*/ 292895 w 919163"/>
                  <a:gd name="connsiteY3" fmla="*/ 581025 h 742950"/>
                  <a:gd name="connsiteX4" fmla="*/ 192882 w 919163"/>
                  <a:gd name="connsiteY4" fmla="*/ 376237 h 742950"/>
                  <a:gd name="connsiteX5" fmla="*/ 0 w 919163"/>
                  <a:gd name="connsiteY5" fmla="*/ 150019 h 742950"/>
                  <a:gd name="connsiteX6" fmla="*/ 304800 w 919163"/>
                  <a:gd name="connsiteY6" fmla="*/ 100012 h 742950"/>
                  <a:gd name="connsiteX7" fmla="*/ 504825 w 919163"/>
                  <a:gd name="connsiteY7" fmla="*/ 0 h 742950"/>
                  <a:gd name="connsiteX0" fmla="*/ 504825 w 919163"/>
                  <a:gd name="connsiteY0" fmla="*/ 0 h 742950"/>
                  <a:gd name="connsiteX1" fmla="*/ 919163 w 919163"/>
                  <a:gd name="connsiteY1" fmla="*/ 140494 h 742950"/>
                  <a:gd name="connsiteX2" fmla="*/ 742950 w 919163"/>
                  <a:gd name="connsiteY2" fmla="*/ 742950 h 742950"/>
                  <a:gd name="connsiteX3" fmla="*/ 292895 w 919163"/>
                  <a:gd name="connsiteY3" fmla="*/ 581025 h 742950"/>
                  <a:gd name="connsiteX4" fmla="*/ 192882 w 919163"/>
                  <a:gd name="connsiteY4" fmla="*/ 376237 h 742950"/>
                  <a:gd name="connsiteX5" fmla="*/ 0 w 919163"/>
                  <a:gd name="connsiteY5" fmla="*/ 150019 h 742950"/>
                  <a:gd name="connsiteX6" fmla="*/ 304800 w 919163"/>
                  <a:gd name="connsiteY6" fmla="*/ 100012 h 742950"/>
                  <a:gd name="connsiteX7" fmla="*/ 504825 w 919163"/>
                  <a:gd name="connsiteY7" fmla="*/ 0 h 742950"/>
                  <a:gd name="connsiteX0" fmla="*/ 504825 w 919163"/>
                  <a:gd name="connsiteY0" fmla="*/ 0 h 742950"/>
                  <a:gd name="connsiteX1" fmla="*/ 919163 w 919163"/>
                  <a:gd name="connsiteY1" fmla="*/ 140494 h 742950"/>
                  <a:gd name="connsiteX2" fmla="*/ 742950 w 919163"/>
                  <a:gd name="connsiteY2" fmla="*/ 742950 h 742950"/>
                  <a:gd name="connsiteX3" fmla="*/ 292895 w 919163"/>
                  <a:gd name="connsiteY3" fmla="*/ 581025 h 742950"/>
                  <a:gd name="connsiteX4" fmla="*/ 192882 w 919163"/>
                  <a:gd name="connsiteY4" fmla="*/ 376237 h 742950"/>
                  <a:gd name="connsiteX5" fmla="*/ 0 w 919163"/>
                  <a:gd name="connsiteY5" fmla="*/ 150019 h 742950"/>
                  <a:gd name="connsiteX6" fmla="*/ 304800 w 919163"/>
                  <a:gd name="connsiteY6" fmla="*/ 100012 h 742950"/>
                  <a:gd name="connsiteX7" fmla="*/ 504825 w 919163"/>
                  <a:gd name="connsiteY7" fmla="*/ 0 h 742950"/>
                  <a:gd name="connsiteX0" fmla="*/ 504825 w 919163"/>
                  <a:gd name="connsiteY0" fmla="*/ 0 h 704850"/>
                  <a:gd name="connsiteX1" fmla="*/ 919163 w 919163"/>
                  <a:gd name="connsiteY1" fmla="*/ 140494 h 704850"/>
                  <a:gd name="connsiteX2" fmla="*/ 740569 w 919163"/>
                  <a:gd name="connsiteY2" fmla="*/ 704850 h 704850"/>
                  <a:gd name="connsiteX3" fmla="*/ 292895 w 919163"/>
                  <a:gd name="connsiteY3" fmla="*/ 581025 h 704850"/>
                  <a:gd name="connsiteX4" fmla="*/ 192882 w 919163"/>
                  <a:gd name="connsiteY4" fmla="*/ 376237 h 704850"/>
                  <a:gd name="connsiteX5" fmla="*/ 0 w 919163"/>
                  <a:gd name="connsiteY5" fmla="*/ 150019 h 704850"/>
                  <a:gd name="connsiteX6" fmla="*/ 304800 w 919163"/>
                  <a:gd name="connsiteY6" fmla="*/ 100012 h 704850"/>
                  <a:gd name="connsiteX7" fmla="*/ 504825 w 919163"/>
                  <a:gd name="connsiteY7" fmla="*/ 0 h 704850"/>
                  <a:gd name="connsiteX0" fmla="*/ 504825 w 919163"/>
                  <a:gd name="connsiteY0" fmla="*/ 0 h 704850"/>
                  <a:gd name="connsiteX1" fmla="*/ 919163 w 919163"/>
                  <a:gd name="connsiteY1" fmla="*/ 140494 h 704850"/>
                  <a:gd name="connsiteX2" fmla="*/ 740569 w 919163"/>
                  <a:gd name="connsiteY2" fmla="*/ 704850 h 704850"/>
                  <a:gd name="connsiteX3" fmla="*/ 292895 w 919163"/>
                  <a:gd name="connsiteY3" fmla="*/ 581025 h 704850"/>
                  <a:gd name="connsiteX4" fmla="*/ 192882 w 919163"/>
                  <a:gd name="connsiteY4" fmla="*/ 376237 h 704850"/>
                  <a:gd name="connsiteX5" fmla="*/ 0 w 919163"/>
                  <a:gd name="connsiteY5" fmla="*/ 150019 h 704850"/>
                  <a:gd name="connsiteX6" fmla="*/ 304800 w 919163"/>
                  <a:gd name="connsiteY6" fmla="*/ 100012 h 704850"/>
                  <a:gd name="connsiteX7" fmla="*/ 504825 w 919163"/>
                  <a:gd name="connsiteY7" fmla="*/ 0 h 704850"/>
                  <a:gd name="connsiteX0" fmla="*/ 504825 w 919163"/>
                  <a:gd name="connsiteY0" fmla="*/ 0 h 723701"/>
                  <a:gd name="connsiteX1" fmla="*/ 919163 w 919163"/>
                  <a:gd name="connsiteY1" fmla="*/ 140494 h 723701"/>
                  <a:gd name="connsiteX2" fmla="*/ 740569 w 919163"/>
                  <a:gd name="connsiteY2" fmla="*/ 704850 h 723701"/>
                  <a:gd name="connsiteX3" fmla="*/ 292895 w 919163"/>
                  <a:gd name="connsiteY3" fmla="*/ 581025 h 723701"/>
                  <a:gd name="connsiteX4" fmla="*/ 192882 w 919163"/>
                  <a:gd name="connsiteY4" fmla="*/ 376237 h 723701"/>
                  <a:gd name="connsiteX5" fmla="*/ 0 w 919163"/>
                  <a:gd name="connsiteY5" fmla="*/ 150019 h 723701"/>
                  <a:gd name="connsiteX6" fmla="*/ 304800 w 919163"/>
                  <a:gd name="connsiteY6" fmla="*/ 100012 h 723701"/>
                  <a:gd name="connsiteX7" fmla="*/ 504825 w 919163"/>
                  <a:gd name="connsiteY7" fmla="*/ 0 h 723701"/>
                  <a:gd name="connsiteX0" fmla="*/ 504825 w 919163"/>
                  <a:gd name="connsiteY0" fmla="*/ 0 h 704850"/>
                  <a:gd name="connsiteX1" fmla="*/ 919163 w 919163"/>
                  <a:gd name="connsiteY1" fmla="*/ 140494 h 704850"/>
                  <a:gd name="connsiteX2" fmla="*/ 740569 w 919163"/>
                  <a:gd name="connsiteY2" fmla="*/ 704850 h 704850"/>
                  <a:gd name="connsiteX3" fmla="*/ 292895 w 919163"/>
                  <a:gd name="connsiteY3" fmla="*/ 581025 h 704850"/>
                  <a:gd name="connsiteX4" fmla="*/ 192882 w 919163"/>
                  <a:gd name="connsiteY4" fmla="*/ 376237 h 704850"/>
                  <a:gd name="connsiteX5" fmla="*/ 0 w 919163"/>
                  <a:gd name="connsiteY5" fmla="*/ 150019 h 704850"/>
                  <a:gd name="connsiteX6" fmla="*/ 304800 w 919163"/>
                  <a:gd name="connsiteY6" fmla="*/ 100012 h 704850"/>
                  <a:gd name="connsiteX7" fmla="*/ 504825 w 919163"/>
                  <a:gd name="connsiteY7" fmla="*/ 0 h 704850"/>
                  <a:gd name="connsiteX0" fmla="*/ 504825 w 919163"/>
                  <a:gd name="connsiteY0" fmla="*/ 0 h 704850"/>
                  <a:gd name="connsiteX1" fmla="*/ 919163 w 919163"/>
                  <a:gd name="connsiteY1" fmla="*/ 140494 h 704850"/>
                  <a:gd name="connsiteX2" fmla="*/ 740569 w 919163"/>
                  <a:gd name="connsiteY2" fmla="*/ 704850 h 704850"/>
                  <a:gd name="connsiteX3" fmla="*/ 383383 w 919163"/>
                  <a:gd name="connsiteY3" fmla="*/ 645319 h 704850"/>
                  <a:gd name="connsiteX4" fmla="*/ 192882 w 919163"/>
                  <a:gd name="connsiteY4" fmla="*/ 376237 h 704850"/>
                  <a:gd name="connsiteX5" fmla="*/ 0 w 919163"/>
                  <a:gd name="connsiteY5" fmla="*/ 150019 h 704850"/>
                  <a:gd name="connsiteX6" fmla="*/ 304800 w 919163"/>
                  <a:gd name="connsiteY6" fmla="*/ 100012 h 704850"/>
                  <a:gd name="connsiteX7" fmla="*/ 504825 w 919163"/>
                  <a:gd name="connsiteY7" fmla="*/ 0 h 704850"/>
                  <a:gd name="connsiteX0" fmla="*/ 504825 w 919163"/>
                  <a:gd name="connsiteY0" fmla="*/ 0 h 704850"/>
                  <a:gd name="connsiteX1" fmla="*/ 919163 w 919163"/>
                  <a:gd name="connsiteY1" fmla="*/ 140494 h 704850"/>
                  <a:gd name="connsiteX2" fmla="*/ 740569 w 919163"/>
                  <a:gd name="connsiteY2" fmla="*/ 704850 h 704850"/>
                  <a:gd name="connsiteX3" fmla="*/ 383383 w 919163"/>
                  <a:gd name="connsiteY3" fmla="*/ 645319 h 704850"/>
                  <a:gd name="connsiteX4" fmla="*/ 192882 w 919163"/>
                  <a:gd name="connsiteY4" fmla="*/ 376237 h 704850"/>
                  <a:gd name="connsiteX5" fmla="*/ 0 w 919163"/>
                  <a:gd name="connsiteY5" fmla="*/ 150019 h 704850"/>
                  <a:gd name="connsiteX6" fmla="*/ 304800 w 919163"/>
                  <a:gd name="connsiteY6" fmla="*/ 100012 h 704850"/>
                  <a:gd name="connsiteX7" fmla="*/ 504825 w 919163"/>
                  <a:gd name="connsiteY7" fmla="*/ 0 h 704850"/>
                  <a:gd name="connsiteX0" fmla="*/ 500063 w 914401"/>
                  <a:gd name="connsiteY0" fmla="*/ 0 h 704850"/>
                  <a:gd name="connsiteX1" fmla="*/ 914401 w 914401"/>
                  <a:gd name="connsiteY1" fmla="*/ 140494 h 704850"/>
                  <a:gd name="connsiteX2" fmla="*/ 735807 w 914401"/>
                  <a:gd name="connsiteY2" fmla="*/ 704850 h 704850"/>
                  <a:gd name="connsiteX3" fmla="*/ 378621 w 914401"/>
                  <a:gd name="connsiteY3" fmla="*/ 645319 h 704850"/>
                  <a:gd name="connsiteX4" fmla="*/ 188120 w 914401"/>
                  <a:gd name="connsiteY4" fmla="*/ 376237 h 704850"/>
                  <a:gd name="connsiteX5" fmla="*/ 0 w 914401"/>
                  <a:gd name="connsiteY5" fmla="*/ 145256 h 704850"/>
                  <a:gd name="connsiteX6" fmla="*/ 300038 w 914401"/>
                  <a:gd name="connsiteY6" fmla="*/ 100012 h 704850"/>
                  <a:gd name="connsiteX7" fmla="*/ 500063 w 914401"/>
                  <a:gd name="connsiteY7" fmla="*/ 0 h 704850"/>
                  <a:gd name="connsiteX0" fmla="*/ 500063 w 737357"/>
                  <a:gd name="connsiteY0" fmla="*/ 0 h 748295"/>
                  <a:gd name="connsiteX1" fmla="*/ 735807 w 737357"/>
                  <a:gd name="connsiteY1" fmla="*/ 704850 h 748295"/>
                  <a:gd name="connsiteX2" fmla="*/ 378621 w 737357"/>
                  <a:gd name="connsiteY2" fmla="*/ 645319 h 748295"/>
                  <a:gd name="connsiteX3" fmla="*/ 188120 w 737357"/>
                  <a:gd name="connsiteY3" fmla="*/ 376237 h 748295"/>
                  <a:gd name="connsiteX4" fmla="*/ 0 w 737357"/>
                  <a:gd name="connsiteY4" fmla="*/ 145256 h 748295"/>
                  <a:gd name="connsiteX5" fmla="*/ 300038 w 737357"/>
                  <a:gd name="connsiteY5" fmla="*/ 100012 h 748295"/>
                  <a:gd name="connsiteX6" fmla="*/ 500063 w 737357"/>
                  <a:gd name="connsiteY6" fmla="*/ 0 h 748295"/>
                  <a:gd name="connsiteX0" fmla="*/ 500063 w 501451"/>
                  <a:gd name="connsiteY0" fmla="*/ 0 h 645319"/>
                  <a:gd name="connsiteX1" fmla="*/ 378621 w 501451"/>
                  <a:gd name="connsiteY1" fmla="*/ 645319 h 645319"/>
                  <a:gd name="connsiteX2" fmla="*/ 188120 w 501451"/>
                  <a:gd name="connsiteY2" fmla="*/ 376237 h 645319"/>
                  <a:gd name="connsiteX3" fmla="*/ 0 w 501451"/>
                  <a:gd name="connsiteY3" fmla="*/ 145256 h 645319"/>
                  <a:gd name="connsiteX4" fmla="*/ 300038 w 501451"/>
                  <a:gd name="connsiteY4" fmla="*/ 100012 h 645319"/>
                  <a:gd name="connsiteX5" fmla="*/ 500063 w 501451"/>
                  <a:gd name="connsiteY5" fmla="*/ 0 h 645319"/>
                  <a:gd name="connsiteX0" fmla="*/ 500063 w 500063"/>
                  <a:gd name="connsiteY0" fmla="*/ 0 h 376237"/>
                  <a:gd name="connsiteX1" fmla="*/ 188120 w 500063"/>
                  <a:gd name="connsiteY1" fmla="*/ 376237 h 376237"/>
                  <a:gd name="connsiteX2" fmla="*/ 0 w 500063"/>
                  <a:gd name="connsiteY2" fmla="*/ 145256 h 376237"/>
                  <a:gd name="connsiteX3" fmla="*/ 300038 w 500063"/>
                  <a:gd name="connsiteY3" fmla="*/ 100012 h 376237"/>
                  <a:gd name="connsiteX4" fmla="*/ 500063 w 500063"/>
                  <a:gd name="connsiteY4" fmla="*/ 0 h 376237"/>
                  <a:gd name="connsiteX0" fmla="*/ 300038 w 306339"/>
                  <a:gd name="connsiteY0" fmla="*/ 0 h 276225"/>
                  <a:gd name="connsiteX1" fmla="*/ 188120 w 306339"/>
                  <a:gd name="connsiteY1" fmla="*/ 276225 h 276225"/>
                  <a:gd name="connsiteX2" fmla="*/ 0 w 306339"/>
                  <a:gd name="connsiteY2" fmla="*/ 45244 h 276225"/>
                  <a:gd name="connsiteX3" fmla="*/ 300038 w 306339"/>
                  <a:gd name="connsiteY3" fmla="*/ 0 h 276225"/>
                  <a:gd name="connsiteX0" fmla="*/ 300038 w 304249"/>
                  <a:gd name="connsiteY0" fmla="*/ 0 h 276225"/>
                  <a:gd name="connsiteX1" fmla="*/ 188120 w 304249"/>
                  <a:gd name="connsiteY1" fmla="*/ 276225 h 276225"/>
                  <a:gd name="connsiteX2" fmla="*/ 0 w 304249"/>
                  <a:gd name="connsiteY2" fmla="*/ 45244 h 276225"/>
                  <a:gd name="connsiteX3" fmla="*/ 300038 w 304249"/>
                  <a:gd name="connsiteY3" fmla="*/ 0 h 276225"/>
                  <a:gd name="connsiteX0" fmla="*/ 300038 w 300038"/>
                  <a:gd name="connsiteY0" fmla="*/ 0 h 276225"/>
                  <a:gd name="connsiteX1" fmla="*/ 188120 w 300038"/>
                  <a:gd name="connsiteY1" fmla="*/ 276225 h 276225"/>
                  <a:gd name="connsiteX2" fmla="*/ 0 w 300038"/>
                  <a:gd name="connsiteY2" fmla="*/ 45244 h 276225"/>
                  <a:gd name="connsiteX3" fmla="*/ 300038 w 300038"/>
                  <a:gd name="connsiteY3" fmla="*/ 0 h 276225"/>
                  <a:gd name="connsiteX0" fmla="*/ 296514 w 296514"/>
                  <a:gd name="connsiteY0" fmla="*/ 0 h 279749"/>
                  <a:gd name="connsiteX1" fmla="*/ 188120 w 296514"/>
                  <a:gd name="connsiteY1" fmla="*/ 279749 h 279749"/>
                  <a:gd name="connsiteX2" fmla="*/ 0 w 296514"/>
                  <a:gd name="connsiteY2" fmla="*/ 48768 h 279749"/>
                  <a:gd name="connsiteX3" fmla="*/ 296514 w 296514"/>
                  <a:gd name="connsiteY3" fmla="*/ 0 h 279749"/>
                  <a:gd name="connsiteX0" fmla="*/ 296514 w 296514"/>
                  <a:gd name="connsiteY0" fmla="*/ 0 h 279749"/>
                  <a:gd name="connsiteX1" fmla="*/ 192818 w 296514"/>
                  <a:gd name="connsiteY1" fmla="*/ 279749 h 279749"/>
                  <a:gd name="connsiteX2" fmla="*/ 0 w 296514"/>
                  <a:gd name="connsiteY2" fmla="*/ 48768 h 279749"/>
                  <a:gd name="connsiteX3" fmla="*/ 296514 w 296514"/>
                  <a:gd name="connsiteY3" fmla="*/ 0 h 279749"/>
                  <a:gd name="connsiteX0" fmla="*/ 296514 w 296514"/>
                  <a:gd name="connsiteY0" fmla="*/ 0 h 279749"/>
                  <a:gd name="connsiteX1" fmla="*/ 192818 w 296514"/>
                  <a:gd name="connsiteY1" fmla="*/ 279749 h 279749"/>
                  <a:gd name="connsiteX2" fmla="*/ 0 w 296514"/>
                  <a:gd name="connsiteY2" fmla="*/ 48768 h 279749"/>
                  <a:gd name="connsiteX3" fmla="*/ 296514 w 296514"/>
                  <a:gd name="connsiteY3" fmla="*/ 0 h 279749"/>
                  <a:gd name="connsiteX0" fmla="*/ 296514 w 296514"/>
                  <a:gd name="connsiteY0" fmla="*/ 0 h 279749"/>
                  <a:gd name="connsiteX1" fmla="*/ 192818 w 296514"/>
                  <a:gd name="connsiteY1" fmla="*/ 279749 h 279749"/>
                  <a:gd name="connsiteX2" fmla="*/ 0 w 296514"/>
                  <a:gd name="connsiteY2" fmla="*/ 48768 h 279749"/>
                  <a:gd name="connsiteX3" fmla="*/ 296514 w 296514"/>
                  <a:gd name="connsiteY3" fmla="*/ 0 h 279749"/>
                  <a:gd name="connsiteX0" fmla="*/ 296514 w 296514"/>
                  <a:gd name="connsiteY0" fmla="*/ 0 h 279749"/>
                  <a:gd name="connsiteX1" fmla="*/ 192818 w 296514"/>
                  <a:gd name="connsiteY1" fmla="*/ 279749 h 279749"/>
                  <a:gd name="connsiteX2" fmla="*/ 0 w 296514"/>
                  <a:gd name="connsiteY2" fmla="*/ 48768 h 279749"/>
                  <a:gd name="connsiteX3" fmla="*/ 296514 w 296514"/>
                  <a:gd name="connsiteY3" fmla="*/ 0 h 279749"/>
                  <a:gd name="connsiteX0" fmla="*/ 298863 w 298863"/>
                  <a:gd name="connsiteY0" fmla="*/ 0 h 273877"/>
                  <a:gd name="connsiteX1" fmla="*/ 192818 w 298863"/>
                  <a:gd name="connsiteY1" fmla="*/ 273877 h 273877"/>
                  <a:gd name="connsiteX2" fmla="*/ 0 w 298863"/>
                  <a:gd name="connsiteY2" fmla="*/ 42896 h 273877"/>
                  <a:gd name="connsiteX3" fmla="*/ 298863 w 298863"/>
                  <a:gd name="connsiteY3" fmla="*/ 0 h 273877"/>
                  <a:gd name="connsiteX0" fmla="*/ 296514 w 296514"/>
                  <a:gd name="connsiteY0" fmla="*/ 0 h 273877"/>
                  <a:gd name="connsiteX1" fmla="*/ 190469 w 296514"/>
                  <a:gd name="connsiteY1" fmla="*/ 273877 h 273877"/>
                  <a:gd name="connsiteX2" fmla="*/ 0 w 296514"/>
                  <a:gd name="connsiteY2" fmla="*/ 40547 h 273877"/>
                  <a:gd name="connsiteX3" fmla="*/ 296514 w 296514"/>
                  <a:gd name="connsiteY3" fmla="*/ 0 h 273877"/>
                  <a:gd name="connsiteX0" fmla="*/ 295340 w 295340"/>
                  <a:gd name="connsiteY0" fmla="*/ 0 h 277400"/>
                  <a:gd name="connsiteX1" fmla="*/ 190469 w 295340"/>
                  <a:gd name="connsiteY1" fmla="*/ 277400 h 277400"/>
                  <a:gd name="connsiteX2" fmla="*/ 0 w 295340"/>
                  <a:gd name="connsiteY2" fmla="*/ 44070 h 277400"/>
                  <a:gd name="connsiteX3" fmla="*/ 295340 w 295340"/>
                  <a:gd name="connsiteY3" fmla="*/ 0 h 277400"/>
                  <a:gd name="connsiteX0" fmla="*/ 298864 w 298864"/>
                  <a:gd name="connsiteY0" fmla="*/ 0 h 275051"/>
                  <a:gd name="connsiteX1" fmla="*/ 190469 w 298864"/>
                  <a:gd name="connsiteY1" fmla="*/ 275051 h 275051"/>
                  <a:gd name="connsiteX2" fmla="*/ 0 w 298864"/>
                  <a:gd name="connsiteY2" fmla="*/ 41721 h 275051"/>
                  <a:gd name="connsiteX3" fmla="*/ 298864 w 298864"/>
                  <a:gd name="connsiteY3" fmla="*/ 0 h 275051"/>
                </a:gdLst>
                <a:ahLst/>
                <a:cxnLst>
                  <a:cxn ang="0">
                    <a:pos x="connsiteX0" y="connsiteY0"/>
                  </a:cxn>
                  <a:cxn ang="0">
                    <a:pos x="connsiteX1" y="connsiteY1"/>
                  </a:cxn>
                  <a:cxn ang="0">
                    <a:pos x="connsiteX2" y="connsiteY2"/>
                  </a:cxn>
                  <a:cxn ang="0">
                    <a:pos x="connsiteX3" y="connsiteY3"/>
                  </a:cxn>
                </a:cxnLst>
                <a:rect l="l" t="t" r="r" b="b"/>
                <a:pathLst>
                  <a:path w="298864" h="275051">
                    <a:moveTo>
                      <a:pt x="298864" y="0"/>
                    </a:moveTo>
                    <a:cubicBezTo>
                      <a:pt x="220987" y="57288"/>
                      <a:pt x="180575" y="184120"/>
                      <a:pt x="190469" y="275051"/>
                    </a:cubicBezTo>
                    <a:lnTo>
                      <a:pt x="0" y="41721"/>
                    </a:lnTo>
                    <a:lnTo>
                      <a:pt x="298864" y="0"/>
                    </a:ln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chemeClr val="tx1"/>
                  </a:solidFill>
                </a:endParaRPr>
              </a:p>
            </p:txBody>
          </p:sp>
          <p:sp>
            <p:nvSpPr>
              <p:cNvPr id="217" name="Freeform 216"/>
              <p:cNvSpPr/>
              <p:nvPr/>
            </p:nvSpPr>
            <p:spPr bwMode="auto">
              <a:xfrm>
                <a:off x="2642372" y="5143815"/>
                <a:ext cx="567116" cy="1149327"/>
              </a:xfrm>
              <a:custGeom>
                <a:avLst/>
                <a:gdLst>
                  <a:gd name="connsiteX0" fmla="*/ 499656 w 569984"/>
                  <a:gd name="connsiteY0" fmla="*/ 697 h 1159331"/>
                  <a:gd name="connsiteX1" fmla="*/ 569984 w 569984"/>
                  <a:gd name="connsiteY1" fmla="*/ 8941 h 1159331"/>
                  <a:gd name="connsiteX2" fmla="*/ 201209 w 569984"/>
                  <a:gd name="connsiteY2" fmla="*/ 435569 h 1159331"/>
                  <a:gd name="connsiteX3" fmla="*/ 171200 w 569984"/>
                  <a:gd name="connsiteY3" fmla="*/ 558013 h 1159331"/>
                  <a:gd name="connsiteX4" fmla="*/ 214895 w 569984"/>
                  <a:gd name="connsiteY4" fmla="*/ 1158852 h 1159331"/>
                  <a:gd name="connsiteX5" fmla="*/ 40108 w 569984"/>
                  <a:gd name="connsiteY5" fmla="*/ 449565 h 1159331"/>
                  <a:gd name="connsiteX6" fmla="*/ 499656 w 569984"/>
                  <a:gd name="connsiteY6" fmla="*/ 697 h 1159331"/>
                  <a:gd name="connsiteX0" fmla="*/ 499656 w 569984"/>
                  <a:gd name="connsiteY0" fmla="*/ 697 h 1158852"/>
                  <a:gd name="connsiteX1" fmla="*/ 569984 w 569984"/>
                  <a:gd name="connsiteY1" fmla="*/ 8941 h 1158852"/>
                  <a:gd name="connsiteX2" fmla="*/ 201209 w 569984"/>
                  <a:gd name="connsiteY2" fmla="*/ 435569 h 1158852"/>
                  <a:gd name="connsiteX3" fmla="*/ 214895 w 569984"/>
                  <a:gd name="connsiteY3" fmla="*/ 1158852 h 1158852"/>
                  <a:gd name="connsiteX4" fmla="*/ 40108 w 569984"/>
                  <a:gd name="connsiteY4" fmla="*/ 449565 h 1158852"/>
                  <a:gd name="connsiteX5" fmla="*/ 499656 w 569984"/>
                  <a:gd name="connsiteY5" fmla="*/ 697 h 1158852"/>
                  <a:gd name="connsiteX0" fmla="*/ 499656 w 569984"/>
                  <a:gd name="connsiteY0" fmla="*/ 697 h 1158852"/>
                  <a:gd name="connsiteX1" fmla="*/ 569984 w 569984"/>
                  <a:gd name="connsiteY1" fmla="*/ 8941 h 1158852"/>
                  <a:gd name="connsiteX2" fmla="*/ 201209 w 569984"/>
                  <a:gd name="connsiteY2" fmla="*/ 435569 h 1158852"/>
                  <a:gd name="connsiteX3" fmla="*/ 214895 w 569984"/>
                  <a:gd name="connsiteY3" fmla="*/ 1158852 h 1158852"/>
                  <a:gd name="connsiteX4" fmla="*/ 40108 w 569984"/>
                  <a:gd name="connsiteY4" fmla="*/ 449565 h 1158852"/>
                  <a:gd name="connsiteX5" fmla="*/ 499656 w 569984"/>
                  <a:gd name="connsiteY5" fmla="*/ 697 h 1158852"/>
                  <a:gd name="connsiteX0" fmla="*/ 497484 w 567812"/>
                  <a:gd name="connsiteY0" fmla="*/ 697 h 1158852"/>
                  <a:gd name="connsiteX1" fmla="*/ 567812 w 567812"/>
                  <a:gd name="connsiteY1" fmla="*/ 8941 h 1158852"/>
                  <a:gd name="connsiteX2" fmla="*/ 199037 w 567812"/>
                  <a:gd name="connsiteY2" fmla="*/ 435569 h 1158852"/>
                  <a:gd name="connsiteX3" fmla="*/ 219867 w 567812"/>
                  <a:gd name="connsiteY3" fmla="*/ 1158852 h 1158852"/>
                  <a:gd name="connsiteX4" fmla="*/ 37936 w 567812"/>
                  <a:gd name="connsiteY4" fmla="*/ 449565 h 1158852"/>
                  <a:gd name="connsiteX5" fmla="*/ 497484 w 567812"/>
                  <a:gd name="connsiteY5" fmla="*/ 697 h 1158852"/>
                  <a:gd name="connsiteX0" fmla="*/ 497484 w 567812"/>
                  <a:gd name="connsiteY0" fmla="*/ 697 h 1158852"/>
                  <a:gd name="connsiteX1" fmla="*/ 567812 w 567812"/>
                  <a:gd name="connsiteY1" fmla="*/ 8941 h 1158852"/>
                  <a:gd name="connsiteX2" fmla="*/ 199037 w 567812"/>
                  <a:gd name="connsiteY2" fmla="*/ 435569 h 1158852"/>
                  <a:gd name="connsiteX3" fmla="*/ 219867 w 567812"/>
                  <a:gd name="connsiteY3" fmla="*/ 1158852 h 1158852"/>
                  <a:gd name="connsiteX4" fmla="*/ 37936 w 567812"/>
                  <a:gd name="connsiteY4" fmla="*/ 449565 h 1158852"/>
                  <a:gd name="connsiteX5" fmla="*/ 497484 w 567812"/>
                  <a:gd name="connsiteY5" fmla="*/ 697 h 1158852"/>
                  <a:gd name="connsiteX0" fmla="*/ 496788 w 567116"/>
                  <a:gd name="connsiteY0" fmla="*/ 697 h 1149327"/>
                  <a:gd name="connsiteX1" fmla="*/ 567116 w 567116"/>
                  <a:gd name="connsiteY1" fmla="*/ 8941 h 1149327"/>
                  <a:gd name="connsiteX2" fmla="*/ 198341 w 567116"/>
                  <a:gd name="connsiteY2" fmla="*/ 435569 h 1149327"/>
                  <a:gd name="connsiteX3" fmla="*/ 221553 w 567116"/>
                  <a:gd name="connsiteY3" fmla="*/ 1149327 h 1149327"/>
                  <a:gd name="connsiteX4" fmla="*/ 37240 w 567116"/>
                  <a:gd name="connsiteY4" fmla="*/ 449565 h 1149327"/>
                  <a:gd name="connsiteX5" fmla="*/ 496788 w 567116"/>
                  <a:gd name="connsiteY5" fmla="*/ 697 h 1149327"/>
                  <a:gd name="connsiteX0" fmla="*/ 496788 w 567116"/>
                  <a:gd name="connsiteY0" fmla="*/ 697 h 1149327"/>
                  <a:gd name="connsiteX1" fmla="*/ 567116 w 567116"/>
                  <a:gd name="connsiteY1" fmla="*/ 8941 h 1149327"/>
                  <a:gd name="connsiteX2" fmla="*/ 198341 w 567116"/>
                  <a:gd name="connsiteY2" fmla="*/ 435569 h 1149327"/>
                  <a:gd name="connsiteX3" fmla="*/ 221553 w 567116"/>
                  <a:gd name="connsiteY3" fmla="*/ 1149327 h 1149327"/>
                  <a:gd name="connsiteX4" fmla="*/ 37240 w 567116"/>
                  <a:gd name="connsiteY4" fmla="*/ 449565 h 1149327"/>
                  <a:gd name="connsiteX5" fmla="*/ 496788 w 567116"/>
                  <a:gd name="connsiteY5" fmla="*/ 697 h 1149327"/>
                  <a:gd name="connsiteX0" fmla="*/ 496788 w 567116"/>
                  <a:gd name="connsiteY0" fmla="*/ 697 h 1149327"/>
                  <a:gd name="connsiteX1" fmla="*/ 567116 w 567116"/>
                  <a:gd name="connsiteY1" fmla="*/ 8941 h 1149327"/>
                  <a:gd name="connsiteX2" fmla="*/ 198341 w 567116"/>
                  <a:gd name="connsiteY2" fmla="*/ 435569 h 1149327"/>
                  <a:gd name="connsiteX3" fmla="*/ 221553 w 567116"/>
                  <a:gd name="connsiteY3" fmla="*/ 1149327 h 1149327"/>
                  <a:gd name="connsiteX4" fmla="*/ 37240 w 567116"/>
                  <a:gd name="connsiteY4" fmla="*/ 449565 h 1149327"/>
                  <a:gd name="connsiteX5" fmla="*/ 496788 w 567116"/>
                  <a:gd name="connsiteY5" fmla="*/ 697 h 1149327"/>
                  <a:gd name="connsiteX0" fmla="*/ 496788 w 567116"/>
                  <a:gd name="connsiteY0" fmla="*/ 697 h 1149327"/>
                  <a:gd name="connsiteX1" fmla="*/ 567116 w 567116"/>
                  <a:gd name="connsiteY1" fmla="*/ 8941 h 1149327"/>
                  <a:gd name="connsiteX2" fmla="*/ 195960 w 567116"/>
                  <a:gd name="connsiteY2" fmla="*/ 433188 h 1149327"/>
                  <a:gd name="connsiteX3" fmla="*/ 221553 w 567116"/>
                  <a:gd name="connsiteY3" fmla="*/ 1149327 h 1149327"/>
                  <a:gd name="connsiteX4" fmla="*/ 37240 w 567116"/>
                  <a:gd name="connsiteY4" fmla="*/ 449565 h 1149327"/>
                  <a:gd name="connsiteX5" fmla="*/ 496788 w 567116"/>
                  <a:gd name="connsiteY5" fmla="*/ 697 h 1149327"/>
                  <a:gd name="connsiteX0" fmla="*/ 496788 w 567116"/>
                  <a:gd name="connsiteY0" fmla="*/ 697 h 1149327"/>
                  <a:gd name="connsiteX1" fmla="*/ 567116 w 567116"/>
                  <a:gd name="connsiteY1" fmla="*/ 8941 h 1149327"/>
                  <a:gd name="connsiteX2" fmla="*/ 195960 w 567116"/>
                  <a:gd name="connsiteY2" fmla="*/ 433188 h 1149327"/>
                  <a:gd name="connsiteX3" fmla="*/ 221553 w 567116"/>
                  <a:gd name="connsiteY3" fmla="*/ 1149327 h 1149327"/>
                  <a:gd name="connsiteX4" fmla="*/ 37240 w 567116"/>
                  <a:gd name="connsiteY4" fmla="*/ 449565 h 1149327"/>
                  <a:gd name="connsiteX5" fmla="*/ 496788 w 567116"/>
                  <a:gd name="connsiteY5" fmla="*/ 697 h 1149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7116" h="1149327">
                    <a:moveTo>
                      <a:pt x="496788" y="697"/>
                    </a:moveTo>
                    <a:cubicBezTo>
                      <a:pt x="521086" y="-1328"/>
                      <a:pt x="544748" y="961"/>
                      <a:pt x="567116" y="8941"/>
                    </a:cubicBezTo>
                    <a:cubicBezTo>
                      <a:pt x="425756" y="79425"/>
                      <a:pt x="286891" y="197880"/>
                      <a:pt x="195960" y="433188"/>
                    </a:cubicBezTo>
                    <a:cubicBezTo>
                      <a:pt x="124374" y="618436"/>
                      <a:pt x="122197" y="894581"/>
                      <a:pt x="221553" y="1149327"/>
                    </a:cubicBezTo>
                    <a:cubicBezTo>
                      <a:pt x="-40558" y="1037740"/>
                      <a:pt x="-22602" y="640741"/>
                      <a:pt x="37240" y="449565"/>
                    </a:cubicBezTo>
                    <a:cubicBezTo>
                      <a:pt x="89706" y="281951"/>
                      <a:pt x="311683" y="16126"/>
                      <a:pt x="496788" y="697"/>
                    </a:cubicBez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chemeClr val="tx1"/>
                  </a:solidFill>
                </a:endParaRPr>
              </a:p>
            </p:txBody>
          </p:sp>
          <p:sp>
            <p:nvSpPr>
              <p:cNvPr id="218" name="Freeform 217"/>
              <p:cNvSpPr/>
              <p:nvPr/>
            </p:nvSpPr>
            <p:spPr bwMode="auto">
              <a:xfrm>
                <a:off x="2824092" y="5130504"/>
                <a:ext cx="938639" cy="1366215"/>
              </a:xfrm>
              <a:custGeom>
                <a:avLst/>
                <a:gdLst>
                  <a:gd name="connsiteX0" fmla="*/ 269081 w 269081"/>
                  <a:gd name="connsiteY0" fmla="*/ 0 h 611982"/>
                  <a:gd name="connsiteX1" fmla="*/ 97631 w 269081"/>
                  <a:gd name="connsiteY1" fmla="*/ 102394 h 611982"/>
                  <a:gd name="connsiteX2" fmla="*/ 0 w 269081"/>
                  <a:gd name="connsiteY2" fmla="*/ 369094 h 611982"/>
                  <a:gd name="connsiteX3" fmla="*/ 121444 w 269081"/>
                  <a:gd name="connsiteY3" fmla="*/ 611982 h 611982"/>
                  <a:gd name="connsiteX4" fmla="*/ 80963 w 269081"/>
                  <a:gd name="connsiteY4" fmla="*/ 433388 h 611982"/>
                  <a:gd name="connsiteX5" fmla="*/ 214313 w 269081"/>
                  <a:gd name="connsiteY5" fmla="*/ 76200 h 611982"/>
                  <a:gd name="connsiteX6" fmla="*/ 269081 w 269081"/>
                  <a:gd name="connsiteY6" fmla="*/ 0 h 611982"/>
                  <a:gd name="connsiteX0" fmla="*/ 188118 w 188118"/>
                  <a:gd name="connsiteY0" fmla="*/ 0 h 611982"/>
                  <a:gd name="connsiteX1" fmla="*/ 16668 w 188118"/>
                  <a:gd name="connsiteY1" fmla="*/ 102394 h 611982"/>
                  <a:gd name="connsiteX2" fmla="*/ 40481 w 188118"/>
                  <a:gd name="connsiteY2" fmla="*/ 611982 h 611982"/>
                  <a:gd name="connsiteX3" fmla="*/ 0 w 188118"/>
                  <a:gd name="connsiteY3" fmla="*/ 433388 h 611982"/>
                  <a:gd name="connsiteX4" fmla="*/ 133350 w 188118"/>
                  <a:gd name="connsiteY4" fmla="*/ 76200 h 611982"/>
                  <a:gd name="connsiteX5" fmla="*/ 188118 w 188118"/>
                  <a:gd name="connsiteY5" fmla="*/ 0 h 611982"/>
                  <a:gd name="connsiteX0" fmla="*/ 278606 w 278606"/>
                  <a:gd name="connsiteY0" fmla="*/ 0 h 611982"/>
                  <a:gd name="connsiteX1" fmla="*/ 0 w 278606"/>
                  <a:gd name="connsiteY1" fmla="*/ 230982 h 611982"/>
                  <a:gd name="connsiteX2" fmla="*/ 130969 w 278606"/>
                  <a:gd name="connsiteY2" fmla="*/ 611982 h 611982"/>
                  <a:gd name="connsiteX3" fmla="*/ 90488 w 278606"/>
                  <a:gd name="connsiteY3" fmla="*/ 433388 h 611982"/>
                  <a:gd name="connsiteX4" fmla="*/ 223838 w 278606"/>
                  <a:gd name="connsiteY4" fmla="*/ 76200 h 611982"/>
                  <a:gd name="connsiteX5" fmla="*/ 278606 w 278606"/>
                  <a:gd name="connsiteY5" fmla="*/ 0 h 611982"/>
                  <a:gd name="connsiteX0" fmla="*/ 278606 w 278606"/>
                  <a:gd name="connsiteY0" fmla="*/ 0 h 611982"/>
                  <a:gd name="connsiteX1" fmla="*/ 0 w 278606"/>
                  <a:gd name="connsiteY1" fmla="*/ 230982 h 611982"/>
                  <a:gd name="connsiteX2" fmla="*/ 130969 w 278606"/>
                  <a:gd name="connsiteY2" fmla="*/ 611982 h 611982"/>
                  <a:gd name="connsiteX3" fmla="*/ 90488 w 278606"/>
                  <a:gd name="connsiteY3" fmla="*/ 433388 h 611982"/>
                  <a:gd name="connsiteX4" fmla="*/ 278606 w 278606"/>
                  <a:gd name="connsiteY4" fmla="*/ 0 h 611982"/>
                  <a:gd name="connsiteX0" fmla="*/ 278606 w 278606"/>
                  <a:gd name="connsiteY0" fmla="*/ 0 h 611982"/>
                  <a:gd name="connsiteX1" fmla="*/ 0 w 278606"/>
                  <a:gd name="connsiteY1" fmla="*/ 230982 h 611982"/>
                  <a:gd name="connsiteX2" fmla="*/ 130969 w 278606"/>
                  <a:gd name="connsiteY2" fmla="*/ 611982 h 611982"/>
                  <a:gd name="connsiteX3" fmla="*/ 111919 w 278606"/>
                  <a:gd name="connsiteY3" fmla="*/ 257175 h 611982"/>
                  <a:gd name="connsiteX4" fmla="*/ 278606 w 278606"/>
                  <a:gd name="connsiteY4" fmla="*/ 0 h 611982"/>
                  <a:gd name="connsiteX0" fmla="*/ 278606 w 280108"/>
                  <a:gd name="connsiteY0" fmla="*/ 0 h 612036"/>
                  <a:gd name="connsiteX1" fmla="*/ 0 w 280108"/>
                  <a:gd name="connsiteY1" fmla="*/ 230982 h 612036"/>
                  <a:gd name="connsiteX2" fmla="*/ 130969 w 280108"/>
                  <a:gd name="connsiteY2" fmla="*/ 611982 h 612036"/>
                  <a:gd name="connsiteX3" fmla="*/ 111919 w 280108"/>
                  <a:gd name="connsiteY3" fmla="*/ 257175 h 612036"/>
                  <a:gd name="connsiteX4" fmla="*/ 278606 w 280108"/>
                  <a:gd name="connsiteY4" fmla="*/ 0 h 612036"/>
                  <a:gd name="connsiteX0" fmla="*/ 281555 w 283057"/>
                  <a:gd name="connsiteY0" fmla="*/ 104 h 612140"/>
                  <a:gd name="connsiteX1" fmla="*/ 2949 w 283057"/>
                  <a:gd name="connsiteY1" fmla="*/ 231086 h 612140"/>
                  <a:gd name="connsiteX2" fmla="*/ 133918 w 283057"/>
                  <a:gd name="connsiteY2" fmla="*/ 612086 h 612140"/>
                  <a:gd name="connsiteX3" fmla="*/ 114868 w 283057"/>
                  <a:gd name="connsiteY3" fmla="*/ 257279 h 612140"/>
                  <a:gd name="connsiteX4" fmla="*/ 281555 w 283057"/>
                  <a:gd name="connsiteY4" fmla="*/ 104 h 612140"/>
                  <a:gd name="connsiteX0" fmla="*/ 246720 w 248222"/>
                  <a:gd name="connsiteY0" fmla="*/ 106 h 612142"/>
                  <a:gd name="connsiteX1" fmla="*/ 3833 w 248222"/>
                  <a:gd name="connsiteY1" fmla="*/ 228706 h 612142"/>
                  <a:gd name="connsiteX2" fmla="*/ 99083 w 248222"/>
                  <a:gd name="connsiteY2" fmla="*/ 612088 h 612142"/>
                  <a:gd name="connsiteX3" fmla="*/ 80033 w 248222"/>
                  <a:gd name="connsiteY3" fmla="*/ 257281 h 612142"/>
                  <a:gd name="connsiteX4" fmla="*/ 246720 w 248222"/>
                  <a:gd name="connsiteY4" fmla="*/ 106 h 612142"/>
                  <a:gd name="connsiteX0" fmla="*/ 262531 w 264033"/>
                  <a:gd name="connsiteY0" fmla="*/ 595 h 612631"/>
                  <a:gd name="connsiteX1" fmla="*/ 19644 w 264033"/>
                  <a:gd name="connsiteY1" fmla="*/ 229195 h 612631"/>
                  <a:gd name="connsiteX2" fmla="*/ 114894 w 264033"/>
                  <a:gd name="connsiteY2" fmla="*/ 612577 h 612631"/>
                  <a:gd name="connsiteX3" fmla="*/ 95844 w 264033"/>
                  <a:gd name="connsiteY3" fmla="*/ 257770 h 612631"/>
                  <a:gd name="connsiteX4" fmla="*/ 262531 w 264033"/>
                  <a:gd name="connsiteY4" fmla="*/ 595 h 612631"/>
                  <a:gd name="connsiteX0" fmla="*/ 262531 w 264033"/>
                  <a:gd name="connsiteY0" fmla="*/ 595 h 612577"/>
                  <a:gd name="connsiteX1" fmla="*/ 19644 w 264033"/>
                  <a:gd name="connsiteY1" fmla="*/ 229195 h 612577"/>
                  <a:gd name="connsiteX2" fmla="*/ 114894 w 264033"/>
                  <a:gd name="connsiteY2" fmla="*/ 612577 h 612577"/>
                  <a:gd name="connsiteX3" fmla="*/ 95844 w 264033"/>
                  <a:gd name="connsiteY3" fmla="*/ 257770 h 612577"/>
                  <a:gd name="connsiteX4" fmla="*/ 262531 w 264033"/>
                  <a:gd name="connsiteY4" fmla="*/ 595 h 612577"/>
                  <a:gd name="connsiteX0" fmla="*/ 247288 w 248800"/>
                  <a:gd name="connsiteY0" fmla="*/ 105 h 597799"/>
                  <a:gd name="connsiteX1" fmla="*/ 4401 w 248800"/>
                  <a:gd name="connsiteY1" fmla="*/ 228705 h 597799"/>
                  <a:gd name="connsiteX2" fmla="*/ 92507 w 248800"/>
                  <a:gd name="connsiteY2" fmla="*/ 597799 h 597799"/>
                  <a:gd name="connsiteX3" fmla="*/ 80601 w 248800"/>
                  <a:gd name="connsiteY3" fmla="*/ 257280 h 597799"/>
                  <a:gd name="connsiteX4" fmla="*/ 247288 w 248800"/>
                  <a:gd name="connsiteY4" fmla="*/ 105 h 597799"/>
                  <a:gd name="connsiteX0" fmla="*/ 253014 w 254526"/>
                  <a:gd name="connsiteY0" fmla="*/ 105 h 597799"/>
                  <a:gd name="connsiteX1" fmla="*/ 10127 w 254526"/>
                  <a:gd name="connsiteY1" fmla="*/ 228705 h 597799"/>
                  <a:gd name="connsiteX2" fmla="*/ 98233 w 254526"/>
                  <a:gd name="connsiteY2" fmla="*/ 597799 h 597799"/>
                  <a:gd name="connsiteX3" fmla="*/ 86327 w 254526"/>
                  <a:gd name="connsiteY3" fmla="*/ 257280 h 597799"/>
                  <a:gd name="connsiteX4" fmla="*/ 253014 w 254526"/>
                  <a:gd name="connsiteY4" fmla="*/ 105 h 597799"/>
                  <a:gd name="connsiteX0" fmla="*/ 265765 w 267195"/>
                  <a:gd name="connsiteY0" fmla="*/ 117 h 581142"/>
                  <a:gd name="connsiteX1" fmla="*/ 10972 w 267195"/>
                  <a:gd name="connsiteY1" fmla="*/ 212048 h 581142"/>
                  <a:gd name="connsiteX2" fmla="*/ 99078 w 267195"/>
                  <a:gd name="connsiteY2" fmla="*/ 581142 h 581142"/>
                  <a:gd name="connsiteX3" fmla="*/ 87172 w 267195"/>
                  <a:gd name="connsiteY3" fmla="*/ 240623 h 581142"/>
                  <a:gd name="connsiteX4" fmla="*/ 265765 w 267195"/>
                  <a:gd name="connsiteY4" fmla="*/ 117 h 581142"/>
                  <a:gd name="connsiteX0" fmla="*/ 265765 w 267195"/>
                  <a:gd name="connsiteY0" fmla="*/ 4134 h 585159"/>
                  <a:gd name="connsiteX1" fmla="*/ 10972 w 267195"/>
                  <a:gd name="connsiteY1" fmla="*/ 216065 h 585159"/>
                  <a:gd name="connsiteX2" fmla="*/ 99078 w 267195"/>
                  <a:gd name="connsiteY2" fmla="*/ 585159 h 585159"/>
                  <a:gd name="connsiteX3" fmla="*/ 87172 w 267195"/>
                  <a:gd name="connsiteY3" fmla="*/ 244640 h 585159"/>
                  <a:gd name="connsiteX4" fmla="*/ 265765 w 267195"/>
                  <a:gd name="connsiteY4" fmla="*/ 4134 h 585159"/>
                  <a:gd name="connsiteX0" fmla="*/ 265765 w 265765"/>
                  <a:gd name="connsiteY0" fmla="*/ 4134 h 585159"/>
                  <a:gd name="connsiteX1" fmla="*/ 10972 w 265765"/>
                  <a:gd name="connsiteY1" fmla="*/ 216065 h 585159"/>
                  <a:gd name="connsiteX2" fmla="*/ 99078 w 265765"/>
                  <a:gd name="connsiteY2" fmla="*/ 585159 h 585159"/>
                  <a:gd name="connsiteX3" fmla="*/ 87172 w 265765"/>
                  <a:gd name="connsiteY3" fmla="*/ 244640 h 585159"/>
                  <a:gd name="connsiteX4" fmla="*/ 265765 w 265765"/>
                  <a:gd name="connsiteY4" fmla="*/ 4134 h 585159"/>
                  <a:gd name="connsiteX0" fmla="*/ 281072 w 281072"/>
                  <a:gd name="connsiteY0" fmla="*/ 4184 h 582827"/>
                  <a:gd name="connsiteX1" fmla="*/ 11991 w 281072"/>
                  <a:gd name="connsiteY1" fmla="*/ 213733 h 582827"/>
                  <a:gd name="connsiteX2" fmla="*/ 100097 w 281072"/>
                  <a:gd name="connsiteY2" fmla="*/ 582827 h 582827"/>
                  <a:gd name="connsiteX3" fmla="*/ 88191 w 281072"/>
                  <a:gd name="connsiteY3" fmla="*/ 242308 h 582827"/>
                  <a:gd name="connsiteX4" fmla="*/ 281072 w 281072"/>
                  <a:gd name="connsiteY4" fmla="*/ 4184 h 582827"/>
                  <a:gd name="connsiteX0" fmla="*/ 281072 w 281072"/>
                  <a:gd name="connsiteY0" fmla="*/ 12074 h 590717"/>
                  <a:gd name="connsiteX1" fmla="*/ 11991 w 281072"/>
                  <a:gd name="connsiteY1" fmla="*/ 221623 h 590717"/>
                  <a:gd name="connsiteX2" fmla="*/ 100097 w 281072"/>
                  <a:gd name="connsiteY2" fmla="*/ 590717 h 590717"/>
                  <a:gd name="connsiteX3" fmla="*/ 88191 w 281072"/>
                  <a:gd name="connsiteY3" fmla="*/ 250198 h 590717"/>
                  <a:gd name="connsiteX4" fmla="*/ 281072 w 281072"/>
                  <a:gd name="connsiteY4" fmla="*/ 12074 h 590717"/>
                  <a:gd name="connsiteX0" fmla="*/ 281072 w 281072"/>
                  <a:gd name="connsiteY0" fmla="*/ 12074 h 590717"/>
                  <a:gd name="connsiteX1" fmla="*/ 11991 w 281072"/>
                  <a:gd name="connsiteY1" fmla="*/ 221623 h 590717"/>
                  <a:gd name="connsiteX2" fmla="*/ 100097 w 281072"/>
                  <a:gd name="connsiteY2" fmla="*/ 590717 h 590717"/>
                  <a:gd name="connsiteX3" fmla="*/ 88191 w 281072"/>
                  <a:gd name="connsiteY3" fmla="*/ 250198 h 590717"/>
                  <a:gd name="connsiteX4" fmla="*/ 281072 w 281072"/>
                  <a:gd name="connsiteY4" fmla="*/ 12074 h 590717"/>
                  <a:gd name="connsiteX0" fmla="*/ 282330 w 282330"/>
                  <a:gd name="connsiteY0" fmla="*/ 11711 h 598575"/>
                  <a:gd name="connsiteX1" fmla="*/ 12075 w 282330"/>
                  <a:gd name="connsiteY1" fmla="*/ 229481 h 598575"/>
                  <a:gd name="connsiteX2" fmla="*/ 100181 w 282330"/>
                  <a:gd name="connsiteY2" fmla="*/ 598575 h 598575"/>
                  <a:gd name="connsiteX3" fmla="*/ 88275 w 282330"/>
                  <a:gd name="connsiteY3" fmla="*/ 258056 h 598575"/>
                  <a:gd name="connsiteX4" fmla="*/ 282330 w 282330"/>
                  <a:gd name="connsiteY4" fmla="*/ 11711 h 598575"/>
                  <a:gd name="connsiteX0" fmla="*/ 257168 w 257168"/>
                  <a:gd name="connsiteY0" fmla="*/ 12075 h 590717"/>
                  <a:gd name="connsiteX1" fmla="*/ 10403 w 257168"/>
                  <a:gd name="connsiteY1" fmla="*/ 221623 h 590717"/>
                  <a:gd name="connsiteX2" fmla="*/ 98509 w 257168"/>
                  <a:gd name="connsiteY2" fmla="*/ 590717 h 590717"/>
                  <a:gd name="connsiteX3" fmla="*/ 86603 w 257168"/>
                  <a:gd name="connsiteY3" fmla="*/ 250198 h 590717"/>
                  <a:gd name="connsiteX4" fmla="*/ 257168 w 257168"/>
                  <a:gd name="connsiteY4" fmla="*/ 12075 h 590717"/>
                  <a:gd name="connsiteX0" fmla="*/ 257168 w 257168"/>
                  <a:gd name="connsiteY0" fmla="*/ 3233 h 581875"/>
                  <a:gd name="connsiteX1" fmla="*/ 10403 w 257168"/>
                  <a:gd name="connsiteY1" fmla="*/ 212781 h 581875"/>
                  <a:gd name="connsiteX2" fmla="*/ 98509 w 257168"/>
                  <a:gd name="connsiteY2" fmla="*/ 581875 h 581875"/>
                  <a:gd name="connsiteX3" fmla="*/ 86603 w 257168"/>
                  <a:gd name="connsiteY3" fmla="*/ 241356 h 581875"/>
                  <a:gd name="connsiteX4" fmla="*/ 257168 w 257168"/>
                  <a:gd name="connsiteY4" fmla="*/ 3233 h 581875"/>
                  <a:gd name="connsiteX0" fmla="*/ 257168 w 257168"/>
                  <a:gd name="connsiteY0" fmla="*/ 3233 h 581875"/>
                  <a:gd name="connsiteX1" fmla="*/ 10403 w 257168"/>
                  <a:gd name="connsiteY1" fmla="*/ 212781 h 581875"/>
                  <a:gd name="connsiteX2" fmla="*/ 98509 w 257168"/>
                  <a:gd name="connsiteY2" fmla="*/ 581875 h 581875"/>
                  <a:gd name="connsiteX3" fmla="*/ 86603 w 257168"/>
                  <a:gd name="connsiteY3" fmla="*/ 241356 h 581875"/>
                  <a:gd name="connsiteX4" fmla="*/ 257168 w 257168"/>
                  <a:gd name="connsiteY4" fmla="*/ 3233 h 581875"/>
                  <a:gd name="connsiteX0" fmla="*/ 257447 w 257447"/>
                  <a:gd name="connsiteY0" fmla="*/ 3196 h 570093"/>
                  <a:gd name="connsiteX1" fmla="*/ 10682 w 257447"/>
                  <a:gd name="connsiteY1" fmla="*/ 212744 h 570093"/>
                  <a:gd name="connsiteX2" fmla="*/ 97614 w 257447"/>
                  <a:gd name="connsiteY2" fmla="*/ 570093 h 570093"/>
                  <a:gd name="connsiteX3" fmla="*/ 86882 w 257447"/>
                  <a:gd name="connsiteY3" fmla="*/ 241319 h 570093"/>
                  <a:gd name="connsiteX4" fmla="*/ 257447 w 257447"/>
                  <a:gd name="connsiteY4" fmla="*/ 3196 h 570093"/>
                  <a:gd name="connsiteX0" fmla="*/ 261071 w 261071"/>
                  <a:gd name="connsiteY0" fmla="*/ 3196 h 570093"/>
                  <a:gd name="connsiteX1" fmla="*/ 14306 w 261071"/>
                  <a:gd name="connsiteY1" fmla="*/ 212744 h 570093"/>
                  <a:gd name="connsiteX2" fmla="*/ 101238 w 261071"/>
                  <a:gd name="connsiteY2" fmla="*/ 570093 h 570093"/>
                  <a:gd name="connsiteX3" fmla="*/ 90506 w 261071"/>
                  <a:gd name="connsiteY3" fmla="*/ 241319 h 570093"/>
                  <a:gd name="connsiteX4" fmla="*/ 261071 w 261071"/>
                  <a:gd name="connsiteY4" fmla="*/ 3196 h 570093"/>
                  <a:gd name="connsiteX0" fmla="*/ 261071 w 261071"/>
                  <a:gd name="connsiteY0" fmla="*/ 3196 h 570093"/>
                  <a:gd name="connsiteX1" fmla="*/ 14306 w 261071"/>
                  <a:gd name="connsiteY1" fmla="*/ 212744 h 570093"/>
                  <a:gd name="connsiteX2" fmla="*/ 101238 w 261071"/>
                  <a:gd name="connsiteY2" fmla="*/ 570093 h 570093"/>
                  <a:gd name="connsiteX3" fmla="*/ 90506 w 261071"/>
                  <a:gd name="connsiteY3" fmla="*/ 241319 h 570093"/>
                  <a:gd name="connsiteX4" fmla="*/ 261071 w 261071"/>
                  <a:gd name="connsiteY4" fmla="*/ 3196 h 570093"/>
                  <a:gd name="connsiteX0" fmla="*/ 261071 w 261071"/>
                  <a:gd name="connsiteY0" fmla="*/ 544 h 567441"/>
                  <a:gd name="connsiteX1" fmla="*/ 14306 w 261071"/>
                  <a:gd name="connsiteY1" fmla="*/ 210092 h 567441"/>
                  <a:gd name="connsiteX2" fmla="*/ 101238 w 261071"/>
                  <a:gd name="connsiteY2" fmla="*/ 567441 h 567441"/>
                  <a:gd name="connsiteX3" fmla="*/ 90506 w 261071"/>
                  <a:gd name="connsiteY3" fmla="*/ 238667 h 567441"/>
                  <a:gd name="connsiteX4" fmla="*/ 261071 w 261071"/>
                  <a:gd name="connsiteY4" fmla="*/ 544 h 567441"/>
                  <a:gd name="connsiteX0" fmla="*/ 252241 w 252241"/>
                  <a:gd name="connsiteY0" fmla="*/ 531 h 570952"/>
                  <a:gd name="connsiteX1" fmla="*/ 13698 w 252241"/>
                  <a:gd name="connsiteY1" fmla="*/ 213603 h 570952"/>
                  <a:gd name="connsiteX2" fmla="*/ 100630 w 252241"/>
                  <a:gd name="connsiteY2" fmla="*/ 570952 h 570952"/>
                  <a:gd name="connsiteX3" fmla="*/ 89898 w 252241"/>
                  <a:gd name="connsiteY3" fmla="*/ 242178 h 570952"/>
                  <a:gd name="connsiteX4" fmla="*/ 252241 w 252241"/>
                  <a:gd name="connsiteY4" fmla="*/ 531 h 570952"/>
                  <a:gd name="connsiteX0" fmla="*/ 252241 w 252241"/>
                  <a:gd name="connsiteY0" fmla="*/ 531 h 570952"/>
                  <a:gd name="connsiteX1" fmla="*/ 13698 w 252241"/>
                  <a:gd name="connsiteY1" fmla="*/ 213603 h 570952"/>
                  <a:gd name="connsiteX2" fmla="*/ 100630 w 252241"/>
                  <a:gd name="connsiteY2" fmla="*/ 570952 h 570952"/>
                  <a:gd name="connsiteX3" fmla="*/ 89898 w 252241"/>
                  <a:gd name="connsiteY3" fmla="*/ 242178 h 570952"/>
                  <a:gd name="connsiteX4" fmla="*/ 252241 w 252241"/>
                  <a:gd name="connsiteY4" fmla="*/ 531 h 570952"/>
                  <a:gd name="connsiteX0" fmla="*/ 252241 w 252241"/>
                  <a:gd name="connsiteY0" fmla="*/ 2668 h 573089"/>
                  <a:gd name="connsiteX1" fmla="*/ 13698 w 252241"/>
                  <a:gd name="connsiteY1" fmla="*/ 215740 h 573089"/>
                  <a:gd name="connsiteX2" fmla="*/ 100630 w 252241"/>
                  <a:gd name="connsiteY2" fmla="*/ 573089 h 573089"/>
                  <a:gd name="connsiteX3" fmla="*/ 89898 w 252241"/>
                  <a:gd name="connsiteY3" fmla="*/ 244315 h 573089"/>
                  <a:gd name="connsiteX4" fmla="*/ 252241 w 252241"/>
                  <a:gd name="connsiteY4" fmla="*/ 2668 h 573089"/>
                  <a:gd name="connsiteX0" fmla="*/ 253502 w 253502"/>
                  <a:gd name="connsiteY0" fmla="*/ 2719 h 569616"/>
                  <a:gd name="connsiteX1" fmla="*/ 13784 w 253502"/>
                  <a:gd name="connsiteY1" fmla="*/ 212267 h 569616"/>
                  <a:gd name="connsiteX2" fmla="*/ 100716 w 253502"/>
                  <a:gd name="connsiteY2" fmla="*/ 569616 h 569616"/>
                  <a:gd name="connsiteX3" fmla="*/ 89984 w 253502"/>
                  <a:gd name="connsiteY3" fmla="*/ 240842 h 569616"/>
                  <a:gd name="connsiteX4" fmla="*/ 253502 w 253502"/>
                  <a:gd name="connsiteY4" fmla="*/ 2719 h 569616"/>
                  <a:gd name="connsiteX0" fmla="*/ 253502 w 253502"/>
                  <a:gd name="connsiteY0" fmla="*/ 2719 h 569616"/>
                  <a:gd name="connsiteX1" fmla="*/ 13784 w 253502"/>
                  <a:gd name="connsiteY1" fmla="*/ 212267 h 569616"/>
                  <a:gd name="connsiteX2" fmla="*/ 100716 w 253502"/>
                  <a:gd name="connsiteY2" fmla="*/ 569616 h 569616"/>
                  <a:gd name="connsiteX3" fmla="*/ 89984 w 253502"/>
                  <a:gd name="connsiteY3" fmla="*/ 240842 h 569616"/>
                  <a:gd name="connsiteX4" fmla="*/ 253502 w 253502"/>
                  <a:gd name="connsiteY4" fmla="*/ 2719 h 569616"/>
                  <a:gd name="connsiteX0" fmla="*/ 253502 w 253502"/>
                  <a:gd name="connsiteY0" fmla="*/ 1852 h 568749"/>
                  <a:gd name="connsiteX1" fmla="*/ 13784 w 253502"/>
                  <a:gd name="connsiteY1" fmla="*/ 211400 h 568749"/>
                  <a:gd name="connsiteX2" fmla="*/ 100716 w 253502"/>
                  <a:gd name="connsiteY2" fmla="*/ 568749 h 568749"/>
                  <a:gd name="connsiteX3" fmla="*/ 89984 w 253502"/>
                  <a:gd name="connsiteY3" fmla="*/ 239975 h 568749"/>
                  <a:gd name="connsiteX4" fmla="*/ 253502 w 253502"/>
                  <a:gd name="connsiteY4" fmla="*/ 1852 h 568749"/>
                  <a:gd name="connsiteX0" fmla="*/ 253502 w 479926"/>
                  <a:gd name="connsiteY0" fmla="*/ 8689 h 575586"/>
                  <a:gd name="connsiteX1" fmla="*/ 13784 w 479926"/>
                  <a:gd name="connsiteY1" fmla="*/ 218237 h 575586"/>
                  <a:gd name="connsiteX2" fmla="*/ 100716 w 479926"/>
                  <a:gd name="connsiteY2" fmla="*/ 575586 h 575586"/>
                  <a:gd name="connsiteX3" fmla="*/ 89984 w 479926"/>
                  <a:gd name="connsiteY3" fmla="*/ 246812 h 575586"/>
                  <a:gd name="connsiteX4" fmla="*/ 477545 w 479926"/>
                  <a:gd name="connsiteY4" fmla="*/ 82079 h 575586"/>
                  <a:gd name="connsiteX5" fmla="*/ 253502 w 479926"/>
                  <a:gd name="connsiteY5" fmla="*/ 8689 h 575586"/>
                  <a:gd name="connsiteX0" fmla="*/ 253502 w 479926"/>
                  <a:gd name="connsiteY0" fmla="*/ 8689 h 575586"/>
                  <a:gd name="connsiteX1" fmla="*/ 13784 w 479926"/>
                  <a:gd name="connsiteY1" fmla="*/ 218237 h 575586"/>
                  <a:gd name="connsiteX2" fmla="*/ 100716 w 479926"/>
                  <a:gd name="connsiteY2" fmla="*/ 575586 h 575586"/>
                  <a:gd name="connsiteX3" fmla="*/ 89984 w 479926"/>
                  <a:gd name="connsiteY3" fmla="*/ 246812 h 575586"/>
                  <a:gd name="connsiteX4" fmla="*/ 477545 w 479926"/>
                  <a:gd name="connsiteY4" fmla="*/ 82079 h 575586"/>
                  <a:gd name="connsiteX5" fmla="*/ 253502 w 479926"/>
                  <a:gd name="connsiteY5" fmla="*/ 8689 h 575586"/>
                  <a:gd name="connsiteX0" fmla="*/ 253502 w 479926"/>
                  <a:gd name="connsiteY0" fmla="*/ 8689 h 575586"/>
                  <a:gd name="connsiteX1" fmla="*/ 13784 w 479926"/>
                  <a:gd name="connsiteY1" fmla="*/ 218237 h 575586"/>
                  <a:gd name="connsiteX2" fmla="*/ 100716 w 479926"/>
                  <a:gd name="connsiteY2" fmla="*/ 575586 h 575586"/>
                  <a:gd name="connsiteX3" fmla="*/ 89984 w 479926"/>
                  <a:gd name="connsiteY3" fmla="*/ 246812 h 575586"/>
                  <a:gd name="connsiteX4" fmla="*/ 477545 w 479926"/>
                  <a:gd name="connsiteY4" fmla="*/ 82079 h 575586"/>
                  <a:gd name="connsiteX5" fmla="*/ 253502 w 479926"/>
                  <a:gd name="connsiteY5" fmla="*/ 8689 h 575586"/>
                  <a:gd name="connsiteX0" fmla="*/ 253502 w 477545"/>
                  <a:gd name="connsiteY0" fmla="*/ 11619 h 578516"/>
                  <a:gd name="connsiteX1" fmla="*/ 13784 w 477545"/>
                  <a:gd name="connsiteY1" fmla="*/ 221167 h 578516"/>
                  <a:gd name="connsiteX2" fmla="*/ 100716 w 477545"/>
                  <a:gd name="connsiteY2" fmla="*/ 578516 h 578516"/>
                  <a:gd name="connsiteX3" fmla="*/ 89984 w 477545"/>
                  <a:gd name="connsiteY3" fmla="*/ 249742 h 578516"/>
                  <a:gd name="connsiteX4" fmla="*/ 477545 w 477545"/>
                  <a:gd name="connsiteY4" fmla="*/ 85009 h 578516"/>
                  <a:gd name="connsiteX5" fmla="*/ 253502 w 477545"/>
                  <a:gd name="connsiteY5" fmla="*/ 11619 h 578516"/>
                  <a:gd name="connsiteX0" fmla="*/ 242150 w 476764"/>
                  <a:gd name="connsiteY0" fmla="*/ 10485 h 585604"/>
                  <a:gd name="connsiteX1" fmla="*/ 13003 w 476764"/>
                  <a:gd name="connsiteY1" fmla="*/ 228255 h 585604"/>
                  <a:gd name="connsiteX2" fmla="*/ 99935 w 476764"/>
                  <a:gd name="connsiteY2" fmla="*/ 585604 h 585604"/>
                  <a:gd name="connsiteX3" fmla="*/ 89203 w 476764"/>
                  <a:gd name="connsiteY3" fmla="*/ 256830 h 585604"/>
                  <a:gd name="connsiteX4" fmla="*/ 476764 w 476764"/>
                  <a:gd name="connsiteY4" fmla="*/ 92097 h 585604"/>
                  <a:gd name="connsiteX5" fmla="*/ 242150 w 476764"/>
                  <a:gd name="connsiteY5" fmla="*/ 10485 h 585604"/>
                  <a:gd name="connsiteX0" fmla="*/ 242150 w 476764"/>
                  <a:gd name="connsiteY0" fmla="*/ 1772 h 576891"/>
                  <a:gd name="connsiteX1" fmla="*/ 13003 w 476764"/>
                  <a:gd name="connsiteY1" fmla="*/ 219542 h 576891"/>
                  <a:gd name="connsiteX2" fmla="*/ 99935 w 476764"/>
                  <a:gd name="connsiteY2" fmla="*/ 576891 h 576891"/>
                  <a:gd name="connsiteX3" fmla="*/ 89203 w 476764"/>
                  <a:gd name="connsiteY3" fmla="*/ 248117 h 576891"/>
                  <a:gd name="connsiteX4" fmla="*/ 476764 w 476764"/>
                  <a:gd name="connsiteY4" fmla="*/ 83384 h 576891"/>
                  <a:gd name="connsiteX5" fmla="*/ 242150 w 476764"/>
                  <a:gd name="connsiteY5" fmla="*/ 1772 h 576891"/>
                  <a:gd name="connsiteX0" fmla="*/ 242150 w 476764"/>
                  <a:gd name="connsiteY0" fmla="*/ 1147 h 576266"/>
                  <a:gd name="connsiteX1" fmla="*/ 13003 w 476764"/>
                  <a:gd name="connsiteY1" fmla="*/ 218917 h 576266"/>
                  <a:gd name="connsiteX2" fmla="*/ 99935 w 476764"/>
                  <a:gd name="connsiteY2" fmla="*/ 576266 h 576266"/>
                  <a:gd name="connsiteX3" fmla="*/ 89203 w 476764"/>
                  <a:gd name="connsiteY3" fmla="*/ 247492 h 576266"/>
                  <a:gd name="connsiteX4" fmla="*/ 476764 w 476764"/>
                  <a:gd name="connsiteY4" fmla="*/ 82759 h 576266"/>
                  <a:gd name="connsiteX5" fmla="*/ 242150 w 476764"/>
                  <a:gd name="connsiteY5" fmla="*/ 1147 h 576266"/>
                  <a:gd name="connsiteX0" fmla="*/ 242150 w 476764"/>
                  <a:gd name="connsiteY0" fmla="*/ 16 h 575135"/>
                  <a:gd name="connsiteX1" fmla="*/ 13003 w 476764"/>
                  <a:gd name="connsiteY1" fmla="*/ 217786 h 575135"/>
                  <a:gd name="connsiteX2" fmla="*/ 99935 w 476764"/>
                  <a:gd name="connsiteY2" fmla="*/ 575135 h 575135"/>
                  <a:gd name="connsiteX3" fmla="*/ 89203 w 476764"/>
                  <a:gd name="connsiteY3" fmla="*/ 246361 h 575135"/>
                  <a:gd name="connsiteX4" fmla="*/ 476764 w 476764"/>
                  <a:gd name="connsiteY4" fmla="*/ 81628 h 575135"/>
                  <a:gd name="connsiteX5" fmla="*/ 242150 w 476764"/>
                  <a:gd name="connsiteY5" fmla="*/ 16 h 575135"/>
                  <a:gd name="connsiteX0" fmla="*/ 219444 w 475199"/>
                  <a:gd name="connsiteY0" fmla="*/ 14 h 578657"/>
                  <a:gd name="connsiteX1" fmla="*/ 11438 w 475199"/>
                  <a:gd name="connsiteY1" fmla="*/ 221308 h 578657"/>
                  <a:gd name="connsiteX2" fmla="*/ 98370 w 475199"/>
                  <a:gd name="connsiteY2" fmla="*/ 578657 h 578657"/>
                  <a:gd name="connsiteX3" fmla="*/ 87638 w 475199"/>
                  <a:gd name="connsiteY3" fmla="*/ 249883 h 578657"/>
                  <a:gd name="connsiteX4" fmla="*/ 475199 w 475199"/>
                  <a:gd name="connsiteY4" fmla="*/ 85150 h 578657"/>
                  <a:gd name="connsiteX5" fmla="*/ 219444 w 475199"/>
                  <a:gd name="connsiteY5" fmla="*/ 14 h 578657"/>
                  <a:gd name="connsiteX0" fmla="*/ 208734 w 464489"/>
                  <a:gd name="connsiteY0" fmla="*/ 16 h 662049"/>
                  <a:gd name="connsiteX1" fmla="*/ 728 w 464489"/>
                  <a:gd name="connsiteY1" fmla="*/ 221310 h 662049"/>
                  <a:gd name="connsiteX2" fmla="*/ 287328 w 464489"/>
                  <a:gd name="connsiteY2" fmla="*/ 662049 h 662049"/>
                  <a:gd name="connsiteX3" fmla="*/ 76928 w 464489"/>
                  <a:gd name="connsiteY3" fmla="*/ 249885 h 662049"/>
                  <a:gd name="connsiteX4" fmla="*/ 464489 w 464489"/>
                  <a:gd name="connsiteY4" fmla="*/ 85152 h 662049"/>
                  <a:gd name="connsiteX5" fmla="*/ 208734 w 464489"/>
                  <a:gd name="connsiteY5" fmla="*/ 16 h 662049"/>
                  <a:gd name="connsiteX0" fmla="*/ 234395 w 490150"/>
                  <a:gd name="connsiteY0" fmla="*/ 15 h 678325"/>
                  <a:gd name="connsiteX1" fmla="*/ 26389 w 490150"/>
                  <a:gd name="connsiteY1" fmla="*/ 221309 h 678325"/>
                  <a:gd name="connsiteX2" fmla="*/ 34437 w 490150"/>
                  <a:gd name="connsiteY2" fmla="*/ 574923 h 678325"/>
                  <a:gd name="connsiteX3" fmla="*/ 312989 w 490150"/>
                  <a:gd name="connsiteY3" fmla="*/ 662048 h 678325"/>
                  <a:gd name="connsiteX4" fmla="*/ 102589 w 490150"/>
                  <a:gd name="connsiteY4" fmla="*/ 249884 h 678325"/>
                  <a:gd name="connsiteX5" fmla="*/ 490150 w 490150"/>
                  <a:gd name="connsiteY5" fmla="*/ 85151 h 678325"/>
                  <a:gd name="connsiteX6" fmla="*/ 234395 w 490150"/>
                  <a:gd name="connsiteY6" fmla="*/ 15 h 678325"/>
                  <a:gd name="connsiteX0" fmla="*/ 234395 w 490150"/>
                  <a:gd name="connsiteY0" fmla="*/ 15 h 678325"/>
                  <a:gd name="connsiteX1" fmla="*/ 26389 w 490150"/>
                  <a:gd name="connsiteY1" fmla="*/ 221309 h 678325"/>
                  <a:gd name="connsiteX2" fmla="*/ 34437 w 490150"/>
                  <a:gd name="connsiteY2" fmla="*/ 574923 h 678325"/>
                  <a:gd name="connsiteX3" fmla="*/ 312989 w 490150"/>
                  <a:gd name="connsiteY3" fmla="*/ 662048 h 678325"/>
                  <a:gd name="connsiteX4" fmla="*/ 102589 w 490150"/>
                  <a:gd name="connsiteY4" fmla="*/ 249884 h 678325"/>
                  <a:gd name="connsiteX5" fmla="*/ 490150 w 490150"/>
                  <a:gd name="connsiteY5" fmla="*/ 85151 h 678325"/>
                  <a:gd name="connsiteX6" fmla="*/ 234395 w 490150"/>
                  <a:gd name="connsiteY6" fmla="*/ 15 h 678325"/>
                  <a:gd name="connsiteX0" fmla="*/ 234395 w 490150"/>
                  <a:gd name="connsiteY0" fmla="*/ 15 h 662062"/>
                  <a:gd name="connsiteX1" fmla="*/ 26389 w 490150"/>
                  <a:gd name="connsiteY1" fmla="*/ 221309 h 662062"/>
                  <a:gd name="connsiteX2" fmla="*/ 34437 w 490150"/>
                  <a:gd name="connsiteY2" fmla="*/ 574923 h 662062"/>
                  <a:gd name="connsiteX3" fmla="*/ 312989 w 490150"/>
                  <a:gd name="connsiteY3" fmla="*/ 662048 h 662062"/>
                  <a:gd name="connsiteX4" fmla="*/ 102589 w 490150"/>
                  <a:gd name="connsiteY4" fmla="*/ 249884 h 662062"/>
                  <a:gd name="connsiteX5" fmla="*/ 490150 w 490150"/>
                  <a:gd name="connsiteY5" fmla="*/ 85151 h 662062"/>
                  <a:gd name="connsiteX6" fmla="*/ 234395 w 490150"/>
                  <a:gd name="connsiteY6" fmla="*/ 15 h 662062"/>
                  <a:gd name="connsiteX0" fmla="*/ 234395 w 490150"/>
                  <a:gd name="connsiteY0" fmla="*/ 15 h 662062"/>
                  <a:gd name="connsiteX1" fmla="*/ 26389 w 490150"/>
                  <a:gd name="connsiteY1" fmla="*/ 221309 h 662062"/>
                  <a:gd name="connsiteX2" fmla="*/ 34437 w 490150"/>
                  <a:gd name="connsiteY2" fmla="*/ 574923 h 662062"/>
                  <a:gd name="connsiteX3" fmla="*/ 312989 w 490150"/>
                  <a:gd name="connsiteY3" fmla="*/ 662048 h 662062"/>
                  <a:gd name="connsiteX4" fmla="*/ 102589 w 490150"/>
                  <a:gd name="connsiteY4" fmla="*/ 249884 h 662062"/>
                  <a:gd name="connsiteX5" fmla="*/ 490150 w 490150"/>
                  <a:gd name="connsiteY5" fmla="*/ 85151 h 662062"/>
                  <a:gd name="connsiteX6" fmla="*/ 234395 w 490150"/>
                  <a:gd name="connsiteY6" fmla="*/ 15 h 662062"/>
                  <a:gd name="connsiteX0" fmla="*/ 234395 w 490150"/>
                  <a:gd name="connsiteY0" fmla="*/ 15 h 662062"/>
                  <a:gd name="connsiteX1" fmla="*/ 26389 w 490150"/>
                  <a:gd name="connsiteY1" fmla="*/ 221309 h 662062"/>
                  <a:gd name="connsiteX2" fmla="*/ 34437 w 490150"/>
                  <a:gd name="connsiteY2" fmla="*/ 574923 h 662062"/>
                  <a:gd name="connsiteX3" fmla="*/ 312989 w 490150"/>
                  <a:gd name="connsiteY3" fmla="*/ 662048 h 662062"/>
                  <a:gd name="connsiteX4" fmla="*/ 228262 w 490150"/>
                  <a:gd name="connsiteY4" fmla="*/ 315656 h 662062"/>
                  <a:gd name="connsiteX5" fmla="*/ 490150 w 490150"/>
                  <a:gd name="connsiteY5" fmla="*/ 85151 h 662062"/>
                  <a:gd name="connsiteX6" fmla="*/ 234395 w 490150"/>
                  <a:gd name="connsiteY6" fmla="*/ 15 h 662062"/>
                  <a:gd name="connsiteX0" fmla="*/ 234395 w 478405"/>
                  <a:gd name="connsiteY0" fmla="*/ 7910 h 669957"/>
                  <a:gd name="connsiteX1" fmla="*/ 26389 w 478405"/>
                  <a:gd name="connsiteY1" fmla="*/ 229204 h 669957"/>
                  <a:gd name="connsiteX2" fmla="*/ 34437 w 478405"/>
                  <a:gd name="connsiteY2" fmla="*/ 582818 h 669957"/>
                  <a:gd name="connsiteX3" fmla="*/ 312989 w 478405"/>
                  <a:gd name="connsiteY3" fmla="*/ 669943 h 669957"/>
                  <a:gd name="connsiteX4" fmla="*/ 228262 w 478405"/>
                  <a:gd name="connsiteY4" fmla="*/ 323551 h 669957"/>
                  <a:gd name="connsiteX5" fmla="*/ 478405 w 478405"/>
                  <a:gd name="connsiteY5" fmla="*/ 83650 h 669957"/>
                  <a:gd name="connsiteX6" fmla="*/ 234395 w 478405"/>
                  <a:gd name="connsiteY6" fmla="*/ 7910 h 669957"/>
                  <a:gd name="connsiteX0" fmla="*/ 234395 w 467834"/>
                  <a:gd name="connsiteY0" fmla="*/ 5932 h 667979"/>
                  <a:gd name="connsiteX1" fmla="*/ 26389 w 467834"/>
                  <a:gd name="connsiteY1" fmla="*/ 227226 h 667979"/>
                  <a:gd name="connsiteX2" fmla="*/ 34437 w 467834"/>
                  <a:gd name="connsiteY2" fmla="*/ 580840 h 667979"/>
                  <a:gd name="connsiteX3" fmla="*/ 312989 w 467834"/>
                  <a:gd name="connsiteY3" fmla="*/ 667965 h 667979"/>
                  <a:gd name="connsiteX4" fmla="*/ 228262 w 467834"/>
                  <a:gd name="connsiteY4" fmla="*/ 321573 h 667979"/>
                  <a:gd name="connsiteX5" fmla="*/ 467834 w 467834"/>
                  <a:gd name="connsiteY5" fmla="*/ 93417 h 667979"/>
                  <a:gd name="connsiteX6" fmla="*/ 234395 w 467834"/>
                  <a:gd name="connsiteY6" fmla="*/ 5932 h 667979"/>
                  <a:gd name="connsiteX0" fmla="*/ 234395 w 467834"/>
                  <a:gd name="connsiteY0" fmla="*/ 5932 h 667979"/>
                  <a:gd name="connsiteX1" fmla="*/ 26389 w 467834"/>
                  <a:gd name="connsiteY1" fmla="*/ 227226 h 667979"/>
                  <a:gd name="connsiteX2" fmla="*/ 34437 w 467834"/>
                  <a:gd name="connsiteY2" fmla="*/ 580840 h 667979"/>
                  <a:gd name="connsiteX3" fmla="*/ 312989 w 467834"/>
                  <a:gd name="connsiteY3" fmla="*/ 667965 h 667979"/>
                  <a:gd name="connsiteX4" fmla="*/ 228262 w 467834"/>
                  <a:gd name="connsiteY4" fmla="*/ 321573 h 667979"/>
                  <a:gd name="connsiteX5" fmla="*/ 467834 w 467834"/>
                  <a:gd name="connsiteY5" fmla="*/ 93417 h 667979"/>
                  <a:gd name="connsiteX6" fmla="*/ 234395 w 467834"/>
                  <a:gd name="connsiteY6" fmla="*/ 5932 h 667979"/>
                  <a:gd name="connsiteX0" fmla="*/ 234395 w 467834"/>
                  <a:gd name="connsiteY0" fmla="*/ 5932 h 667988"/>
                  <a:gd name="connsiteX1" fmla="*/ 26389 w 467834"/>
                  <a:gd name="connsiteY1" fmla="*/ 227226 h 667988"/>
                  <a:gd name="connsiteX2" fmla="*/ 34437 w 467834"/>
                  <a:gd name="connsiteY2" fmla="*/ 586712 h 667988"/>
                  <a:gd name="connsiteX3" fmla="*/ 312989 w 467834"/>
                  <a:gd name="connsiteY3" fmla="*/ 667965 h 667988"/>
                  <a:gd name="connsiteX4" fmla="*/ 228262 w 467834"/>
                  <a:gd name="connsiteY4" fmla="*/ 321573 h 667988"/>
                  <a:gd name="connsiteX5" fmla="*/ 467834 w 467834"/>
                  <a:gd name="connsiteY5" fmla="*/ 93417 h 667988"/>
                  <a:gd name="connsiteX6" fmla="*/ 234395 w 467834"/>
                  <a:gd name="connsiteY6" fmla="*/ 5932 h 667988"/>
                  <a:gd name="connsiteX0" fmla="*/ 234395 w 467834"/>
                  <a:gd name="connsiteY0" fmla="*/ 5932 h 667988"/>
                  <a:gd name="connsiteX1" fmla="*/ 26389 w 467834"/>
                  <a:gd name="connsiteY1" fmla="*/ 227226 h 667988"/>
                  <a:gd name="connsiteX2" fmla="*/ 34437 w 467834"/>
                  <a:gd name="connsiteY2" fmla="*/ 586712 h 667988"/>
                  <a:gd name="connsiteX3" fmla="*/ 312989 w 467834"/>
                  <a:gd name="connsiteY3" fmla="*/ 667965 h 667988"/>
                  <a:gd name="connsiteX4" fmla="*/ 228262 w 467834"/>
                  <a:gd name="connsiteY4" fmla="*/ 321573 h 667988"/>
                  <a:gd name="connsiteX5" fmla="*/ 467834 w 467834"/>
                  <a:gd name="connsiteY5" fmla="*/ 93417 h 667988"/>
                  <a:gd name="connsiteX6" fmla="*/ 234395 w 467834"/>
                  <a:gd name="connsiteY6" fmla="*/ 5932 h 667988"/>
                  <a:gd name="connsiteX0" fmla="*/ 234395 w 467834"/>
                  <a:gd name="connsiteY0" fmla="*/ 7013 h 669069"/>
                  <a:gd name="connsiteX1" fmla="*/ 26389 w 467834"/>
                  <a:gd name="connsiteY1" fmla="*/ 228307 h 669069"/>
                  <a:gd name="connsiteX2" fmla="*/ 34437 w 467834"/>
                  <a:gd name="connsiteY2" fmla="*/ 587793 h 669069"/>
                  <a:gd name="connsiteX3" fmla="*/ 312989 w 467834"/>
                  <a:gd name="connsiteY3" fmla="*/ 669046 h 669069"/>
                  <a:gd name="connsiteX4" fmla="*/ 228262 w 467834"/>
                  <a:gd name="connsiteY4" fmla="*/ 322654 h 669069"/>
                  <a:gd name="connsiteX5" fmla="*/ 467834 w 467834"/>
                  <a:gd name="connsiteY5" fmla="*/ 94498 h 669069"/>
                  <a:gd name="connsiteX6" fmla="*/ 234395 w 467834"/>
                  <a:gd name="connsiteY6" fmla="*/ 7013 h 669069"/>
                  <a:gd name="connsiteX0" fmla="*/ 234395 w 467834"/>
                  <a:gd name="connsiteY0" fmla="*/ 7013 h 669069"/>
                  <a:gd name="connsiteX1" fmla="*/ 26389 w 467834"/>
                  <a:gd name="connsiteY1" fmla="*/ 228307 h 669069"/>
                  <a:gd name="connsiteX2" fmla="*/ 34437 w 467834"/>
                  <a:gd name="connsiteY2" fmla="*/ 587793 h 669069"/>
                  <a:gd name="connsiteX3" fmla="*/ 312989 w 467834"/>
                  <a:gd name="connsiteY3" fmla="*/ 669046 h 669069"/>
                  <a:gd name="connsiteX4" fmla="*/ 228262 w 467834"/>
                  <a:gd name="connsiteY4" fmla="*/ 322654 h 669069"/>
                  <a:gd name="connsiteX5" fmla="*/ 467834 w 467834"/>
                  <a:gd name="connsiteY5" fmla="*/ 94498 h 669069"/>
                  <a:gd name="connsiteX6" fmla="*/ 234395 w 467834"/>
                  <a:gd name="connsiteY6" fmla="*/ 7013 h 669069"/>
                  <a:gd name="connsiteX0" fmla="*/ 234395 w 467834"/>
                  <a:gd name="connsiteY0" fmla="*/ 7013 h 666726"/>
                  <a:gd name="connsiteX1" fmla="*/ 26389 w 467834"/>
                  <a:gd name="connsiteY1" fmla="*/ 228307 h 666726"/>
                  <a:gd name="connsiteX2" fmla="*/ 34437 w 467834"/>
                  <a:gd name="connsiteY2" fmla="*/ 587793 h 666726"/>
                  <a:gd name="connsiteX3" fmla="*/ 322385 w 467834"/>
                  <a:gd name="connsiteY3" fmla="*/ 666697 h 666726"/>
                  <a:gd name="connsiteX4" fmla="*/ 228262 w 467834"/>
                  <a:gd name="connsiteY4" fmla="*/ 322654 h 666726"/>
                  <a:gd name="connsiteX5" fmla="*/ 467834 w 467834"/>
                  <a:gd name="connsiteY5" fmla="*/ 94498 h 666726"/>
                  <a:gd name="connsiteX6" fmla="*/ 234395 w 467834"/>
                  <a:gd name="connsiteY6" fmla="*/ 7013 h 666726"/>
                  <a:gd name="connsiteX0" fmla="*/ 234395 w 467834"/>
                  <a:gd name="connsiteY0" fmla="*/ 7013 h 673946"/>
                  <a:gd name="connsiteX1" fmla="*/ 26389 w 467834"/>
                  <a:gd name="connsiteY1" fmla="*/ 228307 h 673946"/>
                  <a:gd name="connsiteX2" fmla="*/ 34437 w 467834"/>
                  <a:gd name="connsiteY2" fmla="*/ 587793 h 673946"/>
                  <a:gd name="connsiteX3" fmla="*/ 322385 w 467834"/>
                  <a:gd name="connsiteY3" fmla="*/ 666697 h 673946"/>
                  <a:gd name="connsiteX4" fmla="*/ 228262 w 467834"/>
                  <a:gd name="connsiteY4" fmla="*/ 322654 h 673946"/>
                  <a:gd name="connsiteX5" fmla="*/ 467834 w 467834"/>
                  <a:gd name="connsiteY5" fmla="*/ 94498 h 673946"/>
                  <a:gd name="connsiteX6" fmla="*/ 234395 w 467834"/>
                  <a:gd name="connsiteY6" fmla="*/ 7013 h 673946"/>
                  <a:gd name="connsiteX0" fmla="*/ 229530 w 462969"/>
                  <a:gd name="connsiteY0" fmla="*/ 7013 h 672897"/>
                  <a:gd name="connsiteX1" fmla="*/ 21524 w 462969"/>
                  <a:gd name="connsiteY1" fmla="*/ 228307 h 672897"/>
                  <a:gd name="connsiteX2" fmla="*/ 38968 w 462969"/>
                  <a:gd name="connsiteY2" fmla="*/ 578397 h 672897"/>
                  <a:gd name="connsiteX3" fmla="*/ 317520 w 462969"/>
                  <a:gd name="connsiteY3" fmla="*/ 666697 h 672897"/>
                  <a:gd name="connsiteX4" fmla="*/ 223397 w 462969"/>
                  <a:gd name="connsiteY4" fmla="*/ 322654 h 672897"/>
                  <a:gd name="connsiteX5" fmla="*/ 462969 w 462969"/>
                  <a:gd name="connsiteY5" fmla="*/ 94498 h 672897"/>
                  <a:gd name="connsiteX6" fmla="*/ 229530 w 462969"/>
                  <a:gd name="connsiteY6" fmla="*/ 7013 h 672897"/>
                  <a:gd name="connsiteX0" fmla="*/ 229530 w 462969"/>
                  <a:gd name="connsiteY0" fmla="*/ 7013 h 646280"/>
                  <a:gd name="connsiteX1" fmla="*/ 21524 w 462969"/>
                  <a:gd name="connsiteY1" fmla="*/ 228307 h 646280"/>
                  <a:gd name="connsiteX2" fmla="*/ 38968 w 462969"/>
                  <a:gd name="connsiteY2" fmla="*/ 578397 h 646280"/>
                  <a:gd name="connsiteX3" fmla="*/ 281111 w 462969"/>
                  <a:gd name="connsiteY3" fmla="*/ 634985 h 646280"/>
                  <a:gd name="connsiteX4" fmla="*/ 223397 w 462969"/>
                  <a:gd name="connsiteY4" fmla="*/ 322654 h 646280"/>
                  <a:gd name="connsiteX5" fmla="*/ 462969 w 462969"/>
                  <a:gd name="connsiteY5" fmla="*/ 94498 h 646280"/>
                  <a:gd name="connsiteX6" fmla="*/ 229530 w 462969"/>
                  <a:gd name="connsiteY6" fmla="*/ 7013 h 646280"/>
                  <a:gd name="connsiteX0" fmla="*/ 229530 w 462969"/>
                  <a:gd name="connsiteY0" fmla="*/ 7013 h 677166"/>
                  <a:gd name="connsiteX1" fmla="*/ 21524 w 462969"/>
                  <a:gd name="connsiteY1" fmla="*/ 228307 h 677166"/>
                  <a:gd name="connsiteX2" fmla="*/ 38968 w 462969"/>
                  <a:gd name="connsiteY2" fmla="*/ 578397 h 677166"/>
                  <a:gd name="connsiteX3" fmla="*/ 324568 w 462969"/>
                  <a:gd name="connsiteY3" fmla="*/ 671395 h 677166"/>
                  <a:gd name="connsiteX4" fmla="*/ 223397 w 462969"/>
                  <a:gd name="connsiteY4" fmla="*/ 322654 h 677166"/>
                  <a:gd name="connsiteX5" fmla="*/ 462969 w 462969"/>
                  <a:gd name="connsiteY5" fmla="*/ 94498 h 677166"/>
                  <a:gd name="connsiteX6" fmla="*/ 229530 w 462969"/>
                  <a:gd name="connsiteY6" fmla="*/ 7013 h 677166"/>
                  <a:gd name="connsiteX0" fmla="*/ 229530 w 462969"/>
                  <a:gd name="connsiteY0" fmla="*/ 7013 h 677166"/>
                  <a:gd name="connsiteX1" fmla="*/ 21524 w 462969"/>
                  <a:gd name="connsiteY1" fmla="*/ 228307 h 677166"/>
                  <a:gd name="connsiteX2" fmla="*/ 38968 w 462969"/>
                  <a:gd name="connsiteY2" fmla="*/ 578397 h 677166"/>
                  <a:gd name="connsiteX3" fmla="*/ 324568 w 462969"/>
                  <a:gd name="connsiteY3" fmla="*/ 671395 h 677166"/>
                  <a:gd name="connsiteX4" fmla="*/ 223397 w 462969"/>
                  <a:gd name="connsiteY4" fmla="*/ 322654 h 677166"/>
                  <a:gd name="connsiteX5" fmla="*/ 462969 w 462969"/>
                  <a:gd name="connsiteY5" fmla="*/ 94498 h 677166"/>
                  <a:gd name="connsiteX6" fmla="*/ 229530 w 462969"/>
                  <a:gd name="connsiteY6" fmla="*/ 7013 h 677166"/>
                  <a:gd name="connsiteX0" fmla="*/ 229530 w 462969"/>
                  <a:gd name="connsiteY0" fmla="*/ 7013 h 666610"/>
                  <a:gd name="connsiteX1" fmla="*/ 21524 w 462969"/>
                  <a:gd name="connsiteY1" fmla="*/ 228307 h 666610"/>
                  <a:gd name="connsiteX2" fmla="*/ 38968 w 462969"/>
                  <a:gd name="connsiteY2" fmla="*/ 578397 h 666610"/>
                  <a:gd name="connsiteX3" fmla="*/ 325743 w 462969"/>
                  <a:gd name="connsiteY3" fmla="*/ 659650 h 666610"/>
                  <a:gd name="connsiteX4" fmla="*/ 223397 w 462969"/>
                  <a:gd name="connsiteY4" fmla="*/ 322654 h 666610"/>
                  <a:gd name="connsiteX5" fmla="*/ 462969 w 462969"/>
                  <a:gd name="connsiteY5" fmla="*/ 94498 h 666610"/>
                  <a:gd name="connsiteX6" fmla="*/ 229530 w 462969"/>
                  <a:gd name="connsiteY6" fmla="*/ 7013 h 666610"/>
                  <a:gd name="connsiteX0" fmla="*/ 229530 w 462969"/>
                  <a:gd name="connsiteY0" fmla="*/ 7013 h 673862"/>
                  <a:gd name="connsiteX1" fmla="*/ 21524 w 462969"/>
                  <a:gd name="connsiteY1" fmla="*/ 228307 h 673862"/>
                  <a:gd name="connsiteX2" fmla="*/ 38968 w 462969"/>
                  <a:gd name="connsiteY2" fmla="*/ 578397 h 673862"/>
                  <a:gd name="connsiteX3" fmla="*/ 325743 w 462969"/>
                  <a:gd name="connsiteY3" fmla="*/ 659650 h 673862"/>
                  <a:gd name="connsiteX4" fmla="*/ 223397 w 462969"/>
                  <a:gd name="connsiteY4" fmla="*/ 322654 h 673862"/>
                  <a:gd name="connsiteX5" fmla="*/ 462969 w 462969"/>
                  <a:gd name="connsiteY5" fmla="*/ 94498 h 673862"/>
                  <a:gd name="connsiteX6" fmla="*/ 229530 w 462969"/>
                  <a:gd name="connsiteY6" fmla="*/ 7013 h 673862"/>
                  <a:gd name="connsiteX0" fmla="*/ 229530 w 462969"/>
                  <a:gd name="connsiteY0" fmla="*/ 7013 h 673862"/>
                  <a:gd name="connsiteX1" fmla="*/ 21524 w 462969"/>
                  <a:gd name="connsiteY1" fmla="*/ 228307 h 673862"/>
                  <a:gd name="connsiteX2" fmla="*/ 38968 w 462969"/>
                  <a:gd name="connsiteY2" fmla="*/ 578397 h 673862"/>
                  <a:gd name="connsiteX3" fmla="*/ 325743 w 462969"/>
                  <a:gd name="connsiteY3" fmla="*/ 659650 h 673862"/>
                  <a:gd name="connsiteX4" fmla="*/ 223397 w 462969"/>
                  <a:gd name="connsiteY4" fmla="*/ 322654 h 673862"/>
                  <a:gd name="connsiteX5" fmla="*/ 462969 w 462969"/>
                  <a:gd name="connsiteY5" fmla="*/ 94498 h 673862"/>
                  <a:gd name="connsiteX6" fmla="*/ 229530 w 462969"/>
                  <a:gd name="connsiteY6" fmla="*/ 7013 h 673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2969" h="673862">
                    <a:moveTo>
                      <a:pt x="229530" y="7013"/>
                    </a:moveTo>
                    <a:cubicBezTo>
                      <a:pt x="155956" y="29315"/>
                      <a:pt x="53284" y="133076"/>
                      <a:pt x="21524" y="228307"/>
                    </a:cubicBezTo>
                    <a:cubicBezTo>
                      <a:pt x="-10236" y="323538"/>
                      <a:pt x="-8799" y="504941"/>
                      <a:pt x="38968" y="578397"/>
                    </a:cubicBezTo>
                    <a:cubicBezTo>
                      <a:pt x="86735" y="651854"/>
                      <a:pt x="261139" y="698946"/>
                      <a:pt x="325743" y="659650"/>
                    </a:cubicBezTo>
                    <a:cubicBezTo>
                      <a:pt x="167639" y="602374"/>
                      <a:pt x="200526" y="416846"/>
                      <a:pt x="223397" y="322654"/>
                    </a:cubicBezTo>
                    <a:cubicBezTo>
                      <a:pt x="246268" y="228462"/>
                      <a:pt x="378165" y="70761"/>
                      <a:pt x="462969" y="94498"/>
                    </a:cubicBezTo>
                    <a:cubicBezTo>
                      <a:pt x="433845" y="16053"/>
                      <a:pt x="303104" y="-15289"/>
                      <a:pt x="229530" y="7013"/>
                    </a:cubicBez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chemeClr val="tx1"/>
                  </a:solidFill>
                </a:endParaRPr>
              </a:p>
            </p:txBody>
          </p:sp>
          <p:sp>
            <p:nvSpPr>
              <p:cNvPr id="219" name="Freeform 218"/>
              <p:cNvSpPr/>
              <p:nvPr/>
            </p:nvSpPr>
            <p:spPr bwMode="auto">
              <a:xfrm>
                <a:off x="3284989" y="5340152"/>
                <a:ext cx="763876" cy="1158706"/>
              </a:xfrm>
              <a:custGeom>
                <a:avLst/>
                <a:gdLst>
                  <a:gd name="connsiteX0" fmla="*/ 269081 w 269081"/>
                  <a:gd name="connsiteY0" fmla="*/ 0 h 611982"/>
                  <a:gd name="connsiteX1" fmla="*/ 97631 w 269081"/>
                  <a:gd name="connsiteY1" fmla="*/ 102394 h 611982"/>
                  <a:gd name="connsiteX2" fmla="*/ 0 w 269081"/>
                  <a:gd name="connsiteY2" fmla="*/ 369094 h 611982"/>
                  <a:gd name="connsiteX3" fmla="*/ 121444 w 269081"/>
                  <a:gd name="connsiteY3" fmla="*/ 611982 h 611982"/>
                  <a:gd name="connsiteX4" fmla="*/ 80963 w 269081"/>
                  <a:gd name="connsiteY4" fmla="*/ 433388 h 611982"/>
                  <a:gd name="connsiteX5" fmla="*/ 214313 w 269081"/>
                  <a:gd name="connsiteY5" fmla="*/ 76200 h 611982"/>
                  <a:gd name="connsiteX6" fmla="*/ 269081 w 269081"/>
                  <a:gd name="connsiteY6" fmla="*/ 0 h 611982"/>
                  <a:gd name="connsiteX0" fmla="*/ 188118 w 188118"/>
                  <a:gd name="connsiteY0" fmla="*/ 0 h 611982"/>
                  <a:gd name="connsiteX1" fmla="*/ 16668 w 188118"/>
                  <a:gd name="connsiteY1" fmla="*/ 102394 h 611982"/>
                  <a:gd name="connsiteX2" fmla="*/ 40481 w 188118"/>
                  <a:gd name="connsiteY2" fmla="*/ 611982 h 611982"/>
                  <a:gd name="connsiteX3" fmla="*/ 0 w 188118"/>
                  <a:gd name="connsiteY3" fmla="*/ 433388 h 611982"/>
                  <a:gd name="connsiteX4" fmla="*/ 133350 w 188118"/>
                  <a:gd name="connsiteY4" fmla="*/ 76200 h 611982"/>
                  <a:gd name="connsiteX5" fmla="*/ 188118 w 188118"/>
                  <a:gd name="connsiteY5" fmla="*/ 0 h 611982"/>
                  <a:gd name="connsiteX0" fmla="*/ 278606 w 278606"/>
                  <a:gd name="connsiteY0" fmla="*/ 0 h 611982"/>
                  <a:gd name="connsiteX1" fmla="*/ 0 w 278606"/>
                  <a:gd name="connsiteY1" fmla="*/ 230982 h 611982"/>
                  <a:gd name="connsiteX2" fmla="*/ 130969 w 278606"/>
                  <a:gd name="connsiteY2" fmla="*/ 611982 h 611982"/>
                  <a:gd name="connsiteX3" fmla="*/ 90488 w 278606"/>
                  <a:gd name="connsiteY3" fmla="*/ 433388 h 611982"/>
                  <a:gd name="connsiteX4" fmla="*/ 223838 w 278606"/>
                  <a:gd name="connsiteY4" fmla="*/ 76200 h 611982"/>
                  <a:gd name="connsiteX5" fmla="*/ 278606 w 278606"/>
                  <a:gd name="connsiteY5" fmla="*/ 0 h 611982"/>
                  <a:gd name="connsiteX0" fmla="*/ 278606 w 278606"/>
                  <a:gd name="connsiteY0" fmla="*/ 0 h 611982"/>
                  <a:gd name="connsiteX1" fmla="*/ 0 w 278606"/>
                  <a:gd name="connsiteY1" fmla="*/ 230982 h 611982"/>
                  <a:gd name="connsiteX2" fmla="*/ 130969 w 278606"/>
                  <a:gd name="connsiteY2" fmla="*/ 611982 h 611982"/>
                  <a:gd name="connsiteX3" fmla="*/ 90488 w 278606"/>
                  <a:gd name="connsiteY3" fmla="*/ 433388 h 611982"/>
                  <a:gd name="connsiteX4" fmla="*/ 278606 w 278606"/>
                  <a:gd name="connsiteY4" fmla="*/ 0 h 611982"/>
                  <a:gd name="connsiteX0" fmla="*/ 278606 w 278606"/>
                  <a:gd name="connsiteY0" fmla="*/ 0 h 611982"/>
                  <a:gd name="connsiteX1" fmla="*/ 0 w 278606"/>
                  <a:gd name="connsiteY1" fmla="*/ 230982 h 611982"/>
                  <a:gd name="connsiteX2" fmla="*/ 130969 w 278606"/>
                  <a:gd name="connsiteY2" fmla="*/ 611982 h 611982"/>
                  <a:gd name="connsiteX3" fmla="*/ 111919 w 278606"/>
                  <a:gd name="connsiteY3" fmla="*/ 257175 h 611982"/>
                  <a:gd name="connsiteX4" fmla="*/ 278606 w 278606"/>
                  <a:gd name="connsiteY4" fmla="*/ 0 h 611982"/>
                  <a:gd name="connsiteX0" fmla="*/ 278606 w 280108"/>
                  <a:gd name="connsiteY0" fmla="*/ 0 h 612036"/>
                  <a:gd name="connsiteX1" fmla="*/ 0 w 280108"/>
                  <a:gd name="connsiteY1" fmla="*/ 230982 h 612036"/>
                  <a:gd name="connsiteX2" fmla="*/ 130969 w 280108"/>
                  <a:gd name="connsiteY2" fmla="*/ 611982 h 612036"/>
                  <a:gd name="connsiteX3" fmla="*/ 111919 w 280108"/>
                  <a:gd name="connsiteY3" fmla="*/ 257175 h 612036"/>
                  <a:gd name="connsiteX4" fmla="*/ 278606 w 280108"/>
                  <a:gd name="connsiteY4" fmla="*/ 0 h 612036"/>
                  <a:gd name="connsiteX0" fmla="*/ 281555 w 283057"/>
                  <a:gd name="connsiteY0" fmla="*/ 104 h 612140"/>
                  <a:gd name="connsiteX1" fmla="*/ 2949 w 283057"/>
                  <a:gd name="connsiteY1" fmla="*/ 231086 h 612140"/>
                  <a:gd name="connsiteX2" fmla="*/ 133918 w 283057"/>
                  <a:gd name="connsiteY2" fmla="*/ 612086 h 612140"/>
                  <a:gd name="connsiteX3" fmla="*/ 114868 w 283057"/>
                  <a:gd name="connsiteY3" fmla="*/ 257279 h 612140"/>
                  <a:gd name="connsiteX4" fmla="*/ 281555 w 283057"/>
                  <a:gd name="connsiteY4" fmla="*/ 104 h 612140"/>
                  <a:gd name="connsiteX0" fmla="*/ 246720 w 248222"/>
                  <a:gd name="connsiteY0" fmla="*/ 106 h 612142"/>
                  <a:gd name="connsiteX1" fmla="*/ 3833 w 248222"/>
                  <a:gd name="connsiteY1" fmla="*/ 228706 h 612142"/>
                  <a:gd name="connsiteX2" fmla="*/ 99083 w 248222"/>
                  <a:gd name="connsiteY2" fmla="*/ 612088 h 612142"/>
                  <a:gd name="connsiteX3" fmla="*/ 80033 w 248222"/>
                  <a:gd name="connsiteY3" fmla="*/ 257281 h 612142"/>
                  <a:gd name="connsiteX4" fmla="*/ 246720 w 248222"/>
                  <a:gd name="connsiteY4" fmla="*/ 106 h 612142"/>
                  <a:gd name="connsiteX0" fmla="*/ 262531 w 264033"/>
                  <a:gd name="connsiteY0" fmla="*/ 595 h 612631"/>
                  <a:gd name="connsiteX1" fmla="*/ 19644 w 264033"/>
                  <a:gd name="connsiteY1" fmla="*/ 229195 h 612631"/>
                  <a:gd name="connsiteX2" fmla="*/ 114894 w 264033"/>
                  <a:gd name="connsiteY2" fmla="*/ 612577 h 612631"/>
                  <a:gd name="connsiteX3" fmla="*/ 95844 w 264033"/>
                  <a:gd name="connsiteY3" fmla="*/ 257770 h 612631"/>
                  <a:gd name="connsiteX4" fmla="*/ 262531 w 264033"/>
                  <a:gd name="connsiteY4" fmla="*/ 595 h 612631"/>
                  <a:gd name="connsiteX0" fmla="*/ 262531 w 264033"/>
                  <a:gd name="connsiteY0" fmla="*/ 595 h 612577"/>
                  <a:gd name="connsiteX1" fmla="*/ 19644 w 264033"/>
                  <a:gd name="connsiteY1" fmla="*/ 229195 h 612577"/>
                  <a:gd name="connsiteX2" fmla="*/ 114894 w 264033"/>
                  <a:gd name="connsiteY2" fmla="*/ 612577 h 612577"/>
                  <a:gd name="connsiteX3" fmla="*/ 95844 w 264033"/>
                  <a:gd name="connsiteY3" fmla="*/ 257770 h 612577"/>
                  <a:gd name="connsiteX4" fmla="*/ 262531 w 264033"/>
                  <a:gd name="connsiteY4" fmla="*/ 595 h 612577"/>
                  <a:gd name="connsiteX0" fmla="*/ 247288 w 248800"/>
                  <a:gd name="connsiteY0" fmla="*/ 105 h 597799"/>
                  <a:gd name="connsiteX1" fmla="*/ 4401 w 248800"/>
                  <a:gd name="connsiteY1" fmla="*/ 228705 h 597799"/>
                  <a:gd name="connsiteX2" fmla="*/ 92507 w 248800"/>
                  <a:gd name="connsiteY2" fmla="*/ 597799 h 597799"/>
                  <a:gd name="connsiteX3" fmla="*/ 80601 w 248800"/>
                  <a:gd name="connsiteY3" fmla="*/ 257280 h 597799"/>
                  <a:gd name="connsiteX4" fmla="*/ 247288 w 248800"/>
                  <a:gd name="connsiteY4" fmla="*/ 105 h 597799"/>
                  <a:gd name="connsiteX0" fmla="*/ 253014 w 254526"/>
                  <a:gd name="connsiteY0" fmla="*/ 105 h 597799"/>
                  <a:gd name="connsiteX1" fmla="*/ 10127 w 254526"/>
                  <a:gd name="connsiteY1" fmla="*/ 228705 h 597799"/>
                  <a:gd name="connsiteX2" fmla="*/ 98233 w 254526"/>
                  <a:gd name="connsiteY2" fmla="*/ 597799 h 597799"/>
                  <a:gd name="connsiteX3" fmla="*/ 86327 w 254526"/>
                  <a:gd name="connsiteY3" fmla="*/ 257280 h 597799"/>
                  <a:gd name="connsiteX4" fmla="*/ 253014 w 254526"/>
                  <a:gd name="connsiteY4" fmla="*/ 105 h 597799"/>
                  <a:gd name="connsiteX0" fmla="*/ 265765 w 267195"/>
                  <a:gd name="connsiteY0" fmla="*/ 117 h 581142"/>
                  <a:gd name="connsiteX1" fmla="*/ 10972 w 267195"/>
                  <a:gd name="connsiteY1" fmla="*/ 212048 h 581142"/>
                  <a:gd name="connsiteX2" fmla="*/ 99078 w 267195"/>
                  <a:gd name="connsiteY2" fmla="*/ 581142 h 581142"/>
                  <a:gd name="connsiteX3" fmla="*/ 87172 w 267195"/>
                  <a:gd name="connsiteY3" fmla="*/ 240623 h 581142"/>
                  <a:gd name="connsiteX4" fmla="*/ 265765 w 267195"/>
                  <a:gd name="connsiteY4" fmla="*/ 117 h 581142"/>
                  <a:gd name="connsiteX0" fmla="*/ 265765 w 267195"/>
                  <a:gd name="connsiteY0" fmla="*/ 4134 h 585159"/>
                  <a:gd name="connsiteX1" fmla="*/ 10972 w 267195"/>
                  <a:gd name="connsiteY1" fmla="*/ 216065 h 585159"/>
                  <a:gd name="connsiteX2" fmla="*/ 99078 w 267195"/>
                  <a:gd name="connsiteY2" fmla="*/ 585159 h 585159"/>
                  <a:gd name="connsiteX3" fmla="*/ 87172 w 267195"/>
                  <a:gd name="connsiteY3" fmla="*/ 244640 h 585159"/>
                  <a:gd name="connsiteX4" fmla="*/ 265765 w 267195"/>
                  <a:gd name="connsiteY4" fmla="*/ 4134 h 585159"/>
                  <a:gd name="connsiteX0" fmla="*/ 265765 w 265765"/>
                  <a:gd name="connsiteY0" fmla="*/ 4134 h 585159"/>
                  <a:gd name="connsiteX1" fmla="*/ 10972 w 265765"/>
                  <a:gd name="connsiteY1" fmla="*/ 216065 h 585159"/>
                  <a:gd name="connsiteX2" fmla="*/ 99078 w 265765"/>
                  <a:gd name="connsiteY2" fmla="*/ 585159 h 585159"/>
                  <a:gd name="connsiteX3" fmla="*/ 87172 w 265765"/>
                  <a:gd name="connsiteY3" fmla="*/ 244640 h 585159"/>
                  <a:gd name="connsiteX4" fmla="*/ 265765 w 265765"/>
                  <a:gd name="connsiteY4" fmla="*/ 4134 h 585159"/>
                  <a:gd name="connsiteX0" fmla="*/ 281072 w 281072"/>
                  <a:gd name="connsiteY0" fmla="*/ 4184 h 582827"/>
                  <a:gd name="connsiteX1" fmla="*/ 11991 w 281072"/>
                  <a:gd name="connsiteY1" fmla="*/ 213733 h 582827"/>
                  <a:gd name="connsiteX2" fmla="*/ 100097 w 281072"/>
                  <a:gd name="connsiteY2" fmla="*/ 582827 h 582827"/>
                  <a:gd name="connsiteX3" fmla="*/ 88191 w 281072"/>
                  <a:gd name="connsiteY3" fmla="*/ 242308 h 582827"/>
                  <a:gd name="connsiteX4" fmla="*/ 281072 w 281072"/>
                  <a:gd name="connsiteY4" fmla="*/ 4184 h 582827"/>
                  <a:gd name="connsiteX0" fmla="*/ 281072 w 281072"/>
                  <a:gd name="connsiteY0" fmla="*/ 12074 h 590717"/>
                  <a:gd name="connsiteX1" fmla="*/ 11991 w 281072"/>
                  <a:gd name="connsiteY1" fmla="*/ 221623 h 590717"/>
                  <a:gd name="connsiteX2" fmla="*/ 100097 w 281072"/>
                  <a:gd name="connsiteY2" fmla="*/ 590717 h 590717"/>
                  <a:gd name="connsiteX3" fmla="*/ 88191 w 281072"/>
                  <a:gd name="connsiteY3" fmla="*/ 250198 h 590717"/>
                  <a:gd name="connsiteX4" fmla="*/ 281072 w 281072"/>
                  <a:gd name="connsiteY4" fmla="*/ 12074 h 590717"/>
                  <a:gd name="connsiteX0" fmla="*/ 281072 w 281072"/>
                  <a:gd name="connsiteY0" fmla="*/ 12074 h 590717"/>
                  <a:gd name="connsiteX1" fmla="*/ 11991 w 281072"/>
                  <a:gd name="connsiteY1" fmla="*/ 221623 h 590717"/>
                  <a:gd name="connsiteX2" fmla="*/ 100097 w 281072"/>
                  <a:gd name="connsiteY2" fmla="*/ 590717 h 590717"/>
                  <a:gd name="connsiteX3" fmla="*/ 88191 w 281072"/>
                  <a:gd name="connsiteY3" fmla="*/ 250198 h 590717"/>
                  <a:gd name="connsiteX4" fmla="*/ 281072 w 281072"/>
                  <a:gd name="connsiteY4" fmla="*/ 12074 h 590717"/>
                  <a:gd name="connsiteX0" fmla="*/ 282330 w 282330"/>
                  <a:gd name="connsiteY0" fmla="*/ 11711 h 598575"/>
                  <a:gd name="connsiteX1" fmla="*/ 12075 w 282330"/>
                  <a:gd name="connsiteY1" fmla="*/ 229481 h 598575"/>
                  <a:gd name="connsiteX2" fmla="*/ 100181 w 282330"/>
                  <a:gd name="connsiteY2" fmla="*/ 598575 h 598575"/>
                  <a:gd name="connsiteX3" fmla="*/ 88275 w 282330"/>
                  <a:gd name="connsiteY3" fmla="*/ 258056 h 598575"/>
                  <a:gd name="connsiteX4" fmla="*/ 282330 w 282330"/>
                  <a:gd name="connsiteY4" fmla="*/ 11711 h 598575"/>
                  <a:gd name="connsiteX0" fmla="*/ 257168 w 257168"/>
                  <a:gd name="connsiteY0" fmla="*/ 12075 h 590717"/>
                  <a:gd name="connsiteX1" fmla="*/ 10403 w 257168"/>
                  <a:gd name="connsiteY1" fmla="*/ 221623 h 590717"/>
                  <a:gd name="connsiteX2" fmla="*/ 98509 w 257168"/>
                  <a:gd name="connsiteY2" fmla="*/ 590717 h 590717"/>
                  <a:gd name="connsiteX3" fmla="*/ 86603 w 257168"/>
                  <a:gd name="connsiteY3" fmla="*/ 250198 h 590717"/>
                  <a:gd name="connsiteX4" fmla="*/ 257168 w 257168"/>
                  <a:gd name="connsiteY4" fmla="*/ 12075 h 590717"/>
                  <a:gd name="connsiteX0" fmla="*/ 257168 w 257168"/>
                  <a:gd name="connsiteY0" fmla="*/ 3233 h 581875"/>
                  <a:gd name="connsiteX1" fmla="*/ 10403 w 257168"/>
                  <a:gd name="connsiteY1" fmla="*/ 212781 h 581875"/>
                  <a:gd name="connsiteX2" fmla="*/ 98509 w 257168"/>
                  <a:gd name="connsiteY2" fmla="*/ 581875 h 581875"/>
                  <a:gd name="connsiteX3" fmla="*/ 86603 w 257168"/>
                  <a:gd name="connsiteY3" fmla="*/ 241356 h 581875"/>
                  <a:gd name="connsiteX4" fmla="*/ 257168 w 257168"/>
                  <a:gd name="connsiteY4" fmla="*/ 3233 h 581875"/>
                  <a:gd name="connsiteX0" fmla="*/ 257168 w 257168"/>
                  <a:gd name="connsiteY0" fmla="*/ 3233 h 581875"/>
                  <a:gd name="connsiteX1" fmla="*/ 10403 w 257168"/>
                  <a:gd name="connsiteY1" fmla="*/ 212781 h 581875"/>
                  <a:gd name="connsiteX2" fmla="*/ 98509 w 257168"/>
                  <a:gd name="connsiteY2" fmla="*/ 581875 h 581875"/>
                  <a:gd name="connsiteX3" fmla="*/ 86603 w 257168"/>
                  <a:gd name="connsiteY3" fmla="*/ 241356 h 581875"/>
                  <a:gd name="connsiteX4" fmla="*/ 257168 w 257168"/>
                  <a:gd name="connsiteY4" fmla="*/ 3233 h 581875"/>
                  <a:gd name="connsiteX0" fmla="*/ 257447 w 257447"/>
                  <a:gd name="connsiteY0" fmla="*/ 3196 h 570093"/>
                  <a:gd name="connsiteX1" fmla="*/ 10682 w 257447"/>
                  <a:gd name="connsiteY1" fmla="*/ 212744 h 570093"/>
                  <a:gd name="connsiteX2" fmla="*/ 97614 w 257447"/>
                  <a:gd name="connsiteY2" fmla="*/ 570093 h 570093"/>
                  <a:gd name="connsiteX3" fmla="*/ 86882 w 257447"/>
                  <a:gd name="connsiteY3" fmla="*/ 241319 h 570093"/>
                  <a:gd name="connsiteX4" fmla="*/ 257447 w 257447"/>
                  <a:gd name="connsiteY4" fmla="*/ 3196 h 570093"/>
                  <a:gd name="connsiteX0" fmla="*/ 261071 w 261071"/>
                  <a:gd name="connsiteY0" fmla="*/ 3196 h 570093"/>
                  <a:gd name="connsiteX1" fmla="*/ 14306 w 261071"/>
                  <a:gd name="connsiteY1" fmla="*/ 212744 h 570093"/>
                  <a:gd name="connsiteX2" fmla="*/ 101238 w 261071"/>
                  <a:gd name="connsiteY2" fmla="*/ 570093 h 570093"/>
                  <a:gd name="connsiteX3" fmla="*/ 90506 w 261071"/>
                  <a:gd name="connsiteY3" fmla="*/ 241319 h 570093"/>
                  <a:gd name="connsiteX4" fmla="*/ 261071 w 261071"/>
                  <a:gd name="connsiteY4" fmla="*/ 3196 h 570093"/>
                  <a:gd name="connsiteX0" fmla="*/ 261071 w 261071"/>
                  <a:gd name="connsiteY0" fmla="*/ 3196 h 570093"/>
                  <a:gd name="connsiteX1" fmla="*/ 14306 w 261071"/>
                  <a:gd name="connsiteY1" fmla="*/ 212744 h 570093"/>
                  <a:gd name="connsiteX2" fmla="*/ 101238 w 261071"/>
                  <a:gd name="connsiteY2" fmla="*/ 570093 h 570093"/>
                  <a:gd name="connsiteX3" fmla="*/ 90506 w 261071"/>
                  <a:gd name="connsiteY3" fmla="*/ 241319 h 570093"/>
                  <a:gd name="connsiteX4" fmla="*/ 261071 w 261071"/>
                  <a:gd name="connsiteY4" fmla="*/ 3196 h 570093"/>
                  <a:gd name="connsiteX0" fmla="*/ 261071 w 261071"/>
                  <a:gd name="connsiteY0" fmla="*/ 544 h 567441"/>
                  <a:gd name="connsiteX1" fmla="*/ 14306 w 261071"/>
                  <a:gd name="connsiteY1" fmla="*/ 210092 h 567441"/>
                  <a:gd name="connsiteX2" fmla="*/ 101238 w 261071"/>
                  <a:gd name="connsiteY2" fmla="*/ 567441 h 567441"/>
                  <a:gd name="connsiteX3" fmla="*/ 90506 w 261071"/>
                  <a:gd name="connsiteY3" fmla="*/ 238667 h 567441"/>
                  <a:gd name="connsiteX4" fmla="*/ 261071 w 261071"/>
                  <a:gd name="connsiteY4" fmla="*/ 544 h 567441"/>
                  <a:gd name="connsiteX0" fmla="*/ 252241 w 252241"/>
                  <a:gd name="connsiteY0" fmla="*/ 531 h 570952"/>
                  <a:gd name="connsiteX1" fmla="*/ 13698 w 252241"/>
                  <a:gd name="connsiteY1" fmla="*/ 213603 h 570952"/>
                  <a:gd name="connsiteX2" fmla="*/ 100630 w 252241"/>
                  <a:gd name="connsiteY2" fmla="*/ 570952 h 570952"/>
                  <a:gd name="connsiteX3" fmla="*/ 89898 w 252241"/>
                  <a:gd name="connsiteY3" fmla="*/ 242178 h 570952"/>
                  <a:gd name="connsiteX4" fmla="*/ 252241 w 252241"/>
                  <a:gd name="connsiteY4" fmla="*/ 531 h 570952"/>
                  <a:gd name="connsiteX0" fmla="*/ 252241 w 252241"/>
                  <a:gd name="connsiteY0" fmla="*/ 531 h 570952"/>
                  <a:gd name="connsiteX1" fmla="*/ 13698 w 252241"/>
                  <a:gd name="connsiteY1" fmla="*/ 213603 h 570952"/>
                  <a:gd name="connsiteX2" fmla="*/ 100630 w 252241"/>
                  <a:gd name="connsiteY2" fmla="*/ 570952 h 570952"/>
                  <a:gd name="connsiteX3" fmla="*/ 89898 w 252241"/>
                  <a:gd name="connsiteY3" fmla="*/ 242178 h 570952"/>
                  <a:gd name="connsiteX4" fmla="*/ 252241 w 252241"/>
                  <a:gd name="connsiteY4" fmla="*/ 531 h 570952"/>
                  <a:gd name="connsiteX0" fmla="*/ 252241 w 252241"/>
                  <a:gd name="connsiteY0" fmla="*/ 2668 h 573089"/>
                  <a:gd name="connsiteX1" fmla="*/ 13698 w 252241"/>
                  <a:gd name="connsiteY1" fmla="*/ 215740 h 573089"/>
                  <a:gd name="connsiteX2" fmla="*/ 100630 w 252241"/>
                  <a:gd name="connsiteY2" fmla="*/ 573089 h 573089"/>
                  <a:gd name="connsiteX3" fmla="*/ 89898 w 252241"/>
                  <a:gd name="connsiteY3" fmla="*/ 244315 h 573089"/>
                  <a:gd name="connsiteX4" fmla="*/ 252241 w 252241"/>
                  <a:gd name="connsiteY4" fmla="*/ 2668 h 573089"/>
                  <a:gd name="connsiteX0" fmla="*/ 253502 w 253502"/>
                  <a:gd name="connsiteY0" fmla="*/ 2719 h 569616"/>
                  <a:gd name="connsiteX1" fmla="*/ 13784 w 253502"/>
                  <a:gd name="connsiteY1" fmla="*/ 212267 h 569616"/>
                  <a:gd name="connsiteX2" fmla="*/ 100716 w 253502"/>
                  <a:gd name="connsiteY2" fmla="*/ 569616 h 569616"/>
                  <a:gd name="connsiteX3" fmla="*/ 89984 w 253502"/>
                  <a:gd name="connsiteY3" fmla="*/ 240842 h 569616"/>
                  <a:gd name="connsiteX4" fmla="*/ 253502 w 253502"/>
                  <a:gd name="connsiteY4" fmla="*/ 2719 h 569616"/>
                  <a:gd name="connsiteX0" fmla="*/ 253502 w 253502"/>
                  <a:gd name="connsiteY0" fmla="*/ 2719 h 569616"/>
                  <a:gd name="connsiteX1" fmla="*/ 13784 w 253502"/>
                  <a:gd name="connsiteY1" fmla="*/ 212267 h 569616"/>
                  <a:gd name="connsiteX2" fmla="*/ 100716 w 253502"/>
                  <a:gd name="connsiteY2" fmla="*/ 569616 h 569616"/>
                  <a:gd name="connsiteX3" fmla="*/ 89984 w 253502"/>
                  <a:gd name="connsiteY3" fmla="*/ 240842 h 569616"/>
                  <a:gd name="connsiteX4" fmla="*/ 253502 w 253502"/>
                  <a:gd name="connsiteY4" fmla="*/ 2719 h 569616"/>
                  <a:gd name="connsiteX0" fmla="*/ 253502 w 253502"/>
                  <a:gd name="connsiteY0" fmla="*/ 1852 h 568749"/>
                  <a:gd name="connsiteX1" fmla="*/ 13784 w 253502"/>
                  <a:gd name="connsiteY1" fmla="*/ 211400 h 568749"/>
                  <a:gd name="connsiteX2" fmla="*/ 100716 w 253502"/>
                  <a:gd name="connsiteY2" fmla="*/ 568749 h 568749"/>
                  <a:gd name="connsiteX3" fmla="*/ 89984 w 253502"/>
                  <a:gd name="connsiteY3" fmla="*/ 239975 h 568749"/>
                  <a:gd name="connsiteX4" fmla="*/ 253502 w 253502"/>
                  <a:gd name="connsiteY4" fmla="*/ 1852 h 568749"/>
                  <a:gd name="connsiteX0" fmla="*/ 253502 w 479926"/>
                  <a:gd name="connsiteY0" fmla="*/ 8689 h 575586"/>
                  <a:gd name="connsiteX1" fmla="*/ 13784 w 479926"/>
                  <a:gd name="connsiteY1" fmla="*/ 218237 h 575586"/>
                  <a:gd name="connsiteX2" fmla="*/ 100716 w 479926"/>
                  <a:gd name="connsiteY2" fmla="*/ 575586 h 575586"/>
                  <a:gd name="connsiteX3" fmla="*/ 89984 w 479926"/>
                  <a:gd name="connsiteY3" fmla="*/ 246812 h 575586"/>
                  <a:gd name="connsiteX4" fmla="*/ 477545 w 479926"/>
                  <a:gd name="connsiteY4" fmla="*/ 82079 h 575586"/>
                  <a:gd name="connsiteX5" fmla="*/ 253502 w 479926"/>
                  <a:gd name="connsiteY5" fmla="*/ 8689 h 575586"/>
                  <a:gd name="connsiteX0" fmla="*/ 253502 w 479926"/>
                  <a:gd name="connsiteY0" fmla="*/ 8689 h 575586"/>
                  <a:gd name="connsiteX1" fmla="*/ 13784 w 479926"/>
                  <a:gd name="connsiteY1" fmla="*/ 218237 h 575586"/>
                  <a:gd name="connsiteX2" fmla="*/ 100716 w 479926"/>
                  <a:gd name="connsiteY2" fmla="*/ 575586 h 575586"/>
                  <a:gd name="connsiteX3" fmla="*/ 89984 w 479926"/>
                  <a:gd name="connsiteY3" fmla="*/ 246812 h 575586"/>
                  <a:gd name="connsiteX4" fmla="*/ 477545 w 479926"/>
                  <a:gd name="connsiteY4" fmla="*/ 82079 h 575586"/>
                  <a:gd name="connsiteX5" fmla="*/ 253502 w 479926"/>
                  <a:gd name="connsiteY5" fmla="*/ 8689 h 575586"/>
                  <a:gd name="connsiteX0" fmla="*/ 253502 w 479926"/>
                  <a:gd name="connsiteY0" fmla="*/ 8689 h 575586"/>
                  <a:gd name="connsiteX1" fmla="*/ 13784 w 479926"/>
                  <a:gd name="connsiteY1" fmla="*/ 218237 h 575586"/>
                  <a:gd name="connsiteX2" fmla="*/ 100716 w 479926"/>
                  <a:gd name="connsiteY2" fmla="*/ 575586 h 575586"/>
                  <a:gd name="connsiteX3" fmla="*/ 89984 w 479926"/>
                  <a:gd name="connsiteY3" fmla="*/ 246812 h 575586"/>
                  <a:gd name="connsiteX4" fmla="*/ 477545 w 479926"/>
                  <a:gd name="connsiteY4" fmla="*/ 82079 h 575586"/>
                  <a:gd name="connsiteX5" fmla="*/ 253502 w 479926"/>
                  <a:gd name="connsiteY5" fmla="*/ 8689 h 575586"/>
                  <a:gd name="connsiteX0" fmla="*/ 253502 w 477545"/>
                  <a:gd name="connsiteY0" fmla="*/ 11619 h 578516"/>
                  <a:gd name="connsiteX1" fmla="*/ 13784 w 477545"/>
                  <a:gd name="connsiteY1" fmla="*/ 221167 h 578516"/>
                  <a:gd name="connsiteX2" fmla="*/ 100716 w 477545"/>
                  <a:gd name="connsiteY2" fmla="*/ 578516 h 578516"/>
                  <a:gd name="connsiteX3" fmla="*/ 89984 w 477545"/>
                  <a:gd name="connsiteY3" fmla="*/ 249742 h 578516"/>
                  <a:gd name="connsiteX4" fmla="*/ 477545 w 477545"/>
                  <a:gd name="connsiteY4" fmla="*/ 85009 h 578516"/>
                  <a:gd name="connsiteX5" fmla="*/ 253502 w 477545"/>
                  <a:gd name="connsiteY5" fmla="*/ 11619 h 578516"/>
                  <a:gd name="connsiteX0" fmla="*/ 242150 w 476764"/>
                  <a:gd name="connsiteY0" fmla="*/ 10485 h 585604"/>
                  <a:gd name="connsiteX1" fmla="*/ 13003 w 476764"/>
                  <a:gd name="connsiteY1" fmla="*/ 228255 h 585604"/>
                  <a:gd name="connsiteX2" fmla="*/ 99935 w 476764"/>
                  <a:gd name="connsiteY2" fmla="*/ 585604 h 585604"/>
                  <a:gd name="connsiteX3" fmla="*/ 89203 w 476764"/>
                  <a:gd name="connsiteY3" fmla="*/ 256830 h 585604"/>
                  <a:gd name="connsiteX4" fmla="*/ 476764 w 476764"/>
                  <a:gd name="connsiteY4" fmla="*/ 92097 h 585604"/>
                  <a:gd name="connsiteX5" fmla="*/ 242150 w 476764"/>
                  <a:gd name="connsiteY5" fmla="*/ 10485 h 585604"/>
                  <a:gd name="connsiteX0" fmla="*/ 242150 w 476764"/>
                  <a:gd name="connsiteY0" fmla="*/ 1772 h 576891"/>
                  <a:gd name="connsiteX1" fmla="*/ 13003 w 476764"/>
                  <a:gd name="connsiteY1" fmla="*/ 219542 h 576891"/>
                  <a:gd name="connsiteX2" fmla="*/ 99935 w 476764"/>
                  <a:gd name="connsiteY2" fmla="*/ 576891 h 576891"/>
                  <a:gd name="connsiteX3" fmla="*/ 89203 w 476764"/>
                  <a:gd name="connsiteY3" fmla="*/ 248117 h 576891"/>
                  <a:gd name="connsiteX4" fmla="*/ 476764 w 476764"/>
                  <a:gd name="connsiteY4" fmla="*/ 83384 h 576891"/>
                  <a:gd name="connsiteX5" fmla="*/ 242150 w 476764"/>
                  <a:gd name="connsiteY5" fmla="*/ 1772 h 576891"/>
                  <a:gd name="connsiteX0" fmla="*/ 242150 w 476764"/>
                  <a:gd name="connsiteY0" fmla="*/ 1147 h 576266"/>
                  <a:gd name="connsiteX1" fmla="*/ 13003 w 476764"/>
                  <a:gd name="connsiteY1" fmla="*/ 218917 h 576266"/>
                  <a:gd name="connsiteX2" fmla="*/ 99935 w 476764"/>
                  <a:gd name="connsiteY2" fmla="*/ 576266 h 576266"/>
                  <a:gd name="connsiteX3" fmla="*/ 89203 w 476764"/>
                  <a:gd name="connsiteY3" fmla="*/ 247492 h 576266"/>
                  <a:gd name="connsiteX4" fmla="*/ 476764 w 476764"/>
                  <a:gd name="connsiteY4" fmla="*/ 82759 h 576266"/>
                  <a:gd name="connsiteX5" fmla="*/ 242150 w 476764"/>
                  <a:gd name="connsiteY5" fmla="*/ 1147 h 576266"/>
                  <a:gd name="connsiteX0" fmla="*/ 242150 w 476764"/>
                  <a:gd name="connsiteY0" fmla="*/ 16 h 575135"/>
                  <a:gd name="connsiteX1" fmla="*/ 13003 w 476764"/>
                  <a:gd name="connsiteY1" fmla="*/ 217786 h 575135"/>
                  <a:gd name="connsiteX2" fmla="*/ 99935 w 476764"/>
                  <a:gd name="connsiteY2" fmla="*/ 575135 h 575135"/>
                  <a:gd name="connsiteX3" fmla="*/ 89203 w 476764"/>
                  <a:gd name="connsiteY3" fmla="*/ 246361 h 575135"/>
                  <a:gd name="connsiteX4" fmla="*/ 476764 w 476764"/>
                  <a:gd name="connsiteY4" fmla="*/ 81628 h 575135"/>
                  <a:gd name="connsiteX5" fmla="*/ 242150 w 476764"/>
                  <a:gd name="connsiteY5" fmla="*/ 16 h 575135"/>
                  <a:gd name="connsiteX0" fmla="*/ 219444 w 475199"/>
                  <a:gd name="connsiteY0" fmla="*/ 14 h 578657"/>
                  <a:gd name="connsiteX1" fmla="*/ 11438 w 475199"/>
                  <a:gd name="connsiteY1" fmla="*/ 221308 h 578657"/>
                  <a:gd name="connsiteX2" fmla="*/ 98370 w 475199"/>
                  <a:gd name="connsiteY2" fmla="*/ 578657 h 578657"/>
                  <a:gd name="connsiteX3" fmla="*/ 87638 w 475199"/>
                  <a:gd name="connsiteY3" fmla="*/ 249883 h 578657"/>
                  <a:gd name="connsiteX4" fmla="*/ 475199 w 475199"/>
                  <a:gd name="connsiteY4" fmla="*/ 85150 h 578657"/>
                  <a:gd name="connsiteX5" fmla="*/ 219444 w 475199"/>
                  <a:gd name="connsiteY5" fmla="*/ 14 h 578657"/>
                  <a:gd name="connsiteX0" fmla="*/ 208734 w 464489"/>
                  <a:gd name="connsiteY0" fmla="*/ 16 h 662049"/>
                  <a:gd name="connsiteX1" fmla="*/ 728 w 464489"/>
                  <a:gd name="connsiteY1" fmla="*/ 221310 h 662049"/>
                  <a:gd name="connsiteX2" fmla="*/ 287328 w 464489"/>
                  <a:gd name="connsiteY2" fmla="*/ 662049 h 662049"/>
                  <a:gd name="connsiteX3" fmla="*/ 76928 w 464489"/>
                  <a:gd name="connsiteY3" fmla="*/ 249885 h 662049"/>
                  <a:gd name="connsiteX4" fmla="*/ 464489 w 464489"/>
                  <a:gd name="connsiteY4" fmla="*/ 85152 h 662049"/>
                  <a:gd name="connsiteX5" fmla="*/ 208734 w 464489"/>
                  <a:gd name="connsiteY5" fmla="*/ 16 h 662049"/>
                  <a:gd name="connsiteX0" fmla="*/ 234395 w 490150"/>
                  <a:gd name="connsiteY0" fmla="*/ 15 h 678325"/>
                  <a:gd name="connsiteX1" fmla="*/ 26389 w 490150"/>
                  <a:gd name="connsiteY1" fmla="*/ 221309 h 678325"/>
                  <a:gd name="connsiteX2" fmla="*/ 34437 w 490150"/>
                  <a:gd name="connsiteY2" fmla="*/ 574923 h 678325"/>
                  <a:gd name="connsiteX3" fmla="*/ 312989 w 490150"/>
                  <a:gd name="connsiteY3" fmla="*/ 662048 h 678325"/>
                  <a:gd name="connsiteX4" fmla="*/ 102589 w 490150"/>
                  <a:gd name="connsiteY4" fmla="*/ 249884 h 678325"/>
                  <a:gd name="connsiteX5" fmla="*/ 490150 w 490150"/>
                  <a:gd name="connsiteY5" fmla="*/ 85151 h 678325"/>
                  <a:gd name="connsiteX6" fmla="*/ 234395 w 490150"/>
                  <a:gd name="connsiteY6" fmla="*/ 15 h 678325"/>
                  <a:gd name="connsiteX0" fmla="*/ 234395 w 490150"/>
                  <a:gd name="connsiteY0" fmla="*/ 15 h 678325"/>
                  <a:gd name="connsiteX1" fmla="*/ 26389 w 490150"/>
                  <a:gd name="connsiteY1" fmla="*/ 221309 h 678325"/>
                  <a:gd name="connsiteX2" fmla="*/ 34437 w 490150"/>
                  <a:gd name="connsiteY2" fmla="*/ 574923 h 678325"/>
                  <a:gd name="connsiteX3" fmla="*/ 312989 w 490150"/>
                  <a:gd name="connsiteY3" fmla="*/ 662048 h 678325"/>
                  <a:gd name="connsiteX4" fmla="*/ 102589 w 490150"/>
                  <a:gd name="connsiteY4" fmla="*/ 249884 h 678325"/>
                  <a:gd name="connsiteX5" fmla="*/ 490150 w 490150"/>
                  <a:gd name="connsiteY5" fmla="*/ 85151 h 678325"/>
                  <a:gd name="connsiteX6" fmla="*/ 234395 w 490150"/>
                  <a:gd name="connsiteY6" fmla="*/ 15 h 678325"/>
                  <a:gd name="connsiteX0" fmla="*/ 234395 w 490150"/>
                  <a:gd name="connsiteY0" fmla="*/ 15 h 662062"/>
                  <a:gd name="connsiteX1" fmla="*/ 26389 w 490150"/>
                  <a:gd name="connsiteY1" fmla="*/ 221309 h 662062"/>
                  <a:gd name="connsiteX2" fmla="*/ 34437 w 490150"/>
                  <a:gd name="connsiteY2" fmla="*/ 574923 h 662062"/>
                  <a:gd name="connsiteX3" fmla="*/ 312989 w 490150"/>
                  <a:gd name="connsiteY3" fmla="*/ 662048 h 662062"/>
                  <a:gd name="connsiteX4" fmla="*/ 102589 w 490150"/>
                  <a:gd name="connsiteY4" fmla="*/ 249884 h 662062"/>
                  <a:gd name="connsiteX5" fmla="*/ 490150 w 490150"/>
                  <a:gd name="connsiteY5" fmla="*/ 85151 h 662062"/>
                  <a:gd name="connsiteX6" fmla="*/ 234395 w 490150"/>
                  <a:gd name="connsiteY6" fmla="*/ 15 h 662062"/>
                  <a:gd name="connsiteX0" fmla="*/ 234395 w 490150"/>
                  <a:gd name="connsiteY0" fmla="*/ 15 h 662062"/>
                  <a:gd name="connsiteX1" fmla="*/ 26389 w 490150"/>
                  <a:gd name="connsiteY1" fmla="*/ 221309 h 662062"/>
                  <a:gd name="connsiteX2" fmla="*/ 34437 w 490150"/>
                  <a:gd name="connsiteY2" fmla="*/ 574923 h 662062"/>
                  <a:gd name="connsiteX3" fmla="*/ 312989 w 490150"/>
                  <a:gd name="connsiteY3" fmla="*/ 662048 h 662062"/>
                  <a:gd name="connsiteX4" fmla="*/ 102589 w 490150"/>
                  <a:gd name="connsiteY4" fmla="*/ 249884 h 662062"/>
                  <a:gd name="connsiteX5" fmla="*/ 490150 w 490150"/>
                  <a:gd name="connsiteY5" fmla="*/ 85151 h 662062"/>
                  <a:gd name="connsiteX6" fmla="*/ 234395 w 490150"/>
                  <a:gd name="connsiteY6" fmla="*/ 15 h 662062"/>
                  <a:gd name="connsiteX0" fmla="*/ 234395 w 490150"/>
                  <a:gd name="connsiteY0" fmla="*/ 15 h 662062"/>
                  <a:gd name="connsiteX1" fmla="*/ 26389 w 490150"/>
                  <a:gd name="connsiteY1" fmla="*/ 221309 h 662062"/>
                  <a:gd name="connsiteX2" fmla="*/ 34437 w 490150"/>
                  <a:gd name="connsiteY2" fmla="*/ 574923 h 662062"/>
                  <a:gd name="connsiteX3" fmla="*/ 312989 w 490150"/>
                  <a:gd name="connsiteY3" fmla="*/ 662048 h 662062"/>
                  <a:gd name="connsiteX4" fmla="*/ 228262 w 490150"/>
                  <a:gd name="connsiteY4" fmla="*/ 315656 h 662062"/>
                  <a:gd name="connsiteX5" fmla="*/ 490150 w 490150"/>
                  <a:gd name="connsiteY5" fmla="*/ 85151 h 662062"/>
                  <a:gd name="connsiteX6" fmla="*/ 234395 w 490150"/>
                  <a:gd name="connsiteY6" fmla="*/ 15 h 662062"/>
                  <a:gd name="connsiteX0" fmla="*/ 234395 w 478405"/>
                  <a:gd name="connsiteY0" fmla="*/ 7910 h 669957"/>
                  <a:gd name="connsiteX1" fmla="*/ 26389 w 478405"/>
                  <a:gd name="connsiteY1" fmla="*/ 229204 h 669957"/>
                  <a:gd name="connsiteX2" fmla="*/ 34437 w 478405"/>
                  <a:gd name="connsiteY2" fmla="*/ 582818 h 669957"/>
                  <a:gd name="connsiteX3" fmla="*/ 312989 w 478405"/>
                  <a:gd name="connsiteY3" fmla="*/ 669943 h 669957"/>
                  <a:gd name="connsiteX4" fmla="*/ 228262 w 478405"/>
                  <a:gd name="connsiteY4" fmla="*/ 323551 h 669957"/>
                  <a:gd name="connsiteX5" fmla="*/ 478405 w 478405"/>
                  <a:gd name="connsiteY5" fmla="*/ 83650 h 669957"/>
                  <a:gd name="connsiteX6" fmla="*/ 234395 w 478405"/>
                  <a:gd name="connsiteY6" fmla="*/ 7910 h 669957"/>
                  <a:gd name="connsiteX0" fmla="*/ 234395 w 467834"/>
                  <a:gd name="connsiteY0" fmla="*/ 5932 h 667979"/>
                  <a:gd name="connsiteX1" fmla="*/ 26389 w 467834"/>
                  <a:gd name="connsiteY1" fmla="*/ 227226 h 667979"/>
                  <a:gd name="connsiteX2" fmla="*/ 34437 w 467834"/>
                  <a:gd name="connsiteY2" fmla="*/ 580840 h 667979"/>
                  <a:gd name="connsiteX3" fmla="*/ 312989 w 467834"/>
                  <a:gd name="connsiteY3" fmla="*/ 667965 h 667979"/>
                  <a:gd name="connsiteX4" fmla="*/ 228262 w 467834"/>
                  <a:gd name="connsiteY4" fmla="*/ 321573 h 667979"/>
                  <a:gd name="connsiteX5" fmla="*/ 467834 w 467834"/>
                  <a:gd name="connsiteY5" fmla="*/ 93417 h 667979"/>
                  <a:gd name="connsiteX6" fmla="*/ 234395 w 467834"/>
                  <a:gd name="connsiteY6" fmla="*/ 5932 h 667979"/>
                  <a:gd name="connsiteX0" fmla="*/ 234395 w 467834"/>
                  <a:gd name="connsiteY0" fmla="*/ 5932 h 667979"/>
                  <a:gd name="connsiteX1" fmla="*/ 26389 w 467834"/>
                  <a:gd name="connsiteY1" fmla="*/ 227226 h 667979"/>
                  <a:gd name="connsiteX2" fmla="*/ 34437 w 467834"/>
                  <a:gd name="connsiteY2" fmla="*/ 580840 h 667979"/>
                  <a:gd name="connsiteX3" fmla="*/ 312989 w 467834"/>
                  <a:gd name="connsiteY3" fmla="*/ 667965 h 667979"/>
                  <a:gd name="connsiteX4" fmla="*/ 228262 w 467834"/>
                  <a:gd name="connsiteY4" fmla="*/ 321573 h 667979"/>
                  <a:gd name="connsiteX5" fmla="*/ 467834 w 467834"/>
                  <a:gd name="connsiteY5" fmla="*/ 93417 h 667979"/>
                  <a:gd name="connsiteX6" fmla="*/ 234395 w 467834"/>
                  <a:gd name="connsiteY6" fmla="*/ 5932 h 667979"/>
                  <a:gd name="connsiteX0" fmla="*/ 234395 w 467834"/>
                  <a:gd name="connsiteY0" fmla="*/ 5932 h 667988"/>
                  <a:gd name="connsiteX1" fmla="*/ 26389 w 467834"/>
                  <a:gd name="connsiteY1" fmla="*/ 227226 h 667988"/>
                  <a:gd name="connsiteX2" fmla="*/ 34437 w 467834"/>
                  <a:gd name="connsiteY2" fmla="*/ 586712 h 667988"/>
                  <a:gd name="connsiteX3" fmla="*/ 312989 w 467834"/>
                  <a:gd name="connsiteY3" fmla="*/ 667965 h 667988"/>
                  <a:gd name="connsiteX4" fmla="*/ 228262 w 467834"/>
                  <a:gd name="connsiteY4" fmla="*/ 321573 h 667988"/>
                  <a:gd name="connsiteX5" fmla="*/ 467834 w 467834"/>
                  <a:gd name="connsiteY5" fmla="*/ 93417 h 667988"/>
                  <a:gd name="connsiteX6" fmla="*/ 234395 w 467834"/>
                  <a:gd name="connsiteY6" fmla="*/ 5932 h 667988"/>
                  <a:gd name="connsiteX0" fmla="*/ 234395 w 467834"/>
                  <a:gd name="connsiteY0" fmla="*/ 5932 h 667988"/>
                  <a:gd name="connsiteX1" fmla="*/ 26389 w 467834"/>
                  <a:gd name="connsiteY1" fmla="*/ 227226 h 667988"/>
                  <a:gd name="connsiteX2" fmla="*/ 34437 w 467834"/>
                  <a:gd name="connsiteY2" fmla="*/ 586712 h 667988"/>
                  <a:gd name="connsiteX3" fmla="*/ 312989 w 467834"/>
                  <a:gd name="connsiteY3" fmla="*/ 667965 h 667988"/>
                  <a:gd name="connsiteX4" fmla="*/ 228262 w 467834"/>
                  <a:gd name="connsiteY4" fmla="*/ 321573 h 667988"/>
                  <a:gd name="connsiteX5" fmla="*/ 467834 w 467834"/>
                  <a:gd name="connsiteY5" fmla="*/ 93417 h 667988"/>
                  <a:gd name="connsiteX6" fmla="*/ 234395 w 467834"/>
                  <a:gd name="connsiteY6" fmla="*/ 5932 h 667988"/>
                  <a:gd name="connsiteX0" fmla="*/ 234395 w 467834"/>
                  <a:gd name="connsiteY0" fmla="*/ 7013 h 669069"/>
                  <a:gd name="connsiteX1" fmla="*/ 26389 w 467834"/>
                  <a:gd name="connsiteY1" fmla="*/ 228307 h 669069"/>
                  <a:gd name="connsiteX2" fmla="*/ 34437 w 467834"/>
                  <a:gd name="connsiteY2" fmla="*/ 587793 h 669069"/>
                  <a:gd name="connsiteX3" fmla="*/ 312989 w 467834"/>
                  <a:gd name="connsiteY3" fmla="*/ 669046 h 669069"/>
                  <a:gd name="connsiteX4" fmla="*/ 228262 w 467834"/>
                  <a:gd name="connsiteY4" fmla="*/ 322654 h 669069"/>
                  <a:gd name="connsiteX5" fmla="*/ 467834 w 467834"/>
                  <a:gd name="connsiteY5" fmla="*/ 94498 h 669069"/>
                  <a:gd name="connsiteX6" fmla="*/ 234395 w 467834"/>
                  <a:gd name="connsiteY6" fmla="*/ 7013 h 669069"/>
                  <a:gd name="connsiteX0" fmla="*/ 234395 w 467834"/>
                  <a:gd name="connsiteY0" fmla="*/ 7013 h 669069"/>
                  <a:gd name="connsiteX1" fmla="*/ 26389 w 467834"/>
                  <a:gd name="connsiteY1" fmla="*/ 228307 h 669069"/>
                  <a:gd name="connsiteX2" fmla="*/ 34437 w 467834"/>
                  <a:gd name="connsiteY2" fmla="*/ 587793 h 669069"/>
                  <a:gd name="connsiteX3" fmla="*/ 312989 w 467834"/>
                  <a:gd name="connsiteY3" fmla="*/ 669046 h 669069"/>
                  <a:gd name="connsiteX4" fmla="*/ 228262 w 467834"/>
                  <a:gd name="connsiteY4" fmla="*/ 322654 h 669069"/>
                  <a:gd name="connsiteX5" fmla="*/ 467834 w 467834"/>
                  <a:gd name="connsiteY5" fmla="*/ 94498 h 669069"/>
                  <a:gd name="connsiteX6" fmla="*/ 234395 w 467834"/>
                  <a:gd name="connsiteY6" fmla="*/ 7013 h 669069"/>
                  <a:gd name="connsiteX0" fmla="*/ 234395 w 467834"/>
                  <a:gd name="connsiteY0" fmla="*/ 7013 h 666726"/>
                  <a:gd name="connsiteX1" fmla="*/ 26389 w 467834"/>
                  <a:gd name="connsiteY1" fmla="*/ 228307 h 666726"/>
                  <a:gd name="connsiteX2" fmla="*/ 34437 w 467834"/>
                  <a:gd name="connsiteY2" fmla="*/ 587793 h 666726"/>
                  <a:gd name="connsiteX3" fmla="*/ 322385 w 467834"/>
                  <a:gd name="connsiteY3" fmla="*/ 666697 h 666726"/>
                  <a:gd name="connsiteX4" fmla="*/ 228262 w 467834"/>
                  <a:gd name="connsiteY4" fmla="*/ 322654 h 666726"/>
                  <a:gd name="connsiteX5" fmla="*/ 467834 w 467834"/>
                  <a:gd name="connsiteY5" fmla="*/ 94498 h 666726"/>
                  <a:gd name="connsiteX6" fmla="*/ 234395 w 467834"/>
                  <a:gd name="connsiteY6" fmla="*/ 7013 h 666726"/>
                  <a:gd name="connsiteX0" fmla="*/ 234395 w 467834"/>
                  <a:gd name="connsiteY0" fmla="*/ 7013 h 673946"/>
                  <a:gd name="connsiteX1" fmla="*/ 26389 w 467834"/>
                  <a:gd name="connsiteY1" fmla="*/ 228307 h 673946"/>
                  <a:gd name="connsiteX2" fmla="*/ 34437 w 467834"/>
                  <a:gd name="connsiteY2" fmla="*/ 587793 h 673946"/>
                  <a:gd name="connsiteX3" fmla="*/ 322385 w 467834"/>
                  <a:gd name="connsiteY3" fmla="*/ 666697 h 673946"/>
                  <a:gd name="connsiteX4" fmla="*/ 228262 w 467834"/>
                  <a:gd name="connsiteY4" fmla="*/ 322654 h 673946"/>
                  <a:gd name="connsiteX5" fmla="*/ 467834 w 467834"/>
                  <a:gd name="connsiteY5" fmla="*/ 94498 h 673946"/>
                  <a:gd name="connsiteX6" fmla="*/ 234395 w 467834"/>
                  <a:gd name="connsiteY6" fmla="*/ 7013 h 673946"/>
                  <a:gd name="connsiteX0" fmla="*/ 211933 w 466514"/>
                  <a:gd name="connsiteY0" fmla="*/ 13600 h 646473"/>
                  <a:gd name="connsiteX1" fmla="*/ 25069 w 466514"/>
                  <a:gd name="connsiteY1" fmla="*/ 200834 h 646473"/>
                  <a:gd name="connsiteX2" fmla="*/ 33117 w 466514"/>
                  <a:gd name="connsiteY2" fmla="*/ 560320 h 646473"/>
                  <a:gd name="connsiteX3" fmla="*/ 321065 w 466514"/>
                  <a:gd name="connsiteY3" fmla="*/ 639224 h 646473"/>
                  <a:gd name="connsiteX4" fmla="*/ 226942 w 466514"/>
                  <a:gd name="connsiteY4" fmla="*/ 295181 h 646473"/>
                  <a:gd name="connsiteX5" fmla="*/ 466514 w 466514"/>
                  <a:gd name="connsiteY5" fmla="*/ 67025 h 646473"/>
                  <a:gd name="connsiteX6" fmla="*/ 211933 w 466514"/>
                  <a:gd name="connsiteY6" fmla="*/ 13600 h 646473"/>
                  <a:gd name="connsiteX0" fmla="*/ 211933 w 377251"/>
                  <a:gd name="connsiteY0" fmla="*/ 16912 h 649785"/>
                  <a:gd name="connsiteX1" fmla="*/ 25069 w 377251"/>
                  <a:gd name="connsiteY1" fmla="*/ 204146 h 649785"/>
                  <a:gd name="connsiteX2" fmla="*/ 33117 w 377251"/>
                  <a:gd name="connsiteY2" fmla="*/ 563632 h 649785"/>
                  <a:gd name="connsiteX3" fmla="*/ 321065 w 377251"/>
                  <a:gd name="connsiteY3" fmla="*/ 642536 h 649785"/>
                  <a:gd name="connsiteX4" fmla="*/ 226942 w 377251"/>
                  <a:gd name="connsiteY4" fmla="*/ 298493 h 649785"/>
                  <a:gd name="connsiteX5" fmla="*/ 377251 w 377251"/>
                  <a:gd name="connsiteY5" fmla="*/ 62115 h 649785"/>
                  <a:gd name="connsiteX6" fmla="*/ 211933 w 377251"/>
                  <a:gd name="connsiteY6" fmla="*/ 16912 h 649785"/>
                  <a:gd name="connsiteX0" fmla="*/ 211933 w 377251"/>
                  <a:gd name="connsiteY0" fmla="*/ 16912 h 624788"/>
                  <a:gd name="connsiteX1" fmla="*/ 25069 w 377251"/>
                  <a:gd name="connsiteY1" fmla="*/ 204146 h 624788"/>
                  <a:gd name="connsiteX2" fmla="*/ 33117 w 377251"/>
                  <a:gd name="connsiteY2" fmla="*/ 563632 h 624788"/>
                  <a:gd name="connsiteX3" fmla="*/ 224755 w 377251"/>
                  <a:gd name="connsiteY3" fmla="*/ 610824 h 624788"/>
                  <a:gd name="connsiteX4" fmla="*/ 226942 w 377251"/>
                  <a:gd name="connsiteY4" fmla="*/ 298493 h 624788"/>
                  <a:gd name="connsiteX5" fmla="*/ 377251 w 377251"/>
                  <a:gd name="connsiteY5" fmla="*/ 62115 h 624788"/>
                  <a:gd name="connsiteX6" fmla="*/ 211933 w 377251"/>
                  <a:gd name="connsiteY6" fmla="*/ 16912 h 624788"/>
                  <a:gd name="connsiteX0" fmla="*/ 214701 w 380019"/>
                  <a:gd name="connsiteY0" fmla="*/ 16912 h 616595"/>
                  <a:gd name="connsiteX1" fmla="*/ 27837 w 380019"/>
                  <a:gd name="connsiteY1" fmla="*/ 204146 h 616595"/>
                  <a:gd name="connsiteX2" fmla="*/ 31187 w 380019"/>
                  <a:gd name="connsiteY2" fmla="*/ 517826 h 616595"/>
                  <a:gd name="connsiteX3" fmla="*/ 227523 w 380019"/>
                  <a:gd name="connsiteY3" fmla="*/ 610824 h 616595"/>
                  <a:gd name="connsiteX4" fmla="*/ 229710 w 380019"/>
                  <a:gd name="connsiteY4" fmla="*/ 298493 h 616595"/>
                  <a:gd name="connsiteX5" fmla="*/ 380019 w 380019"/>
                  <a:gd name="connsiteY5" fmla="*/ 62115 h 616595"/>
                  <a:gd name="connsiteX6" fmla="*/ 214701 w 380019"/>
                  <a:gd name="connsiteY6" fmla="*/ 16912 h 616595"/>
                  <a:gd name="connsiteX0" fmla="*/ 203522 w 379410"/>
                  <a:gd name="connsiteY0" fmla="*/ 16085 h 618117"/>
                  <a:gd name="connsiteX1" fmla="*/ 27228 w 379410"/>
                  <a:gd name="connsiteY1" fmla="*/ 205668 h 618117"/>
                  <a:gd name="connsiteX2" fmla="*/ 30578 w 379410"/>
                  <a:gd name="connsiteY2" fmla="*/ 519348 h 618117"/>
                  <a:gd name="connsiteX3" fmla="*/ 226914 w 379410"/>
                  <a:gd name="connsiteY3" fmla="*/ 612346 h 618117"/>
                  <a:gd name="connsiteX4" fmla="*/ 229101 w 379410"/>
                  <a:gd name="connsiteY4" fmla="*/ 300015 h 618117"/>
                  <a:gd name="connsiteX5" fmla="*/ 379410 w 379410"/>
                  <a:gd name="connsiteY5" fmla="*/ 63637 h 618117"/>
                  <a:gd name="connsiteX6" fmla="*/ 203522 w 379410"/>
                  <a:gd name="connsiteY6" fmla="*/ 16085 h 618117"/>
                  <a:gd name="connsiteX0" fmla="*/ 203522 w 378236"/>
                  <a:gd name="connsiteY0" fmla="*/ 19740 h 621772"/>
                  <a:gd name="connsiteX1" fmla="*/ 27228 w 378236"/>
                  <a:gd name="connsiteY1" fmla="*/ 209323 h 621772"/>
                  <a:gd name="connsiteX2" fmla="*/ 30578 w 378236"/>
                  <a:gd name="connsiteY2" fmla="*/ 523003 h 621772"/>
                  <a:gd name="connsiteX3" fmla="*/ 226914 w 378236"/>
                  <a:gd name="connsiteY3" fmla="*/ 616001 h 621772"/>
                  <a:gd name="connsiteX4" fmla="*/ 229101 w 378236"/>
                  <a:gd name="connsiteY4" fmla="*/ 303670 h 621772"/>
                  <a:gd name="connsiteX5" fmla="*/ 378236 w 378236"/>
                  <a:gd name="connsiteY5" fmla="*/ 59071 h 621772"/>
                  <a:gd name="connsiteX6" fmla="*/ 203522 w 378236"/>
                  <a:gd name="connsiteY6" fmla="*/ 19740 h 621772"/>
                  <a:gd name="connsiteX0" fmla="*/ 203522 w 378236"/>
                  <a:gd name="connsiteY0" fmla="*/ 19740 h 621772"/>
                  <a:gd name="connsiteX1" fmla="*/ 27228 w 378236"/>
                  <a:gd name="connsiteY1" fmla="*/ 209323 h 621772"/>
                  <a:gd name="connsiteX2" fmla="*/ 30578 w 378236"/>
                  <a:gd name="connsiteY2" fmla="*/ 523003 h 621772"/>
                  <a:gd name="connsiteX3" fmla="*/ 226914 w 378236"/>
                  <a:gd name="connsiteY3" fmla="*/ 616001 h 621772"/>
                  <a:gd name="connsiteX4" fmla="*/ 229101 w 378236"/>
                  <a:gd name="connsiteY4" fmla="*/ 303670 h 621772"/>
                  <a:gd name="connsiteX5" fmla="*/ 378236 w 378236"/>
                  <a:gd name="connsiteY5" fmla="*/ 59071 h 621772"/>
                  <a:gd name="connsiteX6" fmla="*/ 203522 w 378236"/>
                  <a:gd name="connsiteY6" fmla="*/ 19740 h 621772"/>
                  <a:gd name="connsiteX0" fmla="*/ 203522 w 378236"/>
                  <a:gd name="connsiteY0" fmla="*/ 19740 h 593579"/>
                  <a:gd name="connsiteX1" fmla="*/ 27228 w 378236"/>
                  <a:gd name="connsiteY1" fmla="*/ 209323 h 593579"/>
                  <a:gd name="connsiteX2" fmla="*/ 30578 w 378236"/>
                  <a:gd name="connsiteY2" fmla="*/ 523003 h 593579"/>
                  <a:gd name="connsiteX3" fmla="*/ 212820 w 378236"/>
                  <a:gd name="connsiteY3" fmla="*/ 583115 h 593579"/>
                  <a:gd name="connsiteX4" fmla="*/ 229101 w 378236"/>
                  <a:gd name="connsiteY4" fmla="*/ 303670 h 593579"/>
                  <a:gd name="connsiteX5" fmla="*/ 378236 w 378236"/>
                  <a:gd name="connsiteY5" fmla="*/ 59071 h 593579"/>
                  <a:gd name="connsiteX6" fmla="*/ 203522 w 378236"/>
                  <a:gd name="connsiteY6" fmla="*/ 19740 h 593579"/>
                  <a:gd name="connsiteX0" fmla="*/ 203522 w 378236"/>
                  <a:gd name="connsiteY0" fmla="*/ 19740 h 593579"/>
                  <a:gd name="connsiteX1" fmla="*/ 27228 w 378236"/>
                  <a:gd name="connsiteY1" fmla="*/ 209323 h 593579"/>
                  <a:gd name="connsiteX2" fmla="*/ 30578 w 378236"/>
                  <a:gd name="connsiteY2" fmla="*/ 523003 h 593579"/>
                  <a:gd name="connsiteX3" fmla="*/ 212820 w 378236"/>
                  <a:gd name="connsiteY3" fmla="*/ 583115 h 593579"/>
                  <a:gd name="connsiteX4" fmla="*/ 229101 w 378236"/>
                  <a:gd name="connsiteY4" fmla="*/ 303670 h 593579"/>
                  <a:gd name="connsiteX5" fmla="*/ 378236 w 378236"/>
                  <a:gd name="connsiteY5" fmla="*/ 59071 h 593579"/>
                  <a:gd name="connsiteX6" fmla="*/ 203522 w 378236"/>
                  <a:gd name="connsiteY6" fmla="*/ 19740 h 593579"/>
                  <a:gd name="connsiteX0" fmla="*/ 203522 w 378236"/>
                  <a:gd name="connsiteY0" fmla="*/ 9718 h 583557"/>
                  <a:gd name="connsiteX1" fmla="*/ 27228 w 378236"/>
                  <a:gd name="connsiteY1" fmla="*/ 199301 h 583557"/>
                  <a:gd name="connsiteX2" fmla="*/ 30578 w 378236"/>
                  <a:gd name="connsiteY2" fmla="*/ 512981 h 583557"/>
                  <a:gd name="connsiteX3" fmla="*/ 212820 w 378236"/>
                  <a:gd name="connsiteY3" fmla="*/ 573093 h 583557"/>
                  <a:gd name="connsiteX4" fmla="*/ 229101 w 378236"/>
                  <a:gd name="connsiteY4" fmla="*/ 293648 h 583557"/>
                  <a:gd name="connsiteX5" fmla="*/ 378236 w 378236"/>
                  <a:gd name="connsiteY5" fmla="*/ 49049 h 583557"/>
                  <a:gd name="connsiteX6" fmla="*/ 203522 w 378236"/>
                  <a:gd name="connsiteY6" fmla="*/ 9718 h 583557"/>
                  <a:gd name="connsiteX0" fmla="*/ 203522 w 378236"/>
                  <a:gd name="connsiteY0" fmla="*/ 3281 h 577120"/>
                  <a:gd name="connsiteX1" fmla="*/ 27228 w 378236"/>
                  <a:gd name="connsiteY1" fmla="*/ 192864 h 577120"/>
                  <a:gd name="connsiteX2" fmla="*/ 30578 w 378236"/>
                  <a:gd name="connsiteY2" fmla="*/ 506544 h 577120"/>
                  <a:gd name="connsiteX3" fmla="*/ 212820 w 378236"/>
                  <a:gd name="connsiteY3" fmla="*/ 566656 h 577120"/>
                  <a:gd name="connsiteX4" fmla="*/ 229101 w 378236"/>
                  <a:gd name="connsiteY4" fmla="*/ 287211 h 577120"/>
                  <a:gd name="connsiteX5" fmla="*/ 378236 w 378236"/>
                  <a:gd name="connsiteY5" fmla="*/ 42612 h 577120"/>
                  <a:gd name="connsiteX6" fmla="*/ 203522 w 378236"/>
                  <a:gd name="connsiteY6" fmla="*/ 3281 h 577120"/>
                  <a:gd name="connsiteX0" fmla="*/ 203522 w 378236"/>
                  <a:gd name="connsiteY0" fmla="*/ 3281 h 571049"/>
                  <a:gd name="connsiteX1" fmla="*/ 27228 w 378236"/>
                  <a:gd name="connsiteY1" fmla="*/ 192864 h 571049"/>
                  <a:gd name="connsiteX2" fmla="*/ 30578 w 378236"/>
                  <a:gd name="connsiteY2" fmla="*/ 506544 h 571049"/>
                  <a:gd name="connsiteX3" fmla="*/ 212820 w 378236"/>
                  <a:gd name="connsiteY3" fmla="*/ 566656 h 571049"/>
                  <a:gd name="connsiteX4" fmla="*/ 229101 w 378236"/>
                  <a:gd name="connsiteY4" fmla="*/ 287211 h 571049"/>
                  <a:gd name="connsiteX5" fmla="*/ 378236 w 378236"/>
                  <a:gd name="connsiteY5" fmla="*/ 42612 h 571049"/>
                  <a:gd name="connsiteX6" fmla="*/ 203522 w 378236"/>
                  <a:gd name="connsiteY6" fmla="*/ 3281 h 571049"/>
                  <a:gd name="connsiteX0" fmla="*/ 203522 w 378236"/>
                  <a:gd name="connsiteY0" fmla="*/ 3281 h 566656"/>
                  <a:gd name="connsiteX1" fmla="*/ 27228 w 378236"/>
                  <a:gd name="connsiteY1" fmla="*/ 192864 h 566656"/>
                  <a:gd name="connsiteX2" fmla="*/ 30578 w 378236"/>
                  <a:gd name="connsiteY2" fmla="*/ 506544 h 566656"/>
                  <a:gd name="connsiteX3" fmla="*/ 212820 w 378236"/>
                  <a:gd name="connsiteY3" fmla="*/ 566656 h 566656"/>
                  <a:gd name="connsiteX4" fmla="*/ 229101 w 378236"/>
                  <a:gd name="connsiteY4" fmla="*/ 287211 h 566656"/>
                  <a:gd name="connsiteX5" fmla="*/ 378236 w 378236"/>
                  <a:gd name="connsiteY5" fmla="*/ 42612 h 566656"/>
                  <a:gd name="connsiteX6" fmla="*/ 203522 w 378236"/>
                  <a:gd name="connsiteY6" fmla="*/ 3281 h 566656"/>
                  <a:gd name="connsiteX0" fmla="*/ 203522 w 378236"/>
                  <a:gd name="connsiteY0" fmla="*/ 3281 h 566656"/>
                  <a:gd name="connsiteX1" fmla="*/ 27228 w 378236"/>
                  <a:gd name="connsiteY1" fmla="*/ 192864 h 566656"/>
                  <a:gd name="connsiteX2" fmla="*/ 30578 w 378236"/>
                  <a:gd name="connsiteY2" fmla="*/ 506544 h 566656"/>
                  <a:gd name="connsiteX3" fmla="*/ 212820 w 378236"/>
                  <a:gd name="connsiteY3" fmla="*/ 566656 h 566656"/>
                  <a:gd name="connsiteX4" fmla="*/ 229101 w 378236"/>
                  <a:gd name="connsiteY4" fmla="*/ 287211 h 566656"/>
                  <a:gd name="connsiteX5" fmla="*/ 378236 w 378236"/>
                  <a:gd name="connsiteY5" fmla="*/ 42612 h 566656"/>
                  <a:gd name="connsiteX6" fmla="*/ 203522 w 378236"/>
                  <a:gd name="connsiteY6" fmla="*/ 3281 h 566656"/>
                  <a:gd name="connsiteX0" fmla="*/ 203522 w 378236"/>
                  <a:gd name="connsiteY0" fmla="*/ 3281 h 566656"/>
                  <a:gd name="connsiteX1" fmla="*/ 27228 w 378236"/>
                  <a:gd name="connsiteY1" fmla="*/ 192864 h 566656"/>
                  <a:gd name="connsiteX2" fmla="*/ 30578 w 378236"/>
                  <a:gd name="connsiteY2" fmla="*/ 506544 h 566656"/>
                  <a:gd name="connsiteX3" fmla="*/ 212820 w 378236"/>
                  <a:gd name="connsiteY3" fmla="*/ 566656 h 566656"/>
                  <a:gd name="connsiteX4" fmla="*/ 229101 w 378236"/>
                  <a:gd name="connsiteY4" fmla="*/ 287211 h 566656"/>
                  <a:gd name="connsiteX5" fmla="*/ 378236 w 378236"/>
                  <a:gd name="connsiteY5" fmla="*/ 42612 h 566656"/>
                  <a:gd name="connsiteX6" fmla="*/ 203522 w 378236"/>
                  <a:gd name="connsiteY6" fmla="*/ 3281 h 566656"/>
                  <a:gd name="connsiteX0" fmla="*/ 203522 w 378236"/>
                  <a:gd name="connsiteY0" fmla="*/ 3281 h 566656"/>
                  <a:gd name="connsiteX1" fmla="*/ 27228 w 378236"/>
                  <a:gd name="connsiteY1" fmla="*/ 192864 h 566656"/>
                  <a:gd name="connsiteX2" fmla="*/ 30578 w 378236"/>
                  <a:gd name="connsiteY2" fmla="*/ 506544 h 566656"/>
                  <a:gd name="connsiteX3" fmla="*/ 212820 w 378236"/>
                  <a:gd name="connsiteY3" fmla="*/ 566656 h 566656"/>
                  <a:gd name="connsiteX4" fmla="*/ 229101 w 378236"/>
                  <a:gd name="connsiteY4" fmla="*/ 287211 h 566656"/>
                  <a:gd name="connsiteX5" fmla="*/ 378236 w 378236"/>
                  <a:gd name="connsiteY5" fmla="*/ 42612 h 566656"/>
                  <a:gd name="connsiteX6" fmla="*/ 203522 w 378236"/>
                  <a:gd name="connsiteY6" fmla="*/ 3281 h 566656"/>
                  <a:gd name="connsiteX0" fmla="*/ 203522 w 378236"/>
                  <a:gd name="connsiteY0" fmla="*/ 3281 h 566656"/>
                  <a:gd name="connsiteX1" fmla="*/ 27228 w 378236"/>
                  <a:gd name="connsiteY1" fmla="*/ 192864 h 566656"/>
                  <a:gd name="connsiteX2" fmla="*/ 30578 w 378236"/>
                  <a:gd name="connsiteY2" fmla="*/ 506544 h 566656"/>
                  <a:gd name="connsiteX3" fmla="*/ 212820 w 378236"/>
                  <a:gd name="connsiteY3" fmla="*/ 566656 h 566656"/>
                  <a:gd name="connsiteX4" fmla="*/ 224403 w 378236"/>
                  <a:gd name="connsiteY4" fmla="*/ 287211 h 566656"/>
                  <a:gd name="connsiteX5" fmla="*/ 378236 w 378236"/>
                  <a:gd name="connsiteY5" fmla="*/ 42612 h 566656"/>
                  <a:gd name="connsiteX6" fmla="*/ 203522 w 378236"/>
                  <a:gd name="connsiteY6" fmla="*/ 3281 h 566656"/>
                  <a:gd name="connsiteX0" fmla="*/ 203522 w 378236"/>
                  <a:gd name="connsiteY0" fmla="*/ 3281 h 566656"/>
                  <a:gd name="connsiteX1" fmla="*/ 27228 w 378236"/>
                  <a:gd name="connsiteY1" fmla="*/ 192864 h 566656"/>
                  <a:gd name="connsiteX2" fmla="*/ 30578 w 378236"/>
                  <a:gd name="connsiteY2" fmla="*/ 506544 h 566656"/>
                  <a:gd name="connsiteX3" fmla="*/ 212820 w 378236"/>
                  <a:gd name="connsiteY3" fmla="*/ 566656 h 566656"/>
                  <a:gd name="connsiteX4" fmla="*/ 224403 w 378236"/>
                  <a:gd name="connsiteY4" fmla="*/ 287211 h 566656"/>
                  <a:gd name="connsiteX5" fmla="*/ 378236 w 378236"/>
                  <a:gd name="connsiteY5" fmla="*/ 42612 h 566656"/>
                  <a:gd name="connsiteX6" fmla="*/ 203522 w 378236"/>
                  <a:gd name="connsiteY6" fmla="*/ 3281 h 566656"/>
                  <a:gd name="connsiteX0" fmla="*/ 203522 w 375887"/>
                  <a:gd name="connsiteY0" fmla="*/ 8606 h 571981"/>
                  <a:gd name="connsiteX1" fmla="*/ 27228 w 375887"/>
                  <a:gd name="connsiteY1" fmla="*/ 198189 h 571981"/>
                  <a:gd name="connsiteX2" fmla="*/ 30578 w 375887"/>
                  <a:gd name="connsiteY2" fmla="*/ 511869 h 571981"/>
                  <a:gd name="connsiteX3" fmla="*/ 212820 w 375887"/>
                  <a:gd name="connsiteY3" fmla="*/ 571981 h 571981"/>
                  <a:gd name="connsiteX4" fmla="*/ 224403 w 375887"/>
                  <a:gd name="connsiteY4" fmla="*/ 292536 h 571981"/>
                  <a:gd name="connsiteX5" fmla="*/ 375887 w 375887"/>
                  <a:gd name="connsiteY5" fmla="*/ 52635 h 571981"/>
                  <a:gd name="connsiteX6" fmla="*/ 203522 w 375887"/>
                  <a:gd name="connsiteY6" fmla="*/ 8606 h 571981"/>
                  <a:gd name="connsiteX0" fmla="*/ 203522 w 375887"/>
                  <a:gd name="connsiteY0" fmla="*/ 4743 h 568118"/>
                  <a:gd name="connsiteX1" fmla="*/ 27228 w 375887"/>
                  <a:gd name="connsiteY1" fmla="*/ 194326 h 568118"/>
                  <a:gd name="connsiteX2" fmla="*/ 30578 w 375887"/>
                  <a:gd name="connsiteY2" fmla="*/ 508006 h 568118"/>
                  <a:gd name="connsiteX3" fmla="*/ 212820 w 375887"/>
                  <a:gd name="connsiteY3" fmla="*/ 568118 h 568118"/>
                  <a:gd name="connsiteX4" fmla="*/ 224403 w 375887"/>
                  <a:gd name="connsiteY4" fmla="*/ 288673 h 568118"/>
                  <a:gd name="connsiteX5" fmla="*/ 375887 w 375887"/>
                  <a:gd name="connsiteY5" fmla="*/ 48772 h 568118"/>
                  <a:gd name="connsiteX6" fmla="*/ 203522 w 375887"/>
                  <a:gd name="connsiteY6" fmla="*/ 4743 h 568118"/>
                  <a:gd name="connsiteX0" fmla="*/ 203522 w 375887"/>
                  <a:gd name="connsiteY0" fmla="*/ 4615 h 567990"/>
                  <a:gd name="connsiteX1" fmla="*/ 27228 w 375887"/>
                  <a:gd name="connsiteY1" fmla="*/ 194198 h 567990"/>
                  <a:gd name="connsiteX2" fmla="*/ 30578 w 375887"/>
                  <a:gd name="connsiteY2" fmla="*/ 507878 h 567990"/>
                  <a:gd name="connsiteX3" fmla="*/ 212820 w 375887"/>
                  <a:gd name="connsiteY3" fmla="*/ 567990 h 567990"/>
                  <a:gd name="connsiteX4" fmla="*/ 224403 w 375887"/>
                  <a:gd name="connsiteY4" fmla="*/ 288545 h 567990"/>
                  <a:gd name="connsiteX5" fmla="*/ 375887 w 375887"/>
                  <a:gd name="connsiteY5" fmla="*/ 48644 h 567990"/>
                  <a:gd name="connsiteX6" fmla="*/ 203522 w 375887"/>
                  <a:gd name="connsiteY6" fmla="*/ 4615 h 567990"/>
                  <a:gd name="connsiteX0" fmla="*/ 203522 w 375887"/>
                  <a:gd name="connsiteY0" fmla="*/ 4615 h 567990"/>
                  <a:gd name="connsiteX1" fmla="*/ 27228 w 375887"/>
                  <a:gd name="connsiteY1" fmla="*/ 194198 h 567990"/>
                  <a:gd name="connsiteX2" fmla="*/ 30578 w 375887"/>
                  <a:gd name="connsiteY2" fmla="*/ 507878 h 567990"/>
                  <a:gd name="connsiteX3" fmla="*/ 212820 w 375887"/>
                  <a:gd name="connsiteY3" fmla="*/ 567990 h 567990"/>
                  <a:gd name="connsiteX4" fmla="*/ 226752 w 375887"/>
                  <a:gd name="connsiteY4" fmla="*/ 290894 h 567990"/>
                  <a:gd name="connsiteX5" fmla="*/ 375887 w 375887"/>
                  <a:gd name="connsiteY5" fmla="*/ 48644 h 567990"/>
                  <a:gd name="connsiteX6" fmla="*/ 203522 w 375887"/>
                  <a:gd name="connsiteY6" fmla="*/ 4615 h 567990"/>
                  <a:gd name="connsiteX0" fmla="*/ 203522 w 375887"/>
                  <a:gd name="connsiteY0" fmla="*/ 4615 h 571513"/>
                  <a:gd name="connsiteX1" fmla="*/ 27228 w 375887"/>
                  <a:gd name="connsiteY1" fmla="*/ 194198 h 571513"/>
                  <a:gd name="connsiteX2" fmla="*/ 30578 w 375887"/>
                  <a:gd name="connsiteY2" fmla="*/ 507878 h 571513"/>
                  <a:gd name="connsiteX3" fmla="*/ 215169 w 375887"/>
                  <a:gd name="connsiteY3" fmla="*/ 571513 h 571513"/>
                  <a:gd name="connsiteX4" fmla="*/ 226752 w 375887"/>
                  <a:gd name="connsiteY4" fmla="*/ 290894 h 571513"/>
                  <a:gd name="connsiteX5" fmla="*/ 375887 w 375887"/>
                  <a:gd name="connsiteY5" fmla="*/ 48644 h 571513"/>
                  <a:gd name="connsiteX6" fmla="*/ 203522 w 375887"/>
                  <a:gd name="connsiteY6" fmla="*/ 4615 h 571513"/>
                  <a:gd name="connsiteX0" fmla="*/ 202097 w 374462"/>
                  <a:gd name="connsiteY0" fmla="*/ 4615 h 571513"/>
                  <a:gd name="connsiteX1" fmla="*/ 25803 w 374462"/>
                  <a:gd name="connsiteY1" fmla="*/ 194198 h 571513"/>
                  <a:gd name="connsiteX2" fmla="*/ 31502 w 374462"/>
                  <a:gd name="connsiteY2" fmla="*/ 503180 h 571513"/>
                  <a:gd name="connsiteX3" fmla="*/ 213744 w 374462"/>
                  <a:gd name="connsiteY3" fmla="*/ 571513 h 571513"/>
                  <a:gd name="connsiteX4" fmla="*/ 225327 w 374462"/>
                  <a:gd name="connsiteY4" fmla="*/ 290894 h 571513"/>
                  <a:gd name="connsiteX5" fmla="*/ 374462 w 374462"/>
                  <a:gd name="connsiteY5" fmla="*/ 48644 h 571513"/>
                  <a:gd name="connsiteX6" fmla="*/ 202097 w 374462"/>
                  <a:gd name="connsiteY6" fmla="*/ 4615 h 571513"/>
                  <a:gd name="connsiteX0" fmla="*/ 205862 w 378227"/>
                  <a:gd name="connsiteY0" fmla="*/ 4615 h 571513"/>
                  <a:gd name="connsiteX1" fmla="*/ 29568 w 378227"/>
                  <a:gd name="connsiteY1" fmla="*/ 194198 h 571513"/>
                  <a:gd name="connsiteX2" fmla="*/ 35267 w 378227"/>
                  <a:gd name="connsiteY2" fmla="*/ 503180 h 571513"/>
                  <a:gd name="connsiteX3" fmla="*/ 217509 w 378227"/>
                  <a:gd name="connsiteY3" fmla="*/ 571513 h 571513"/>
                  <a:gd name="connsiteX4" fmla="*/ 229092 w 378227"/>
                  <a:gd name="connsiteY4" fmla="*/ 290894 h 571513"/>
                  <a:gd name="connsiteX5" fmla="*/ 378227 w 378227"/>
                  <a:gd name="connsiteY5" fmla="*/ 48644 h 571513"/>
                  <a:gd name="connsiteX6" fmla="*/ 205862 w 378227"/>
                  <a:gd name="connsiteY6" fmla="*/ 4615 h 571513"/>
                  <a:gd name="connsiteX0" fmla="*/ 204405 w 376770"/>
                  <a:gd name="connsiteY0" fmla="*/ 4615 h 571513"/>
                  <a:gd name="connsiteX1" fmla="*/ 28111 w 376770"/>
                  <a:gd name="connsiteY1" fmla="*/ 194198 h 571513"/>
                  <a:gd name="connsiteX2" fmla="*/ 36159 w 376770"/>
                  <a:gd name="connsiteY2" fmla="*/ 499656 h 571513"/>
                  <a:gd name="connsiteX3" fmla="*/ 216052 w 376770"/>
                  <a:gd name="connsiteY3" fmla="*/ 571513 h 571513"/>
                  <a:gd name="connsiteX4" fmla="*/ 227635 w 376770"/>
                  <a:gd name="connsiteY4" fmla="*/ 290894 h 571513"/>
                  <a:gd name="connsiteX5" fmla="*/ 376770 w 376770"/>
                  <a:gd name="connsiteY5" fmla="*/ 48644 h 571513"/>
                  <a:gd name="connsiteX6" fmla="*/ 204405 w 376770"/>
                  <a:gd name="connsiteY6" fmla="*/ 4615 h 571513"/>
                  <a:gd name="connsiteX0" fmla="*/ 204405 w 376770"/>
                  <a:gd name="connsiteY0" fmla="*/ 4615 h 571513"/>
                  <a:gd name="connsiteX1" fmla="*/ 28111 w 376770"/>
                  <a:gd name="connsiteY1" fmla="*/ 194198 h 571513"/>
                  <a:gd name="connsiteX2" fmla="*/ 36159 w 376770"/>
                  <a:gd name="connsiteY2" fmla="*/ 499656 h 571513"/>
                  <a:gd name="connsiteX3" fmla="*/ 216052 w 376770"/>
                  <a:gd name="connsiteY3" fmla="*/ 571513 h 571513"/>
                  <a:gd name="connsiteX4" fmla="*/ 227635 w 376770"/>
                  <a:gd name="connsiteY4" fmla="*/ 290894 h 571513"/>
                  <a:gd name="connsiteX5" fmla="*/ 376770 w 376770"/>
                  <a:gd name="connsiteY5" fmla="*/ 48644 h 571513"/>
                  <a:gd name="connsiteX6" fmla="*/ 204405 w 376770"/>
                  <a:gd name="connsiteY6" fmla="*/ 4615 h 571513"/>
                  <a:gd name="connsiteX0" fmla="*/ 204405 w 376770"/>
                  <a:gd name="connsiteY0" fmla="*/ 4615 h 571513"/>
                  <a:gd name="connsiteX1" fmla="*/ 28111 w 376770"/>
                  <a:gd name="connsiteY1" fmla="*/ 194198 h 571513"/>
                  <a:gd name="connsiteX2" fmla="*/ 36159 w 376770"/>
                  <a:gd name="connsiteY2" fmla="*/ 499656 h 571513"/>
                  <a:gd name="connsiteX3" fmla="*/ 216052 w 376770"/>
                  <a:gd name="connsiteY3" fmla="*/ 571513 h 571513"/>
                  <a:gd name="connsiteX4" fmla="*/ 227635 w 376770"/>
                  <a:gd name="connsiteY4" fmla="*/ 290894 h 571513"/>
                  <a:gd name="connsiteX5" fmla="*/ 376770 w 376770"/>
                  <a:gd name="connsiteY5" fmla="*/ 48644 h 571513"/>
                  <a:gd name="connsiteX6" fmla="*/ 204405 w 376770"/>
                  <a:gd name="connsiteY6" fmla="*/ 4615 h 571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6770" h="571513">
                    <a:moveTo>
                      <a:pt x="204405" y="4615"/>
                    </a:moveTo>
                    <a:cubicBezTo>
                      <a:pt x="156865" y="19478"/>
                      <a:pt x="56152" y="111691"/>
                      <a:pt x="28111" y="194198"/>
                    </a:cubicBezTo>
                    <a:cubicBezTo>
                      <a:pt x="70" y="276705"/>
                      <a:pt x="-21004" y="409757"/>
                      <a:pt x="36159" y="499656"/>
                    </a:cubicBezTo>
                    <a:cubicBezTo>
                      <a:pt x="61610" y="529656"/>
                      <a:pt x="126784" y="569701"/>
                      <a:pt x="216052" y="571513"/>
                    </a:cubicBezTo>
                    <a:cubicBezTo>
                      <a:pt x="200065" y="506016"/>
                      <a:pt x="200849" y="378039"/>
                      <a:pt x="227635" y="290894"/>
                    </a:cubicBezTo>
                    <a:cubicBezTo>
                      <a:pt x="254421" y="203749"/>
                      <a:pt x="315456" y="82459"/>
                      <a:pt x="376770" y="48644"/>
                    </a:cubicBezTo>
                    <a:cubicBezTo>
                      <a:pt x="321807" y="12481"/>
                      <a:pt x="251945" y="-10248"/>
                      <a:pt x="204405" y="4615"/>
                    </a:cubicBez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chemeClr val="tx1"/>
                  </a:solidFill>
                </a:endParaRPr>
              </a:p>
            </p:txBody>
          </p:sp>
          <p:sp>
            <p:nvSpPr>
              <p:cNvPr id="220" name="Freeform 219"/>
              <p:cNvSpPr/>
              <p:nvPr/>
            </p:nvSpPr>
            <p:spPr bwMode="auto">
              <a:xfrm>
                <a:off x="3738531" y="5233989"/>
                <a:ext cx="983843" cy="1769268"/>
              </a:xfrm>
              <a:custGeom>
                <a:avLst/>
                <a:gdLst>
                  <a:gd name="connsiteX0" fmla="*/ 595312 w 900112"/>
                  <a:gd name="connsiteY0" fmla="*/ 0 h 1766887"/>
                  <a:gd name="connsiteX1" fmla="*/ 0 w 900112"/>
                  <a:gd name="connsiteY1" fmla="*/ 652462 h 1766887"/>
                  <a:gd name="connsiteX2" fmla="*/ 109537 w 900112"/>
                  <a:gd name="connsiteY2" fmla="*/ 1647825 h 1766887"/>
                  <a:gd name="connsiteX3" fmla="*/ 390525 w 900112"/>
                  <a:gd name="connsiteY3" fmla="*/ 1766887 h 1766887"/>
                  <a:gd name="connsiteX4" fmla="*/ 252412 w 900112"/>
                  <a:gd name="connsiteY4" fmla="*/ 795337 h 1766887"/>
                  <a:gd name="connsiteX5" fmla="*/ 900112 w 900112"/>
                  <a:gd name="connsiteY5" fmla="*/ 71437 h 1766887"/>
                  <a:gd name="connsiteX6" fmla="*/ 595312 w 900112"/>
                  <a:gd name="connsiteY6" fmla="*/ 0 h 1766887"/>
                  <a:gd name="connsiteX0" fmla="*/ 621669 w 926469"/>
                  <a:gd name="connsiteY0" fmla="*/ 0 h 1766887"/>
                  <a:gd name="connsiteX1" fmla="*/ 26357 w 926469"/>
                  <a:gd name="connsiteY1" fmla="*/ 652462 h 1766887"/>
                  <a:gd name="connsiteX2" fmla="*/ 135894 w 926469"/>
                  <a:gd name="connsiteY2" fmla="*/ 1647825 h 1766887"/>
                  <a:gd name="connsiteX3" fmla="*/ 416882 w 926469"/>
                  <a:gd name="connsiteY3" fmla="*/ 1766887 h 1766887"/>
                  <a:gd name="connsiteX4" fmla="*/ 278769 w 926469"/>
                  <a:gd name="connsiteY4" fmla="*/ 795337 h 1766887"/>
                  <a:gd name="connsiteX5" fmla="*/ 926469 w 926469"/>
                  <a:gd name="connsiteY5" fmla="*/ 71437 h 1766887"/>
                  <a:gd name="connsiteX6" fmla="*/ 621669 w 926469"/>
                  <a:gd name="connsiteY6" fmla="*/ 0 h 1766887"/>
                  <a:gd name="connsiteX0" fmla="*/ 621669 w 926469"/>
                  <a:gd name="connsiteY0" fmla="*/ 0 h 1766887"/>
                  <a:gd name="connsiteX1" fmla="*/ 26357 w 926469"/>
                  <a:gd name="connsiteY1" fmla="*/ 652462 h 1766887"/>
                  <a:gd name="connsiteX2" fmla="*/ 135894 w 926469"/>
                  <a:gd name="connsiteY2" fmla="*/ 1647825 h 1766887"/>
                  <a:gd name="connsiteX3" fmla="*/ 416882 w 926469"/>
                  <a:gd name="connsiteY3" fmla="*/ 1766887 h 1766887"/>
                  <a:gd name="connsiteX4" fmla="*/ 278769 w 926469"/>
                  <a:gd name="connsiteY4" fmla="*/ 795337 h 1766887"/>
                  <a:gd name="connsiteX5" fmla="*/ 926469 w 926469"/>
                  <a:gd name="connsiteY5" fmla="*/ 71437 h 1766887"/>
                  <a:gd name="connsiteX6" fmla="*/ 621669 w 926469"/>
                  <a:gd name="connsiteY6" fmla="*/ 0 h 1766887"/>
                  <a:gd name="connsiteX0" fmla="*/ 621669 w 926469"/>
                  <a:gd name="connsiteY0" fmla="*/ 0 h 1766887"/>
                  <a:gd name="connsiteX1" fmla="*/ 26357 w 926469"/>
                  <a:gd name="connsiteY1" fmla="*/ 652462 h 1766887"/>
                  <a:gd name="connsiteX2" fmla="*/ 135894 w 926469"/>
                  <a:gd name="connsiteY2" fmla="*/ 1647825 h 1766887"/>
                  <a:gd name="connsiteX3" fmla="*/ 416882 w 926469"/>
                  <a:gd name="connsiteY3" fmla="*/ 1766887 h 1766887"/>
                  <a:gd name="connsiteX4" fmla="*/ 278769 w 926469"/>
                  <a:gd name="connsiteY4" fmla="*/ 795337 h 1766887"/>
                  <a:gd name="connsiteX5" fmla="*/ 926469 w 926469"/>
                  <a:gd name="connsiteY5" fmla="*/ 71437 h 1766887"/>
                  <a:gd name="connsiteX6" fmla="*/ 621669 w 926469"/>
                  <a:gd name="connsiteY6" fmla="*/ 0 h 1766887"/>
                  <a:gd name="connsiteX0" fmla="*/ 664033 w 968833"/>
                  <a:gd name="connsiteY0" fmla="*/ 0 h 1766887"/>
                  <a:gd name="connsiteX1" fmla="*/ 68721 w 968833"/>
                  <a:gd name="connsiteY1" fmla="*/ 652462 h 1766887"/>
                  <a:gd name="connsiteX2" fmla="*/ 178258 w 968833"/>
                  <a:gd name="connsiteY2" fmla="*/ 1647825 h 1766887"/>
                  <a:gd name="connsiteX3" fmla="*/ 459246 w 968833"/>
                  <a:gd name="connsiteY3" fmla="*/ 1766887 h 1766887"/>
                  <a:gd name="connsiteX4" fmla="*/ 321133 w 968833"/>
                  <a:gd name="connsiteY4" fmla="*/ 795337 h 1766887"/>
                  <a:gd name="connsiteX5" fmla="*/ 968833 w 968833"/>
                  <a:gd name="connsiteY5" fmla="*/ 71437 h 1766887"/>
                  <a:gd name="connsiteX6" fmla="*/ 664033 w 968833"/>
                  <a:gd name="connsiteY6" fmla="*/ 0 h 1766887"/>
                  <a:gd name="connsiteX0" fmla="*/ 664033 w 968833"/>
                  <a:gd name="connsiteY0" fmla="*/ 0 h 1766887"/>
                  <a:gd name="connsiteX1" fmla="*/ 68721 w 968833"/>
                  <a:gd name="connsiteY1" fmla="*/ 652462 h 1766887"/>
                  <a:gd name="connsiteX2" fmla="*/ 178258 w 968833"/>
                  <a:gd name="connsiteY2" fmla="*/ 1647825 h 1766887"/>
                  <a:gd name="connsiteX3" fmla="*/ 459246 w 968833"/>
                  <a:gd name="connsiteY3" fmla="*/ 1766887 h 1766887"/>
                  <a:gd name="connsiteX4" fmla="*/ 321133 w 968833"/>
                  <a:gd name="connsiteY4" fmla="*/ 795337 h 1766887"/>
                  <a:gd name="connsiteX5" fmla="*/ 968833 w 968833"/>
                  <a:gd name="connsiteY5" fmla="*/ 71437 h 1766887"/>
                  <a:gd name="connsiteX6" fmla="*/ 664033 w 968833"/>
                  <a:gd name="connsiteY6" fmla="*/ 0 h 1766887"/>
                  <a:gd name="connsiteX0" fmla="*/ 664033 w 973596"/>
                  <a:gd name="connsiteY0" fmla="*/ 0 h 1766887"/>
                  <a:gd name="connsiteX1" fmla="*/ 68721 w 973596"/>
                  <a:gd name="connsiteY1" fmla="*/ 652462 h 1766887"/>
                  <a:gd name="connsiteX2" fmla="*/ 178258 w 973596"/>
                  <a:gd name="connsiteY2" fmla="*/ 1647825 h 1766887"/>
                  <a:gd name="connsiteX3" fmla="*/ 459246 w 973596"/>
                  <a:gd name="connsiteY3" fmla="*/ 1766887 h 1766887"/>
                  <a:gd name="connsiteX4" fmla="*/ 321133 w 973596"/>
                  <a:gd name="connsiteY4" fmla="*/ 795337 h 1766887"/>
                  <a:gd name="connsiteX5" fmla="*/ 973596 w 973596"/>
                  <a:gd name="connsiteY5" fmla="*/ 47624 h 1766887"/>
                  <a:gd name="connsiteX6" fmla="*/ 664033 w 973596"/>
                  <a:gd name="connsiteY6" fmla="*/ 0 h 1766887"/>
                  <a:gd name="connsiteX0" fmla="*/ 664033 w 973596"/>
                  <a:gd name="connsiteY0" fmla="*/ 0 h 1766887"/>
                  <a:gd name="connsiteX1" fmla="*/ 68721 w 973596"/>
                  <a:gd name="connsiteY1" fmla="*/ 652462 h 1766887"/>
                  <a:gd name="connsiteX2" fmla="*/ 178258 w 973596"/>
                  <a:gd name="connsiteY2" fmla="*/ 1647825 h 1766887"/>
                  <a:gd name="connsiteX3" fmla="*/ 459246 w 973596"/>
                  <a:gd name="connsiteY3" fmla="*/ 1766887 h 1766887"/>
                  <a:gd name="connsiteX4" fmla="*/ 321133 w 973596"/>
                  <a:gd name="connsiteY4" fmla="*/ 795337 h 1766887"/>
                  <a:gd name="connsiteX5" fmla="*/ 973596 w 973596"/>
                  <a:gd name="connsiteY5" fmla="*/ 47624 h 1766887"/>
                  <a:gd name="connsiteX6" fmla="*/ 664033 w 973596"/>
                  <a:gd name="connsiteY6" fmla="*/ 0 h 1766887"/>
                  <a:gd name="connsiteX0" fmla="*/ 664033 w 973596"/>
                  <a:gd name="connsiteY0" fmla="*/ 0 h 1766887"/>
                  <a:gd name="connsiteX1" fmla="*/ 68721 w 973596"/>
                  <a:gd name="connsiteY1" fmla="*/ 652462 h 1766887"/>
                  <a:gd name="connsiteX2" fmla="*/ 178258 w 973596"/>
                  <a:gd name="connsiteY2" fmla="*/ 1647825 h 1766887"/>
                  <a:gd name="connsiteX3" fmla="*/ 459246 w 973596"/>
                  <a:gd name="connsiteY3" fmla="*/ 1766887 h 1766887"/>
                  <a:gd name="connsiteX4" fmla="*/ 321133 w 973596"/>
                  <a:gd name="connsiteY4" fmla="*/ 795337 h 1766887"/>
                  <a:gd name="connsiteX5" fmla="*/ 973596 w 973596"/>
                  <a:gd name="connsiteY5" fmla="*/ 47624 h 1766887"/>
                  <a:gd name="connsiteX6" fmla="*/ 664033 w 973596"/>
                  <a:gd name="connsiteY6" fmla="*/ 0 h 1766887"/>
                  <a:gd name="connsiteX0" fmla="*/ 664033 w 978359"/>
                  <a:gd name="connsiteY0" fmla="*/ 0 h 1766887"/>
                  <a:gd name="connsiteX1" fmla="*/ 68721 w 978359"/>
                  <a:gd name="connsiteY1" fmla="*/ 652462 h 1766887"/>
                  <a:gd name="connsiteX2" fmla="*/ 178258 w 978359"/>
                  <a:gd name="connsiteY2" fmla="*/ 1647825 h 1766887"/>
                  <a:gd name="connsiteX3" fmla="*/ 459246 w 978359"/>
                  <a:gd name="connsiteY3" fmla="*/ 1766887 h 1766887"/>
                  <a:gd name="connsiteX4" fmla="*/ 321133 w 978359"/>
                  <a:gd name="connsiteY4" fmla="*/ 795337 h 1766887"/>
                  <a:gd name="connsiteX5" fmla="*/ 978359 w 978359"/>
                  <a:gd name="connsiteY5" fmla="*/ 59530 h 1766887"/>
                  <a:gd name="connsiteX6" fmla="*/ 664033 w 978359"/>
                  <a:gd name="connsiteY6" fmla="*/ 0 h 1766887"/>
                  <a:gd name="connsiteX0" fmla="*/ 664033 w 978359"/>
                  <a:gd name="connsiteY0" fmla="*/ 0 h 1766887"/>
                  <a:gd name="connsiteX1" fmla="*/ 68721 w 978359"/>
                  <a:gd name="connsiteY1" fmla="*/ 652462 h 1766887"/>
                  <a:gd name="connsiteX2" fmla="*/ 178258 w 978359"/>
                  <a:gd name="connsiteY2" fmla="*/ 1647825 h 1766887"/>
                  <a:gd name="connsiteX3" fmla="*/ 459246 w 978359"/>
                  <a:gd name="connsiteY3" fmla="*/ 1766887 h 1766887"/>
                  <a:gd name="connsiteX4" fmla="*/ 321133 w 978359"/>
                  <a:gd name="connsiteY4" fmla="*/ 795337 h 1766887"/>
                  <a:gd name="connsiteX5" fmla="*/ 978359 w 978359"/>
                  <a:gd name="connsiteY5" fmla="*/ 59530 h 1766887"/>
                  <a:gd name="connsiteX6" fmla="*/ 664033 w 978359"/>
                  <a:gd name="connsiteY6" fmla="*/ 0 h 1766887"/>
                  <a:gd name="connsiteX0" fmla="*/ 664033 w 978359"/>
                  <a:gd name="connsiteY0" fmla="*/ 0 h 1766887"/>
                  <a:gd name="connsiteX1" fmla="*/ 68721 w 978359"/>
                  <a:gd name="connsiteY1" fmla="*/ 652462 h 1766887"/>
                  <a:gd name="connsiteX2" fmla="*/ 178258 w 978359"/>
                  <a:gd name="connsiteY2" fmla="*/ 1647825 h 1766887"/>
                  <a:gd name="connsiteX3" fmla="*/ 459246 w 978359"/>
                  <a:gd name="connsiteY3" fmla="*/ 1766887 h 1766887"/>
                  <a:gd name="connsiteX4" fmla="*/ 321133 w 978359"/>
                  <a:gd name="connsiteY4" fmla="*/ 795337 h 1766887"/>
                  <a:gd name="connsiteX5" fmla="*/ 978359 w 978359"/>
                  <a:gd name="connsiteY5" fmla="*/ 59530 h 1766887"/>
                  <a:gd name="connsiteX6" fmla="*/ 664033 w 978359"/>
                  <a:gd name="connsiteY6" fmla="*/ 0 h 1766887"/>
                  <a:gd name="connsiteX0" fmla="*/ 664033 w 978359"/>
                  <a:gd name="connsiteY0" fmla="*/ 0 h 1766887"/>
                  <a:gd name="connsiteX1" fmla="*/ 68721 w 978359"/>
                  <a:gd name="connsiteY1" fmla="*/ 652462 h 1766887"/>
                  <a:gd name="connsiteX2" fmla="*/ 178258 w 978359"/>
                  <a:gd name="connsiteY2" fmla="*/ 1647825 h 1766887"/>
                  <a:gd name="connsiteX3" fmla="*/ 459246 w 978359"/>
                  <a:gd name="connsiteY3" fmla="*/ 1766887 h 1766887"/>
                  <a:gd name="connsiteX4" fmla="*/ 321133 w 978359"/>
                  <a:gd name="connsiteY4" fmla="*/ 795337 h 1766887"/>
                  <a:gd name="connsiteX5" fmla="*/ 978359 w 978359"/>
                  <a:gd name="connsiteY5" fmla="*/ 59530 h 1766887"/>
                  <a:gd name="connsiteX6" fmla="*/ 664033 w 978359"/>
                  <a:gd name="connsiteY6" fmla="*/ 0 h 1766887"/>
                  <a:gd name="connsiteX0" fmla="*/ 664033 w 978359"/>
                  <a:gd name="connsiteY0" fmla="*/ 0 h 1766887"/>
                  <a:gd name="connsiteX1" fmla="*/ 68721 w 978359"/>
                  <a:gd name="connsiteY1" fmla="*/ 652462 h 1766887"/>
                  <a:gd name="connsiteX2" fmla="*/ 178258 w 978359"/>
                  <a:gd name="connsiteY2" fmla="*/ 1647825 h 1766887"/>
                  <a:gd name="connsiteX3" fmla="*/ 459246 w 978359"/>
                  <a:gd name="connsiteY3" fmla="*/ 1766887 h 1766887"/>
                  <a:gd name="connsiteX4" fmla="*/ 321133 w 978359"/>
                  <a:gd name="connsiteY4" fmla="*/ 795337 h 1766887"/>
                  <a:gd name="connsiteX5" fmla="*/ 978359 w 978359"/>
                  <a:gd name="connsiteY5" fmla="*/ 59530 h 1766887"/>
                  <a:gd name="connsiteX6" fmla="*/ 664033 w 978359"/>
                  <a:gd name="connsiteY6" fmla="*/ 0 h 1766887"/>
                  <a:gd name="connsiteX0" fmla="*/ 664033 w 978359"/>
                  <a:gd name="connsiteY0" fmla="*/ 0 h 1766887"/>
                  <a:gd name="connsiteX1" fmla="*/ 68721 w 978359"/>
                  <a:gd name="connsiteY1" fmla="*/ 652462 h 1766887"/>
                  <a:gd name="connsiteX2" fmla="*/ 178258 w 978359"/>
                  <a:gd name="connsiteY2" fmla="*/ 1647825 h 1766887"/>
                  <a:gd name="connsiteX3" fmla="*/ 459246 w 978359"/>
                  <a:gd name="connsiteY3" fmla="*/ 1766887 h 1766887"/>
                  <a:gd name="connsiteX4" fmla="*/ 321133 w 978359"/>
                  <a:gd name="connsiteY4" fmla="*/ 795337 h 1766887"/>
                  <a:gd name="connsiteX5" fmla="*/ 978359 w 978359"/>
                  <a:gd name="connsiteY5" fmla="*/ 59530 h 1766887"/>
                  <a:gd name="connsiteX6" fmla="*/ 664033 w 978359"/>
                  <a:gd name="connsiteY6" fmla="*/ 0 h 1766887"/>
                  <a:gd name="connsiteX0" fmla="*/ 664033 w 978359"/>
                  <a:gd name="connsiteY0" fmla="*/ 0 h 1769268"/>
                  <a:gd name="connsiteX1" fmla="*/ 68721 w 978359"/>
                  <a:gd name="connsiteY1" fmla="*/ 652462 h 1769268"/>
                  <a:gd name="connsiteX2" fmla="*/ 178258 w 978359"/>
                  <a:gd name="connsiteY2" fmla="*/ 1647825 h 1769268"/>
                  <a:gd name="connsiteX3" fmla="*/ 466390 w 978359"/>
                  <a:gd name="connsiteY3" fmla="*/ 1769268 h 1769268"/>
                  <a:gd name="connsiteX4" fmla="*/ 321133 w 978359"/>
                  <a:gd name="connsiteY4" fmla="*/ 795337 h 1769268"/>
                  <a:gd name="connsiteX5" fmla="*/ 978359 w 978359"/>
                  <a:gd name="connsiteY5" fmla="*/ 59530 h 1769268"/>
                  <a:gd name="connsiteX6" fmla="*/ 664033 w 978359"/>
                  <a:gd name="connsiteY6" fmla="*/ 0 h 1769268"/>
                  <a:gd name="connsiteX0" fmla="*/ 664033 w 978359"/>
                  <a:gd name="connsiteY0" fmla="*/ 0 h 1769268"/>
                  <a:gd name="connsiteX1" fmla="*/ 68721 w 978359"/>
                  <a:gd name="connsiteY1" fmla="*/ 652462 h 1769268"/>
                  <a:gd name="connsiteX2" fmla="*/ 178258 w 978359"/>
                  <a:gd name="connsiteY2" fmla="*/ 1647825 h 1769268"/>
                  <a:gd name="connsiteX3" fmla="*/ 466390 w 978359"/>
                  <a:gd name="connsiteY3" fmla="*/ 1769268 h 1769268"/>
                  <a:gd name="connsiteX4" fmla="*/ 321133 w 978359"/>
                  <a:gd name="connsiteY4" fmla="*/ 795337 h 1769268"/>
                  <a:gd name="connsiteX5" fmla="*/ 978359 w 978359"/>
                  <a:gd name="connsiteY5" fmla="*/ 59530 h 1769268"/>
                  <a:gd name="connsiteX6" fmla="*/ 664033 w 978359"/>
                  <a:gd name="connsiteY6" fmla="*/ 0 h 1769268"/>
                  <a:gd name="connsiteX0" fmla="*/ 664033 w 978359"/>
                  <a:gd name="connsiteY0" fmla="*/ 0 h 1769268"/>
                  <a:gd name="connsiteX1" fmla="*/ 68721 w 978359"/>
                  <a:gd name="connsiteY1" fmla="*/ 652462 h 1769268"/>
                  <a:gd name="connsiteX2" fmla="*/ 178258 w 978359"/>
                  <a:gd name="connsiteY2" fmla="*/ 1647825 h 1769268"/>
                  <a:gd name="connsiteX3" fmla="*/ 466390 w 978359"/>
                  <a:gd name="connsiteY3" fmla="*/ 1769268 h 1769268"/>
                  <a:gd name="connsiteX4" fmla="*/ 321133 w 978359"/>
                  <a:gd name="connsiteY4" fmla="*/ 795337 h 1769268"/>
                  <a:gd name="connsiteX5" fmla="*/ 978359 w 978359"/>
                  <a:gd name="connsiteY5" fmla="*/ 59530 h 1769268"/>
                  <a:gd name="connsiteX6" fmla="*/ 664033 w 978359"/>
                  <a:gd name="connsiteY6" fmla="*/ 0 h 1769268"/>
                  <a:gd name="connsiteX0" fmla="*/ 664033 w 978359"/>
                  <a:gd name="connsiteY0" fmla="*/ 0 h 1769268"/>
                  <a:gd name="connsiteX1" fmla="*/ 68721 w 978359"/>
                  <a:gd name="connsiteY1" fmla="*/ 652462 h 1769268"/>
                  <a:gd name="connsiteX2" fmla="*/ 178258 w 978359"/>
                  <a:gd name="connsiteY2" fmla="*/ 1647825 h 1769268"/>
                  <a:gd name="connsiteX3" fmla="*/ 466390 w 978359"/>
                  <a:gd name="connsiteY3" fmla="*/ 1769268 h 1769268"/>
                  <a:gd name="connsiteX4" fmla="*/ 321133 w 978359"/>
                  <a:gd name="connsiteY4" fmla="*/ 795337 h 1769268"/>
                  <a:gd name="connsiteX5" fmla="*/ 978359 w 978359"/>
                  <a:gd name="connsiteY5" fmla="*/ 59530 h 1769268"/>
                  <a:gd name="connsiteX6" fmla="*/ 664033 w 978359"/>
                  <a:gd name="connsiteY6" fmla="*/ 0 h 1769268"/>
                  <a:gd name="connsiteX0" fmla="*/ 664033 w 978359"/>
                  <a:gd name="connsiteY0" fmla="*/ 0 h 1769268"/>
                  <a:gd name="connsiteX1" fmla="*/ 68721 w 978359"/>
                  <a:gd name="connsiteY1" fmla="*/ 652462 h 1769268"/>
                  <a:gd name="connsiteX2" fmla="*/ 178258 w 978359"/>
                  <a:gd name="connsiteY2" fmla="*/ 1647825 h 1769268"/>
                  <a:gd name="connsiteX3" fmla="*/ 466390 w 978359"/>
                  <a:gd name="connsiteY3" fmla="*/ 1769268 h 1769268"/>
                  <a:gd name="connsiteX4" fmla="*/ 321133 w 978359"/>
                  <a:gd name="connsiteY4" fmla="*/ 795337 h 1769268"/>
                  <a:gd name="connsiteX5" fmla="*/ 978359 w 978359"/>
                  <a:gd name="connsiteY5" fmla="*/ 59530 h 1769268"/>
                  <a:gd name="connsiteX6" fmla="*/ 664033 w 978359"/>
                  <a:gd name="connsiteY6" fmla="*/ 0 h 1769268"/>
                  <a:gd name="connsiteX0" fmla="*/ 664033 w 978359"/>
                  <a:gd name="connsiteY0" fmla="*/ 0 h 1769268"/>
                  <a:gd name="connsiteX1" fmla="*/ 68721 w 978359"/>
                  <a:gd name="connsiteY1" fmla="*/ 652462 h 1769268"/>
                  <a:gd name="connsiteX2" fmla="*/ 178258 w 978359"/>
                  <a:gd name="connsiteY2" fmla="*/ 1647825 h 1769268"/>
                  <a:gd name="connsiteX3" fmla="*/ 466390 w 978359"/>
                  <a:gd name="connsiteY3" fmla="*/ 1769268 h 1769268"/>
                  <a:gd name="connsiteX4" fmla="*/ 321133 w 978359"/>
                  <a:gd name="connsiteY4" fmla="*/ 795337 h 1769268"/>
                  <a:gd name="connsiteX5" fmla="*/ 978359 w 978359"/>
                  <a:gd name="connsiteY5" fmla="*/ 59530 h 1769268"/>
                  <a:gd name="connsiteX6" fmla="*/ 664033 w 978359"/>
                  <a:gd name="connsiteY6" fmla="*/ 0 h 1769268"/>
                  <a:gd name="connsiteX0" fmla="*/ 664033 w 978359"/>
                  <a:gd name="connsiteY0" fmla="*/ 0 h 1769268"/>
                  <a:gd name="connsiteX1" fmla="*/ 68721 w 978359"/>
                  <a:gd name="connsiteY1" fmla="*/ 652462 h 1769268"/>
                  <a:gd name="connsiteX2" fmla="*/ 178258 w 978359"/>
                  <a:gd name="connsiteY2" fmla="*/ 1647825 h 1769268"/>
                  <a:gd name="connsiteX3" fmla="*/ 466390 w 978359"/>
                  <a:gd name="connsiteY3" fmla="*/ 1769268 h 1769268"/>
                  <a:gd name="connsiteX4" fmla="*/ 321133 w 978359"/>
                  <a:gd name="connsiteY4" fmla="*/ 795337 h 1769268"/>
                  <a:gd name="connsiteX5" fmla="*/ 978359 w 978359"/>
                  <a:gd name="connsiteY5" fmla="*/ 71436 h 1769268"/>
                  <a:gd name="connsiteX6" fmla="*/ 664033 w 978359"/>
                  <a:gd name="connsiteY6" fmla="*/ 0 h 1769268"/>
                  <a:gd name="connsiteX0" fmla="*/ 664033 w 978359"/>
                  <a:gd name="connsiteY0" fmla="*/ 0 h 1769268"/>
                  <a:gd name="connsiteX1" fmla="*/ 68721 w 978359"/>
                  <a:gd name="connsiteY1" fmla="*/ 652462 h 1769268"/>
                  <a:gd name="connsiteX2" fmla="*/ 178258 w 978359"/>
                  <a:gd name="connsiteY2" fmla="*/ 1647825 h 1769268"/>
                  <a:gd name="connsiteX3" fmla="*/ 466390 w 978359"/>
                  <a:gd name="connsiteY3" fmla="*/ 1769268 h 1769268"/>
                  <a:gd name="connsiteX4" fmla="*/ 321133 w 978359"/>
                  <a:gd name="connsiteY4" fmla="*/ 795337 h 1769268"/>
                  <a:gd name="connsiteX5" fmla="*/ 978359 w 978359"/>
                  <a:gd name="connsiteY5" fmla="*/ 71436 h 1769268"/>
                  <a:gd name="connsiteX6" fmla="*/ 664033 w 978359"/>
                  <a:gd name="connsiteY6" fmla="*/ 0 h 1769268"/>
                  <a:gd name="connsiteX0" fmla="*/ 664033 w 978359"/>
                  <a:gd name="connsiteY0" fmla="*/ 0 h 1769268"/>
                  <a:gd name="connsiteX1" fmla="*/ 68721 w 978359"/>
                  <a:gd name="connsiteY1" fmla="*/ 652462 h 1769268"/>
                  <a:gd name="connsiteX2" fmla="*/ 178258 w 978359"/>
                  <a:gd name="connsiteY2" fmla="*/ 1647825 h 1769268"/>
                  <a:gd name="connsiteX3" fmla="*/ 466390 w 978359"/>
                  <a:gd name="connsiteY3" fmla="*/ 1769268 h 1769268"/>
                  <a:gd name="connsiteX4" fmla="*/ 321133 w 978359"/>
                  <a:gd name="connsiteY4" fmla="*/ 795337 h 1769268"/>
                  <a:gd name="connsiteX5" fmla="*/ 978359 w 978359"/>
                  <a:gd name="connsiteY5" fmla="*/ 71436 h 1769268"/>
                  <a:gd name="connsiteX6" fmla="*/ 664033 w 978359"/>
                  <a:gd name="connsiteY6" fmla="*/ 0 h 1769268"/>
                  <a:gd name="connsiteX0" fmla="*/ 664033 w 978359"/>
                  <a:gd name="connsiteY0" fmla="*/ 0 h 1769268"/>
                  <a:gd name="connsiteX1" fmla="*/ 68721 w 978359"/>
                  <a:gd name="connsiteY1" fmla="*/ 652462 h 1769268"/>
                  <a:gd name="connsiteX2" fmla="*/ 178258 w 978359"/>
                  <a:gd name="connsiteY2" fmla="*/ 1647825 h 1769268"/>
                  <a:gd name="connsiteX3" fmla="*/ 466390 w 978359"/>
                  <a:gd name="connsiteY3" fmla="*/ 1769268 h 1769268"/>
                  <a:gd name="connsiteX4" fmla="*/ 321133 w 978359"/>
                  <a:gd name="connsiteY4" fmla="*/ 795337 h 1769268"/>
                  <a:gd name="connsiteX5" fmla="*/ 978359 w 978359"/>
                  <a:gd name="connsiteY5" fmla="*/ 71436 h 1769268"/>
                  <a:gd name="connsiteX6" fmla="*/ 664033 w 978359"/>
                  <a:gd name="connsiteY6" fmla="*/ 0 h 1769268"/>
                  <a:gd name="connsiteX0" fmla="*/ 664033 w 978359"/>
                  <a:gd name="connsiteY0" fmla="*/ 0 h 1769268"/>
                  <a:gd name="connsiteX1" fmla="*/ 68721 w 978359"/>
                  <a:gd name="connsiteY1" fmla="*/ 652462 h 1769268"/>
                  <a:gd name="connsiteX2" fmla="*/ 178258 w 978359"/>
                  <a:gd name="connsiteY2" fmla="*/ 1647825 h 1769268"/>
                  <a:gd name="connsiteX3" fmla="*/ 466390 w 978359"/>
                  <a:gd name="connsiteY3" fmla="*/ 1769268 h 1769268"/>
                  <a:gd name="connsiteX4" fmla="*/ 321133 w 978359"/>
                  <a:gd name="connsiteY4" fmla="*/ 795337 h 1769268"/>
                  <a:gd name="connsiteX5" fmla="*/ 978359 w 978359"/>
                  <a:gd name="connsiteY5" fmla="*/ 71436 h 1769268"/>
                  <a:gd name="connsiteX6" fmla="*/ 664033 w 978359"/>
                  <a:gd name="connsiteY6" fmla="*/ 0 h 1769268"/>
                  <a:gd name="connsiteX0" fmla="*/ 664033 w 978359"/>
                  <a:gd name="connsiteY0" fmla="*/ 0 h 1769268"/>
                  <a:gd name="connsiteX1" fmla="*/ 68721 w 978359"/>
                  <a:gd name="connsiteY1" fmla="*/ 652462 h 1769268"/>
                  <a:gd name="connsiteX2" fmla="*/ 178258 w 978359"/>
                  <a:gd name="connsiteY2" fmla="*/ 1647825 h 1769268"/>
                  <a:gd name="connsiteX3" fmla="*/ 466390 w 978359"/>
                  <a:gd name="connsiteY3" fmla="*/ 1769268 h 1769268"/>
                  <a:gd name="connsiteX4" fmla="*/ 321133 w 978359"/>
                  <a:gd name="connsiteY4" fmla="*/ 795337 h 1769268"/>
                  <a:gd name="connsiteX5" fmla="*/ 978359 w 978359"/>
                  <a:gd name="connsiteY5" fmla="*/ 71436 h 1769268"/>
                  <a:gd name="connsiteX6" fmla="*/ 664033 w 978359"/>
                  <a:gd name="connsiteY6" fmla="*/ 0 h 1769268"/>
                  <a:gd name="connsiteX0" fmla="*/ 664033 w 978359"/>
                  <a:gd name="connsiteY0" fmla="*/ 0 h 1769268"/>
                  <a:gd name="connsiteX1" fmla="*/ 68721 w 978359"/>
                  <a:gd name="connsiteY1" fmla="*/ 652462 h 1769268"/>
                  <a:gd name="connsiteX2" fmla="*/ 178258 w 978359"/>
                  <a:gd name="connsiteY2" fmla="*/ 1647825 h 1769268"/>
                  <a:gd name="connsiteX3" fmla="*/ 466390 w 978359"/>
                  <a:gd name="connsiteY3" fmla="*/ 1769268 h 1769268"/>
                  <a:gd name="connsiteX4" fmla="*/ 321133 w 978359"/>
                  <a:gd name="connsiteY4" fmla="*/ 795337 h 1769268"/>
                  <a:gd name="connsiteX5" fmla="*/ 978359 w 978359"/>
                  <a:gd name="connsiteY5" fmla="*/ 71436 h 1769268"/>
                  <a:gd name="connsiteX6" fmla="*/ 664033 w 978359"/>
                  <a:gd name="connsiteY6" fmla="*/ 0 h 1769268"/>
                  <a:gd name="connsiteX0" fmla="*/ 669517 w 983843"/>
                  <a:gd name="connsiteY0" fmla="*/ 0 h 1769268"/>
                  <a:gd name="connsiteX1" fmla="*/ 64680 w 983843"/>
                  <a:gd name="connsiteY1" fmla="*/ 668337 h 1769268"/>
                  <a:gd name="connsiteX2" fmla="*/ 183742 w 983843"/>
                  <a:gd name="connsiteY2" fmla="*/ 1647825 h 1769268"/>
                  <a:gd name="connsiteX3" fmla="*/ 471874 w 983843"/>
                  <a:gd name="connsiteY3" fmla="*/ 1769268 h 1769268"/>
                  <a:gd name="connsiteX4" fmla="*/ 326617 w 983843"/>
                  <a:gd name="connsiteY4" fmla="*/ 795337 h 1769268"/>
                  <a:gd name="connsiteX5" fmla="*/ 983843 w 983843"/>
                  <a:gd name="connsiteY5" fmla="*/ 71436 h 1769268"/>
                  <a:gd name="connsiteX6" fmla="*/ 669517 w 983843"/>
                  <a:gd name="connsiteY6" fmla="*/ 0 h 1769268"/>
                  <a:gd name="connsiteX0" fmla="*/ 669517 w 983843"/>
                  <a:gd name="connsiteY0" fmla="*/ 0 h 1769268"/>
                  <a:gd name="connsiteX1" fmla="*/ 64680 w 983843"/>
                  <a:gd name="connsiteY1" fmla="*/ 668337 h 1769268"/>
                  <a:gd name="connsiteX2" fmla="*/ 183742 w 983843"/>
                  <a:gd name="connsiteY2" fmla="*/ 1647825 h 1769268"/>
                  <a:gd name="connsiteX3" fmla="*/ 471874 w 983843"/>
                  <a:gd name="connsiteY3" fmla="*/ 1769268 h 1769268"/>
                  <a:gd name="connsiteX4" fmla="*/ 326617 w 983843"/>
                  <a:gd name="connsiteY4" fmla="*/ 795337 h 1769268"/>
                  <a:gd name="connsiteX5" fmla="*/ 983843 w 983843"/>
                  <a:gd name="connsiteY5" fmla="*/ 71436 h 1769268"/>
                  <a:gd name="connsiteX6" fmla="*/ 669517 w 983843"/>
                  <a:gd name="connsiteY6" fmla="*/ 0 h 1769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3843" h="1769268">
                    <a:moveTo>
                      <a:pt x="669517" y="0"/>
                    </a:moveTo>
                    <a:cubicBezTo>
                      <a:pt x="471873" y="20638"/>
                      <a:pt x="145643" y="377824"/>
                      <a:pt x="64680" y="668337"/>
                    </a:cubicBezTo>
                    <a:cubicBezTo>
                      <a:pt x="-16283" y="958850"/>
                      <a:pt x="-62320" y="1466851"/>
                      <a:pt x="183742" y="1647825"/>
                    </a:cubicBezTo>
                    <a:cubicBezTo>
                      <a:pt x="244067" y="1687512"/>
                      <a:pt x="332967" y="1734344"/>
                      <a:pt x="471874" y="1769268"/>
                    </a:cubicBezTo>
                    <a:cubicBezTo>
                      <a:pt x="224223" y="1443829"/>
                      <a:pt x="262720" y="1066403"/>
                      <a:pt x="326617" y="795337"/>
                    </a:cubicBezTo>
                    <a:cubicBezTo>
                      <a:pt x="390514" y="524271"/>
                      <a:pt x="729048" y="94454"/>
                      <a:pt x="983843" y="71436"/>
                    </a:cubicBezTo>
                    <a:cubicBezTo>
                      <a:pt x="888593" y="25399"/>
                      <a:pt x="786199" y="793"/>
                      <a:pt x="669517" y="0"/>
                    </a:cubicBez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chemeClr val="tx1"/>
                  </a:solidFill>
                </a:endParaRPr>
              </a:p>
            </p:txBody>
          </p:sp>
          <p:sp>
            <p:nvSpPr>
              <p:cNvPr id="221" name="Freeform 220"/>
              <p:cNvSpPr/>
              <p:nvPr/>
            </p:nvSpPr>
            <p:spPr bwMode="auto">
              <a:xfrm>
                <a:off x="4071206" y="5326407"/>
                <a:ext cx="1127418" cy="1826075"/>
              </a:xfrm>
              <a:custGeom>
                <a:avLst/>
                <a:gdLst>
                  <a:gd name="connsiteX0" fmla="*/ 595312 w 900112"/>
                  <a:gd name="connsiteY0" fmla="*/ 0 h 1766887"/>
                  <a:gd name="connsiteX1" fmla="*/ 0 w 900112"/>
                  <a:gd name="connsiteY1" fmla="*/ 652462 h 1766887"/>
                  <a:gd name="connsiteX2" fmla="*/ 109537 w 900112"/>
                  <a:gd name="connsiteY2" fmla="*/ 1647825 h 1766887"/>
                  <a:gd name="connsiteX3" fmla="*/ 390525 w 900112"/>
                  <a:gd name="connsiteY3" fmla="*/ 1766887 h 1766887"/>
                  <a:gd name="connsiteX4" fmla="*/ 252412 w 900112"/>
                  <a:gd name="connsiteY4" fmla="*/ 795337 h 1766887"/>
                  <a:gd name="connsiteX5" fmla="*/ 900112 w 900112"/>
                  <a:gd name="connsiteY5" fmla="*/ 71437 h 1766887"/>
                  <a:gd name="connsiteX6" fmla="*/ 595312 w 900112"/>
                  <a:gd name="connsiteY6" fmla="*/ 0 h 1766887"/>
                  <a:gd name="connsiteX0" fmla="*/ 621669 w 926469"/>
                  <a:gd name="connsiteY0" fmla="*/ 0 h 1766887"/>
                  <a:gd name="connsiteX1" fmla="*/ 26357 w 926469"/>
                  <a:gd name="connsiteY1" fmla="*/ 652462 h 1766887"/>
                  <a:gd name="connsiteX2" fmla="*/ 135894 w 926469"/>
                  <a:gd name="connsiteY2" fmla="*/ 1647825 h 1766887"/>
                  <a:gd name="connsiteX3" fmla="*/ 416882 w 926469"/>
                  <a:gd name="connsiteY3" fmla="*/ 1766887 h 1766887"/>
                  <a:gd name="connsiteX4" fmla="*/ 278769 w 926469"/>
                  <a:gd name="connsiteY4" fmla="*/ 795337 h 1766887"/>
                  <a:gd name="connsiteX5" fmla="*/ 926469 w 926469"/>
                  <a:gd name="connsiteY5" fmla="*/ 71437 h 1766887"/>
                  <a:gd name="connsiteX6" fmla="*/ 621669 w 926469"/>
                  <a:gd name="connsiteY6" fmla="*/ 0 h 1766887"/>
                  <a:gd name="connsiteX0" fmla="*/ 621669 w 926469"/>
                  <a:gd name="connsiteY0" fmla="*/ 0 h 1766887"/>
                  <a:gd name="connsiteX1" fmla="*/ 26357 w 926469"/>
                  <a:gd name="connsiteY1" fmla="*/ 652462 h 1766887"/>
                  <a:gd name="connsiteX2" fmla="*/ 135894 w 926469"/>
                  <a:gd name="connsiteY2" fmla="*/ 1647825 h 1766887"/>
                  <a:gd name="connsiteX3" fmla="*/ 416882 w 926469"/>
                  <a:gd name="connsiteY3" fmla="*/ 1766887 h 1766887"/>
                  <a:gd name="connsiteX4" fmla="*/ 278769 w 926469"/>
                  <a:gd name="connsiteY4" fmla="*/ 795337 h 1766887"/>
                  <a:gd name="connsiteX5" fmla="*/ 926469 w 926469"/>
                  <a:gd name="connsiteY5" fmla="*/ 71437 h 1766887"/>
                  <a:gd name="connsiteX6" fmla="*/ 621669 w 926469"/>
                  <a:gd name="connsiteY6" fmla="*/ 0 h 1766887"/>
                  <a:gd name="connsiteX0" fmla="*/ 621669 w 926469"/>
                  <a:gd name="connsiteY0" fmla="*/ 0 h 1766887"/>
                  <a:gd name="connsiteX1" fmla="*/ 26357 w 926469"/>
                  <a:gd name="connsiteY1" fmla="*/ 652462 h 1766887"/>
                  <a:gd name="connsiteX2" fmla="*/ 135894 w 926469"/>
                  <a:gd name="connsiteY2" fmla="*/ 1647825 h 1766887"/>
                  <a:gd name="connsiteX3" fmla="*/ 416882 w 926469"/>
                  <a:gd name="connsiteY3" fmla="*/ 1766887 h 1766887"/>
                  <a:gd name="connsiteX4" fmla="*/ 278769 w 926469"/>
                  <a:gd name="connsiteY4" fmla="*/ 795337 h 1766887"/>
                  <a:gd name="connsiteX5" fmla="*/ 926469 w 926469"/>
                  <a:gd name="connsiteY5" fmla="*/ 71437 h 1766887"/>
                  <a:gd name="connsiteX6" fmla="*/ 621669 w 926469"/>
                  <a:gd name="connsiteY6" fmla="*/ 0 h 1766887"/>
                  <a:gd name="connsiteX0" fmla="*/ 664033 w 968833"/>
                  <a:gd name="connsiteY0" fmla="*/ 0 h 1766887"/>
                  <a:gd name="connsiteX1" fmla="*/ 68721 w 968833"/>
                  <a:gd name="connsiteY1" fmla="*/ 652462 h 1766887"/>
                  <a:gd name="connsiteX2" fmla="*/ 178258 w 968833"/>
                  <a:gd name="connsiteY2" fmla="*/ 1647825 h 1766887"/>
                  <a:gd name="connsiteX3" fmla="*/ 459246 w 968833"/>
                  <a:gd name="connsiteY3" fmla="*/ 1766887 h 1766887"/>
                  <a:gd name="connsiteX4" fmla="*/ 321133 w 968833"/>
                  <a:gd name="connsiteY4" fmla="*/ 795337 h 1766887"/>
                  <a:gd name="connsiteX5" fmla="*/ 968833 w 968833"/>
                  <a:gd name="connsiteY5" fmla="*/ 71437 h 1766887"/>
                  <a:gd name="connsiteX6" fmla="*/ 664033 w 968833"/>
                  <a:gd name="connsiteY6" fmla="*/ 0 h 1766887"/>
                  <a:gd name="connsiteX0" fmla="*/ 664033 w 968833"/>
                  <a:gd name="connsiteY0" fmla="*/ 0 h 1766887"/>
                  <a:gd name="connsiteX1" fmla="*/ 68721 w 968833"/>
                  <a:gd name="connsiteY1" fmla="*/ 652462 h 1766887"/>
                  <a:gd name="connsiteX2" fmla="*/ 178258 w 968833"/>
                  <a:gd name="connsiteY2" fmla="*/ 1647825 h 1766887"/>
                  <a:gd name="connsiteX3" fmla="*/ 459246 w 968833"/>
                  <a:gd name="connsiteY3" fmla="*/ 1766887 h 1766887"/>
                  <a:gd name="connsiteX4" fmla="*/ 321133 w 968833"/>
                  <a:gd name="connsiteY4" fmla="*/ 795337 h 1766887"/>
                  <a:gd name="connsiteX5" fmla="*/ 968833 w 968833"/>
                  <a:gd name="connsiteY5" fmla="*/ 71437 h 1766887"/>
                  <a:gd name="connsiteX6" fmla="*/ 664033 w 968833"/>
                  <a:gd name="connsiteY6" fmla="*/ 0 h 1766887"/>
                  <a:gd name="connsiteX0" fmla="*/ 664033 w 973596"/>
                  <a:gd name="connsiteY0" fmla="*/ 0 h 1766887"/>
                  <a:gd name="connsiteX1" fmla="*/ 68721 w 973596"/>
                  <a:gd name="connsiteY1" fmla="*/ 652462 h 1766887"/>
                  <a:gd name="connsiteX2" fmla="*/ 178258 w 973596"/>
                  <a:gd name="connsiteY2" fmla="*/ 1647825 h 1766887"/>
                  <a:gd name="connsiteX3" fmla="*/ 459246 w 973596"/>
                  <a:gd name="connsiteY3" fmla="*/ 1766887 h 1766887"/>
                  <a:gd name="connsiteX4" fmla="*/ 321133 w 973596"/>
                  <a:gd name="connsiteY4" fmla="*/ 795337 h 1766887"/>
                  <a:gd name="connsiteX5" fmla="*/ 973596 w 973596"/>
                  <a:gd name="connsiteY5" fmla="*/ 47624 h 1766887"/>
                  <a:gd name="connsiteX6" fmla="*/ 664033 w 973596"/>
                  <a:gd name="connsiteY6" fmla="*/ 0 h 1766887"/>
                  <a:gd name="connsiteX0" fmla="*/ 664033 w 973596"/>
                  <a:gd name="connsiteY0" fmla="*/ 0 h 1766887"/>
                  <a:gd name="connsiteX1" fmla="*/ 68721 w 973596"/>
                  <a:gd name="connsiteY1" fmla="*/ 652462 h 1766887"/>
                  <a:gd name="connsiteX2" fmla="*/ 178258 w 973596"/>
                  <a:gd name="connsiteY2" fmla="*/ 1647825 h 1766887"/>
                  <a:gd name="connsiteX3" fmla="*/ 459246 w 973596"/>
                  <a:gd name="connsiteY3" fmla="*/ 1766887 h 1766887"/>
                  <a:gd name="connsiteX4" fmla="*/ 321133 w 973596"/>
                  <a:gd name="connsiteY4" fmla="*/ 795337 h 1766887"/>
                  <a:gd name="connsiteX5" fmla="*/ 973596 w 973596"/>
                  <a:gd name="connsiteY5" fmla="*/ 47624 h 1766887"/>
                  <a:gd name="connsiteX6" fmla="*/ 664033 w 973596"/>
                  <a:gd name="connsiteY6" fmla="*/ 0 h 1766887"/>
                  <a:gd name="connsiteX0" fmla="*/ 664033 w 973596"/>
                  <a:gd name="connsiteY0" fmla="*/ 0 h 1766887"/>
                  <a:gd name="connsiteX1" fmla="*/ 68721 w 973596"/>
                  <a:gd name="connsiteY1" fmla="*/ 652462 h 1766887"/>
                  <a:gd name="connsiteX2" fmla="*/ 178258 w 973596"/>
                  <a:gd name="connsiteY2" fmla="*/ 1647825 h 1766887"/>
                  <a:gd name="connsiteX3" fmla="*/ 459246 w 973596"/>
                  <a:gd name="connsiteY3" fmla="*/ 1766887 h 1766887"/>
                  <a:gd name="connsiteX4" fmla="*/ 321133 w 973596"/>
                  <a:gd name="connsiteY4" fmla="*/ 795337 h 1766887"/>
                  <a:gd name="connsiteX5" fmla="*/ 973596 w 973596"/>
                  <a:gd name="connsiteY5" fmla="*/ 47624 h 1766887"/>
                  <a:gd name="connsiteX6" fmla="*/ 664033 w 973596"/>
                  <a:gd name="connsiteY6" fmla="*/ 0 h 1766887"/>
                  <a:gd name="connsiteX0" fmla="*/ 664033 w 978359"/>
                  <a:gd name="connsiteY0" fmla="*/ 0 h 1766887"/>
                  <a:gd name="connsiteX1" fmla="*/ 68721 w 978359"/>
                  <a:gd name="connsiteY1" fmla="*/ 652462 h 1766887"/>
                  <a:gd name="connsiteX2" fmla="*/ 178258 w 978359"/>
                  <a:gd name="connsiteY2" fmla="*/ 1647825 h 1766887"/>
                  <a:gd name="connsiteX3" fmla="*/ 459246 w 978359"/>
                  <a:gd name="connsiteY3" fmla="*/ 1766887 h 1766887"/>
                  <a:gd name="connsiteX4" fmla="*/ 321133 w 978359"/>
                  <a:gd name="connsiteY4" fmla="*/ 795337 h 1766887"/>
                  <a:gd name="connsiteX5" fmla="*/ 978359 w 978359"/>
                  <a:gd name="connsiteY5" fmla="*/ 59530 h 1766887"/>
                  <a:gd name="connsiteX6" fmla="*/ 664033 w 978359"/>
                  <a:gd name="connsiteY6" fmla="*/ 0 h 1766887"/>
                  <a:gd name="connsiteX0" fmla="*/ 664033 w 978359"/>
                  <a:gd name="connsiteY0" fmla="*/ 0 h 1766887"/>
                  <a:gd name="connsiteX1" fmla="*/ 68721 w 978359"/>
                  <a:gd name="connsiteY1" fmla="*/ 652462 h 1766887"/>
                  <a:gd name="connsiteX2" fmla="*/ 178258 w 978359"/>
                  <a:gd name="connsiteY2" fmla="*/ 1647825 h 1766887"/>
                  <a:gd name="connsiteX3" fmla="*/ 459246 w 978359"/>
                  <a:gd name="connsiteY3" fmla="*/ 1766887 h 1766887"/>
                  <a:gd name="connsiteX4" fmla="*/ 321133 w 978359"/>
                  <a:gd name="connsiteY4" fmla="*/ 795337 h 1766887"/>
                  <a:gd name="connsiteX5" fmla="*/ 978359 w 978359"/>
                  <a:gd name="connsiteY5" fmla="*/ 59530 h 1766887"/>
                  <a:gd name="connsiteX6" fmla="*/ 664033 w 978359"/>
                  <a:gd name="connsiteY6" fmla="*/ 0 h 1766887"/>
                  <a:gd name="connsiteX0" fmla="*/ 664033 w 978359"/>
                  <a:gd name="connsiteY0" fmla="*/ 0 h 1766887"/>
                  <a:gd name="connsiteX1" fmla="*/ 68721 w 978359"/>
                  <a:gd name="connsiteY1" fmla="*/ 652462 h 1766887"/>
                  <a:gd name="connsiteX2" fmla="*/ 178258 w 978359"/>
                  <a:gd name="connsiteY2" fmla="*/ 1647825 h 1766887"/>
                  <a:gd name="connsiteX3" fmla="*/ 459246 w 978359"/>
                  <a:gd name="connsiteY3" fmla="*/ 1766887 h 1766887"/>
                  <a:gd name="connsiteX4" fmla="*/ 321133 w 978359"/>
                  <a:gd name="connsiteY4" fmla="*/ 795337 h 1766887"/>
                  <a:gd name="connsiteX5" fmla="*/ 978359 w 978359"/>
                  <a:gd name="connsiteY5" fmla="*/ 59530 h 1766887"/>
                  <a:gd name="connsiteX6" fmla="*/ 664033 w 978359"/>
                  <a:gd name="connsiteY6" fmla="*/ 0 h 1766887"/>
                  <a:gd name="connsiteX0" fmla="*/ 664033 w 978359"/>
                  <a:gd name="connsiteY0" fmla="*/ 0 h 1766887"/>
                  <a:gd name="connsiteX1" fmla="*/ 68721 w 978359"/>
                  <a:gd name="connsiteY1" fmla="*/ 652462 h 1766887"/>
                  <a:gd name="connsiteX2" fmla="*/ 178258 w 978359"/>
                  <a:gd name="connsiteY2" fmla="*/ 1647825 h 1766887"/>
                  <a:gd name="connsiteX3" fmla="*/ 459246 w 978359"/>
                  <a:gd name="connsiteY3" fmla="*/ 1766887 h 1766887"/>
                  <a:gd name="connsiteX4" fmla="*/ 321133 w 978359"/>
                  <a:gd name="connsiteY4" fmla="*/ 795337 h 1766887"/>
                  <a:gd name="connsiteX5" fmla="*/ 978359 w 978359"/>
                  <a:gd name="connsiteY5" fmla="*/ 59530 h 1766887"/>
                  <a:gd name="connsiteX6" fmla="*/ 664033 w 978359"/>
                  <a:gd name="connsiteY6" fmla="*/ 0 h 1766887"/>
                  <a:gd name="connsiteX0" fmla="*/ 664033 w 978359"/>
                  <a:gd name="connsiteY0" fmla="*/ 0 h 1766887"/>
                  <a:gd name="connsiteX1" fmla="*/ 68721 w 978359"/>
                  <a:gd name="connsiteY1" fmla="*/ 652462 h 1766887"/>
                  <a:gd name="connsiteX2" fmla="*/ 178258 w 978359"/>
                  <a:gd name="connsiteY2" fmla="*/ 1647825 h 1766887"/>
                  <a:gd name="connsiteX3" fmla="*/ 459246 w 978359"/>
                  <a:gd name="connsiteY3" fmla="*/ 1766887 h 1766887"/>
                  <a:gd name="connsiteX4" fmla="*/ 321133 w 978359"/>
                  <a:gd name="connsiteY4" fmla="*/ 795337 h 1766887"/>
                  <a:gd name="connsiteX5" fmla="*/ 978359 w 978359"/>
                  <a:gd name="connsiteY5" fmla="*/ 59530 h 1766887"/>
                  <a:gd name="connsiteX6" fmla="*/ 664033 w 978359"/>
                  <a:gd name="connsiteY6" fmla="*/ 0 h 1766887"/>
                  <a:gd name="connsiteX0" fmla="*/ 664033 w 978359"/>
                  <a:gd name="connsiteY0" fmla="*/ 0 h 1766887"/>
                  <a:gd name="connsiteX1" fmla="*/ 68721 w 978359"/>
                  <a:gd name="connsiteY1" fmla="*/ 652462 h 1766887"/>
                  <a:gd name="connsiteX2" fmla="*/ 178258 w 978359"/>
                  <a:gd name="connsiteY2" fmla="*/ 1647825 h 1766887"/>
                  <a:gd name="connsiteX3" fmla="*/ 459246 w 978359"/>
                  <a:gd name="connsiteY3" fmla="*/ 1766887 h 1766887"/>
                  <a:gd name="connsiteX4" fmla="*/ 321133 w 978359"/>
                  <a:gd name="connsiteY4" fmla="*/ 795337 h 1766887"/>
                  <a:gd name="connsiteX5" fmla="*/ 978359 w 978359"/>
                  <a:gd name="connsiteY5" fmla="*/ 59530 h 1766887"/>
                  <a:gd name="connsiteX6" fmla="*/ 664033 w 978359"/>
                  <a:gd name="connsiteY6" fmla="*/ 0 h 1766887"/>
                  <a:gd name="connsiteX0" fmla="*/ 664033 w 978359"/>
                  <a:gd name="connsiteY0" fmla="*/ 0 h 1769268"/>
                  <a:gd name="connsiteX1" fmla="*/ 68721 w 978359"/>
                  <a:gd name="connsiteY1" fmla="*/ 652462 h 1769268"/>
                  <a:gd name="connsiteX2" fmla="*/ 178258 w 978359"/>
                  <a:gd name="connsiteY2" fmla="*/ 1647825 h 1769268"/>
                  <a:gd name="connsiteX3" fmla="*/ 466390 w 978359"/>
                  <a:gd name="connsiteY3" fmla="*/ 1769268 h 1769268"/>
                  <a:gd name="connsiteX4" fmla="*/ 321133 w 978359"/>
                  <a:gd name="connsiteY4" fmla="*/ 795337 h 1769268"/>
                  <a:gd name="connsiteX5" fmla="*/ 978359 w 978359"/>
                  <a:gd name="connsiteY5" fmla="*/ 59530 h 1769268"/>
                  <a:gd name="connsiteX6" fmla="*/ 664033 w 978359"/>
                  <a:gd name="connsiteY6" fmla="*/ 0 h 1769268"/>
                  <a:gd name="connsiteX0" fmla="*/ 664033 w 978359"/>
                  <a:gd name="connsiteY0" fmla="*/ 0 h 1769268"/>
                  <a:gd name="connsiteX1" fmla="*/ 68721 w 978359"/>
                  <a:gd name="connsiteY1" fmla="*/ 652462 h 1769268"/>
                  <a:gd name="connsiteX2" fmla="*/ 178258 w 978359"/>
                  <a:gd name="connsiteY2" fmla="*/ 1647825 h 1769268"/>
                  <a:gd name="connsiteX3" fmla="*/ 466390 w 978359"/>
                  <a:gd name="connsiteY3" fmla="*/ 1769268 h 1769268"/>
                  <a:gd name="connsiteX4" fmla="*/ 321133 w 978359"/>
                  <a:gd name="connsiteY4" fmla="*/ 795337 h 1769268"/>
                  <a:gd name="connsiteX5" fmla="*/ 978359 w 978359"/>
                  <a:gd name="connsiteY5" fmla="*/ 59530 h 1769268"/>
                  <a:gd name="connsiteX6" fmla="*/ 664033 w 978359"/>
                  <a:gd name="connsiteY6" fmla="*/ 0 h 1769268"/>
                  <a:gd name="connsiteX0" fmla="*/ 664033 w 978359"/>
                  <a:gd name="connsiteY0" fmla="*/ 0 h 1769268"/>
                  <a:gd name="connsiteX1" fmla="*/ 68721 w 978359"/>
                  <a:gd name="connsiteY1" fmla="*/ 652462 h 1769268"/>
                  <a:gd name="connsiteX2" fmla="*/ 178258 w 978359"/>
                  <a:gd name="connsiteY2" fmla="*/ 1647825 h 1769268"/>
                  <a:gd name="connsiteX3" fmla="*/ 466390 w 978359"/>
                  <a:gd name="connsiteY3" fmla="*/ 1769268 h 1769268"/>
                  <a:gd name="connsiteX4" fmla="*/ 321133 w 978359"/>
                  <a:gd name="connsiteY4" fmla="*/ 795337 h 1769268"/>
                  <a:gd name="connsiteX5" fmla="*/ 978359 w 978359"/>
                  <a:gd name="connsiteY5" fmla="*/ 59530 h 1769268"/>
                  <a:gd name="connsiteX6" fmla="*/ 664033 w 978359"/>
                  <a:gd name="connsiteY6" fmla="*/ 0 h 1769268"/>
                  <a:gd name="connsiteX0" fmla="*/ 664033 w 978359"/>
                  <a:gd name="connsiteY0" fmla="*/ 0 h 1769268"/>
                  <a:gd name="connsiteX1" fmla="*/ 68721 w 978359"/>
                  <a:gd name="connsiteY1" fmla="*/ 652462 h 1769268"/>
                  <a:gd name="connsiteX2" fmla="*/ 178258 w 978359"/>
                  <a:gd name="connsiteY2" fmla="*/ 1647825 h 1769268"/>
                  <a:gd name="connsiteX3" fmla="*/ 466390 w 978359"/>
                  <a:gd name="connsiteY3" fmla="*/ 1769268 h 1769268"/>
                  <a:gd name="connsiteX4" fmla="*/ 321133 w 978359"/>
                  <a:gd name="connsiteY4" fmla="*/ 795337 h 1769268"/>
                  <a:gd name="connsiteX5" fmla="*/ 978359 w 978359"/>
                  <a:gd name="connsiteY5" fmla="*/ 59530 h 1769268"/>
                  <a:gd name="connsiteX6" fmla="*/ 664033 w 978359"/>
                  <a:gd name="connsiteY6" fmla="*/ 0 h 1769268"/>
                  <a:gd name="connsiteX0" fmla="*/ 664033 w 978359"/>
                  <a:gd name="connsiteY0" fmla="*/ 0 h 1769268"/>
                  <a:gd name="connsiteX1" fmla="*/ 68721 w 978359"/>
                  <a:gd name="connsiteY1" fmla="*/ 652462 h 1769268"/>
                  <a:gd name="connsiteX2" fmla="*/ 178258 w 978359"/>
                  <a:gd name="connsiteY2" fmla="*/ 1647825 h 1769268"/>
                  <a:gd name="connsiteX3" fmla="*/ 466390 w 978359"/>
                  <a:gd name="connsiteY3" fmla="*/ 1769268 h 1769268"/>
                  <a:gd name="connsiteX4" fmla="*/ 321133 w 978359"/>
                  <a:gd name="connsiteY4" fmla="*/ 795337 h 1769268"/>
                  <a:gd name="connsiteX5" fmla="*/ 978359 w 978359"/>
                  <a:gd name="connsiteY5" fmla="*/ 59530 h 1769268"/>
                  <a:gd name="connsiteX6" fmla="*/ 664033 w 978359"/>
                  <a:gd name="connsiteY6" fmla="*/ 0 h 1769268"/>
                  <a:gd name="connsiteX0" fmla="*/ 664033 w 978359"/>
                  <a:gd name="connsiteY0" fmla="*/ 0 h 1769268"/>
                  <a:gd name="connsiteX1" fmla="*/ 68721 w 978359"/>
                  <a:gd name="connsiteY1" fmla="*/ 652462 h 1769268"/>
                  <a:gd name="connsiteX2" fmla="*/ 178258 w 978359"/>
                  <a:gd name="connsiteY2" fmla="*/ 1647825 h 1769268"/>
                  <a:gd name="connsiteX3" fmla="*/ 466390 w 978359"/>
                  <a:gd name="connsiteY3" fmla="*/ 1769268 h 1769268"/>
                  <a:gd name="connsiteX4" fmla="*/ 321133 w 978359"/>
                  <a:gd name="connsiteY4" fmla="*/ 795337 h 1769268"/>
                  <a:gd name="connsiteX5" fmla="*/ 978359 w 978359"/>
                  <a:gd name="connsiteY5" fmla="*/ 59530 h 1769268"/>
                  <a:gd name="connsiteX6" fmla="*/ 664033 w 978359"/>
                  <a:gd name="connsiteY6" fmla="*/ 0 h 1769268"/>
                  <a:gd name="connsiteX0" fmla="*/ 664033 w 978359"/>
                  <a:gd name="connsiteY0" fmla="*/ 0 h 1769268"/>
                  <a:gd name="connsiteX1" fmla="*/ 68721 w 978359"/>
                  <a:gd name="connsiteY1" fmla="*/ 652462 h 1769268"/>
                  <a:gd name="connsiteX2" fmla="*/ 178258 w 978359"/>
                  <a:gd name="connsiteY2" fmla="*/ 1647825 h 1769268"/>
                  <a:gd name="connsiteX3" fmla="*/ 466390 w 978359"/>
                  <a:gd name="connsiteY3" fmla="*/ 1769268 h 1769268"/>
                  <a:gd name="connsiteX4" fmla="*/ 321133 w 978359"/>
                  <a:gd name="connsiteY4" fmla="*/ 795337 h 1769268"/>
                  <a:gd name="connsiteX5" fmla="*/ 978359 w 978359"/>
                  <a:gd name="connsiteY5" fmla="*/ 71436 h 1769268"/>
                  <a:gd name="connsiteX6" fmla="*/ 664033 w 978359"/>
                  <a:gd name="connsiteY6" fmla="*/ 0 h 1769268"/>
                  <a:gd name="connsiteX0" fmla="*/ 664033 w 978359"/>
                  <a:gd name="connsiteY0" fmla="*/ 0 h 1769268"/>
                  <a:gd name="connsiteX1" fmla="*/ 68721 w 978359"/>
                  <a:gd name="connsiteY1" fmla="*/ 652462 h 1769268"/>
                  <a:gd name="connsiteX2" fmla="*/ 178258 w 978359"/>
                  <a:gd name="connsiteY2" fmla="*/ 1647825 h 1769268"/>
                  <a:gd name="connsiteX3" fmla="*/ 466390 w 978359"/>
                  <a:gd name="connsiteY3" fmla="*/ 1769268 h 1769268"/>
                  <a:gd name="connsiteX4" fmla="*/ 321133 w 978359"/>
                  <a:gd name="connsiteY4" fmla="*/ 795337 h 1769268"/>
                  <a:gd name="connsiteX5" fmla="*/ 978359 w 978359"/>
                  <a:gd name="connsiteY5" fmla="*/ 71436 h 1769268"/>
                  <a:gd name="connsiteX6" fmla="*/ 664033 w 978359"/>
                  <a:gd name="connsiteY6" fmla="*/ 0 h 1769268"/>
                  <a:gd name="connsiteX0" fmla="*/ 664033 w 978359"/>
                  <a:gd name="connsiteY0" fmla="*/ 0 h 1769268"/>
                  <a:gd name="connsiteX1" fmla="*/ 68721 w 978359"/>
                  <a:gd name="connsiteY1" fmla="*/ 652462 h 1769268"/>
                  <a:gd name="connsiteX2" fmla="*/ 178258 w 978359"/>
                  <a:gd name="connsiteY2" fmla="*/ 1647825 h 1769268"/>
                  <a:gd name="connsiteX3" fmla="*/ 466390 w 978359"/>
                  <a:gd name="connsiteY3" fmla="*/ 1769268 h 1769268"/>
                  <a:gd name="connsiteX4" fmla="*/ 321133 w 978359"/>
                  <a:gd name="connsiteY4" fmla="*/ 795337 h 1769268"/>
                  <a:gd name="connsiteX5" fmla="*/ 978359 w 978359"/>
                  <a:gd name="connsiteY5" fmla="*/ 71436 h 1769268"/>
                  <a:gd name="connsiteX6" fmla="*/ 664033 w 978359"/>
                  <a:gd name="connsiteY6" fmla="*/ 0 h 1769268"/>
                  <a:gd name="connsiteX0" fmla="*/ 664033 w 978359"/>
                  <a:gd name="connsiteY0" fmla="*/ 0 h 1769268"/>
                  <a:gd name="connsiteX1" fmla="*/ 68721 w 978359"/>
                  <a:gd name="connsiteY1" fmla="*/ 652462 h 1769268"/>
                  <a:gd name="connsiteX2" fmla="*/ 178258 w 978359"/>
                  <a:gd name="connsiteY2" fmla="*/ 1647825 h 1769268"/>
                  <a:gd name="connsiteX3" fmla="*/ 466390 w 978359"/>
                  <a:gd name="connsiteY3" fmla="*/ 1769268 h 1769268"/>
                  <a:gd name="connsiteX4" fmla="*/ 321133 w 978359"/>
                  <a:gd name="connsiteY4" fmla="*/ 795337 h 1769268"/>
                  <a:gd name="connsiteX5" fmla="*/ 978359 w 978359"/>
                  <a:gd name="connsiteY5" fmla="*/ 71436 h 1769268"/>
                  <a:gd name="connsiteX6" fmla="*/ 664033 w 978359"/>
                  <a:gd name="connsiteY6" fmla="*/ 0 h 1769268"/>
                  <a:gd name="connsiteX0" fmla="*/ 664033 w 978359"/>
                  <a:gd name="connsiteY0" fmla="*/ 0 h 1769268"/>
                  <a:gd name="connsiteX1" fmla="*/ 68721 w 978359"/>
                  <a:gd name="connsiteY1" fmla="*/ 652462 h 1769268"/>
                  <a:gd name="connsiteX2" fmla="*/ 178258 w 978359"/>
                  <a:gd name="connsiteY2" fmla="*/ 1647825 h 1769268"/>
                  <a:gd name="connsiteX3" fmla="*/ 466390 w 978359"/>
                  <a:gd name="connsiteY3" fmla="*/ 1769268 h 1769268"/>
                  <a:gd name="connsiteX4" fmla="*/ 321133 w 978359"/>
                  <a:gd name="connsiteY4" fmla="*/ 795337 h 1769268"/>
                  <a:gd name="connsiteX5" fmla="*/ 978359 w 978359"/>
                  <a:gd name="connsiteY5" fmla="*/ 71436 h 1769268"/>
                  <a:gd name="connsiteX6" fmla="*/ 664033 w 978359"/>
                  <a:gd name="connsiteY6" fmla="*/ 0 h 1769268"/>
                  <a:gd name="connsiteX0" fmla="*/ 664033 w 978359"/>
                  <a:gd name="connsiteY0" fmla="*/ 0 h 1769268"/>
                  <a:gd name="connsiteX1" fmla="*/ 68721 w 978359"/>
                  <a:gd name="connsiteY1" fmla="*/ 652462 h 1769268"/>
                  <a:gd name="connsiteX2" fmla="*/ 178258 w 978359"/>
                  <a:gd name="connsiteY2" fmla="*/ 1647825 h 1769268"/>
                  <a:gd name="connsiteX3" fmla="*/ 466390 w 978359"/>
                  <a:gd name="connsiteY3" fmla="*/ 1769268 h 1769268"/>
                  <a:gd name="connsiteX4" fmla="*/ 321133 w 978359"/>
                  <a:gd name="connsiteY4" fmla="*/ 795337 h 1769268"/>
                  <a:gd name="connsiteX5" fmla="*/ 978359 w 978359"/>
                  <a:gd name="connsiteY5" fmla="*/ 71436 h 1769268"/>
                  <a:gd name="connsiteX6" fmla="*/ 664033 w 978359"/>
                  <a:gd name="connsiteY6" fmla="*/ 0 h 1769268"/>
                  <a:gd name="connsiteX0" fmla="*/ 664033 w 978359"/>
                  <a:gd name="connsiteY0" fmla="*/ 0 h 1769268"/>
                  <a:gd name="connsiteX1" fmla="*/ 68721 w 978359"/>
                  <a:gd name="connsiteY1" fmla="*/ 652462 h 1769268"/>
                  <a:gd name="connsiteX2" fmla="*/ 178258 w 978359"/>
                  <a:gd name="connsiteY2" fmla="*/ 1647825 h 1769268"/>
                  <a:gd name="connsiteX3" fmla="*/ 466390 w 978359"/>
                  <a:gd name="connsiteY3" fmla="*/ 1769268 h 1769268"/>
                  <a:gd name="connsiteX4" fmla="*/ 321133 w 978359"/>
                  <a:gd name="connsiteY4" fmla="*/ 795337 h 1769268"/>
                  <a:gd name="connsiteX5" fmla="*/ 978359 w 978359"/>
                  <a:gd name="connsiteY5" fmla="*/ 71436 h 1769268"/>
                  <a:gd name="connsiteX6" fmla="*/ 664033 w 978359"/>
                  <a:gd name="connsiteY6" fmla="*/ 0 h 1769268"/>
                  <a:gd name="connsiteX0" fmla="*/ 669517 w 983843"/>
                  <a:gd name="connsiteY0" fmla="*/ 0 h 1769268"/>
                  <a:gd name="connsiteX1" fmla="*/ 64680 w 983843"/>
                  <a:gd name="connsiteY1" fmla="*/ 668337 h 1769268"/>
                  <a:gd name="connsiteX2" fmla="*/ 183742 w 983843"/>
                  <a:gd name="connsiteY2" fmla="*/ 1647825 h 1769268"/>
                  <a:gd name="connsiteX3" fmla="*/ 471874 w 983843"/>
                  <a:gd name="connsiteY3" fmla="*/ 1769268 h 1769268"/>
                  <a:gd name="connsiteX4" fmla="*/ 326617 w 983843"/>
                  <a:gd name="connsiteY4" fmla="*/ 795337 h 1769268"/>
                  <a:gd name="connsiteX5" fmla="*/ 983843 w 983843"/>
                  <a:gd name="connsiteY5" fmla="*/ 71436 h 1769268"/>
                  <a:gd name="connsiteX6" fmla="*/ 669517 w 983843"/>
                  <a:gd name="connsiteY6" fmla="*/ 0 h 1769268"/>
                  <a:gd name="connsiteX0" fmla="*/ 669517 w 983843"/>
                  <a:gd name="connsiteY0" fmla="*/ 0 h 1769268"/>
                  <a:gd name="connsiteX1" fmla="*/ 64680 w 983843"/>
                  <a:gd name="connsiteY1" fmla="*/ 668337 h 1769268"/>
                  <a:gd name="connsiteX2" fmla="*/ 183742 w 983843"/>
                  <a:gd name="connsiteY2" fmla="*/ 1647825 h 1769268"/>
                  <a:gd name="connsiteX3" fmla="*/ 471874 w 983843"/>
                  <a:gd name="connsiteY3" fmla="*/ 1769268 h 1769268"/>
                  <a:gd name="connsiteX4" fmla="*/ 326617 w 983843"/>
                  <a:gd name="connsiteY4" fmla="*/ 795337 h 1769268"/>
                  <a:gd name="connsiteX5" fmla="*/ 983843 w 983843"/>
                  <a:gd name="connsiteY5" fmla="*/ 71436 h 1769268"/>
                  <a:gd name="connsiteX6" fmla="*/ 669517 w 983843"/>
                  <a:gd name="connsiteY6" fmla="*/ 0 h 1769268"/>
                  <a:gd name="connsiteX0" fmla="*/ 651727 w 966053"/>
                  <a:gd name="connsiteY0" fmla="*/ 0 h 1769268"/>
                  <a:gd name="connsiteX1" fmla="*/ 46890 w 966053"/>
                  <a:gd name="connsiteY1" fmla="*/ 668337 h 1769268"/>
                  <a:gd name="connsiteX2" fmla="*/ 165952 w 966053"/>
                  <a:gd name="connsiteY2" fmla="*/ 1647825 h 1769268"/>
                  <a:gd name="connsiteX3" fmla="*/ 454084 w 966053"/>
                  <a:gd name="connsiteY3" fmla="*/ 1769268 h 1769268"/>
                  <a:gd name="connsiteX4" fmla="*/ 308827 w 966053"/>
                  <a:gd name="connsiteY4" fmla="*/ 795337 h 1769268"/>
                  <a:gd name="connsiteX5" fmla="*/ 966053 w 966053"/>
                  <a:gd name="connsiteY5" fmla="*/ 71436 h 1769268"/>
                  <a:gd name="connsiteX6" fmla="*/ 651727 w 966053"/>
                  <a:gd name="connsiteY6" fmla="*/ 0 h 1769268"/>
                  <a:gd name="connsiteX0" fmla="*/ 655999 w 970325"/>
                  <a:gd name="connsiteY0" fmla="*/ 0 h 1769268"/>
                  <a:gd name="connsiteX1" fmla="*/ 51162 w 970325"/>
                  <a:gd name="connsiteY1" fmla="*/ 668337 h 1769268"/>
                  <a:gd name="connsiteX2" fmla="*/ 170224 w 970325"/>
                  <a:gd name="connsiteY2" fmla="*/ 1647825 h 1769268"/>
                  <a:gd name="connsiteX3" fmla="*/ 458356 w 970325"/>
                  <a:gd name="connsiteY3" fmla="*/ 1769268 h 1769268"/>
                  <a:gd name="connsiteX4" fmla="*/ 313099 w 970325"/>
                  <a:gd name="connsiteY4" fmla="*/ 795337 h 1769268"/>
                  <a:gd name="connsiteX5" fmla="*/ 970325 w 970325"/>
                  <a:gd name="connsiteY5" fmla="*/ 71436 h 1769268"/>
                  <a:gd name="connsiteX6" fmla="*/ 655999 w 970325"/>
                  <a:gd name="connsiteY6" fmla="*/ 0 h 1769268"/>
                  <a:gd name="connsiteX0" fmla="*/ 671259 w 985585"/>
                  <a:gd name="connsiteY0" fmla="*/ 0 h 1769268"/>
                  <a:gd name="connsiteX1" fmla="*/ 66422 w 985585"/>
                  <a:gd name="connsiteY1" fmla="*/ 668337 h 1769268"/>
                  <a:gd name="connsiteX2" fmla="*/ 185484 w 985585"/>
                  <a:gd name="connsiteY2" fmla="*/ 1647825 h 1769268"/>
                  <a:gd name="connsiteX3" fmla="*/ 473616 w 985585"/>
                  <a:gd name="connsiteY3" fmla="*/ 1769268 h 1769268"/>
                  <a:gd name="connsiteX4" fmla="*/ 328359 w 985585"/>
                  <a:gd name="connsiteY4" fmla="*/ 795337 h 1769268"/>
                  <a:gd name="connsiteX5" fmla="*/ 985585 w 985585"/>
                  <a:gd name="connsiteY5" fmla="*/ 71436 h 1769268"/>
                  <a:gd name="connsiteX6" fmla="*/ 671259 w 985585"/>
                  <a:gd name="connsiteY6" fmla="*/ 0 h 1769268"/>
                  <a:gd name="connsiteX0" fmla="*/ 675438 w 989764"/>
                  <a:gd name="connsiteY0" fmla="*/ 0 h 1769268"/>
                  <a:gd name="connsiteX1" fmla="*/ 70601 w 989764"/>
                  <a:gd name="connsiteY1" fmla="*/ 668337 h 1769268"/>
                  <a:gd name="connsiteX2" fmla="*/ 189663 w 989764"/>
                  <a:gd name="connsiteY2" fmla="*/ 1647825 h 1769268"/>
                  <a:gd name="connsiteX3" fmla="*/ 477795 w 989764"/>
                  <a:gd name="connsiteY3" fmla="*/ 1769268 h 1769268"/>
                  <a:gd name="connsiteX4" fmla="*/ 332538 w 989764"/>
                  <a:gd name="connsiteY4" fmla="*/ 795337 h 1769268"/>
                  <a:gd name="connsiteX5" fmla="*/ 989764 w 989764"/>
                  <a:gd name="connsiteY5" fmla="*/ 71436 h 1769268"/>
                  <a:gd name="connsiteX6" fmla="*/ 675438 w 989764"/>
                  <a:gd name="connsiteY6" fmla="*/ 0 h 1769268"/>
                  <a:gd name="connsiteX0" fmla="*/ 675438 w 989764"/>
                  <a:gd name="connsiteY0" fmla="*/ 0 h 1823243"/>
                  <a:gd name="connsiteX1" fmla="*/ 70601 w 989764"/>
                  <a:gd name="connsiteY1" fmla="*/ 668337 h 1823243"/>
                  <a:gd name="connsiteX2" fmla="*/ 189663 w 989764"/>
                  <a:gd name="connsiteY2" fmla="*/ 1647825 h 1823243"/>
                  <a:gd name="connsiteX3" fmla="*/ 623845 w 989764"/>
                  <a:gd name="connsiteY3" fmla="*/ 1823243 h 1823243"/>
                  <a:gd name="connsiteX4" fmla="*/ 332538 w 989764"/>
                  <a:gd name="connsiteY4" fmla="*/ 795337 h 1823243"/>
                  <a:gd name="connsiteX5" fmla="*/ 989764 w 989764"/>
                  <a:gd name="connsiteY5" fmla="*/ 71436 h 1823243"/>
                  <a:gd name="connsiteX6" fmla="*/ 675438 w 989764"/>
                  <a:gd name="connsiteY6" fmla="*/ 0 h 1823243"/>
                  <a:gd name="connsiteX0" fmla="*/ 675438 w 989764"/>
                  <a:gd name="connsiteY0" fmla="*/ 0 h 1823243"/>
                  <a:gd name="connsiteX1" fmla="*/ 70601 w 989764"/>
                  <a:gd name="connsiteY1" fmla="*/ 668337 h 1823243"/>
                  <a:gd name="connsiteX2" fmla="*/ 189663 w 989764"/>
                  <a:gd name="connsiteY2" fmla="*/ 1647825 h 1823243"/>
                  <a:gd name="connsiteX3" fmla="*/ 623845 w 989764"/>
                  <a:gd name="connsiteY3" fmla="*/ 1823243 h 1823243"/>
                  <a:gd name="connsiteX4" fmla="*/ 516688 w 989764"/>
                  <a:gd name="connsiteY4" fmla="*/ 887412 h 1823243"/>
                  <a:gd name="connsiteX5" fmla="*/ 989764 w 989764"/>
                  <a:gd name="connsiteY5" fmla="*/ 71436 h 1823243"/>
                  <a:gd name="connsiteX6" fmla="*/ 675438 w 989764"/>
                  <a:gd name="connsiteY6" fmla="*/ 0 h 1823243"/>
                  <a:gd name="connsiteX0" fmla="*/ 675438 w 1145339"/>
                  <a:gd name="connsiteY0" fmla="*/ 0 h 1823243"/>
                  <a:gd name="connsiteX1" fmla="*/ 70601 w 1145339"/>
                  <a:gd name="connsiteY1" fmla="*/ 668337 h 1823243"/>
                  <a:gd name="connsiteX2" fmla="*/ 189663 w 1145339"/>
                  <a:gd name="connsiteY2" fmla="*/ 1647825 h 1823243"/>
                  <a:gd name="connsiteX3" fmla="*/ 623845 w 1145339"/>
                  <a:gd name="connsiteY3" fmla="*/ 1823243 h 1823243"/>
                  <a:gd name="connsiteX4" fmla="*/ 516688 w 1145339"/>
                  <a:gd name="connsiteY4" fmla="*/ 887412 h 1823243"/>
                  <a:gd name="connsiteX5" fmla="*/ 1145339 w 1145339"/>
                  <a:gd name="connsiteY5" fmla="*/ 93661 h 1823243"/>
                  <a:gd name="connsiteX6" fmla="*/ 675438 w 1145339"/>
                  <a:gd name="connsiteY6" fmla="*/ 0 h 1823243"/>
                  <a:gd name="connsiteX0" fmla="*/ 675438 w 1145339"/>
                  <a:gd name="connsiteY0" fmla="*/ 0 h 1823243"/>
                  <a:gd name="connsiteX1" fmla="*/ 70601 w 1145339"/>
                  <a:gd name="connsiteY1" fmla="*/ 668337 h 1823243"/>
                  <a:gd name="connsiteX2" fmla="*/ 189663 w 1145339"/>
                  <a:gd name="connsiteY2" fmla="*/ 1647825 h 1823243"/>
                  <a:gd name="connsiteX3" fmla="*/ 623845 w 1145339"/>
                  <a:gd name="connsiteY3" fmla="*/ 1823243 h 1823243"/>
                  <a:gd name="connsiteX4" fmla="*/ 516688 w 1145339"/>
                  <a:gd name="connsiteY4" fmla="*/ 887412 h 1823243"/>
                  <a:gd name="connsiteX5" fmla="*/ 1145339 w 1145339"/>
                  <a:gd name="connsiteY5" fmla="*/ 93661 h 1823243"/>
                  <a:gd name="connsiteX6" fmla="*/ 675438 w 1145339"/>
                  <a:gd name="connsiteY6" fmla="*/ 0 h 1823243"/>
                  <a:gd name="connsiteX0" fmla="*/ 675438 w 1145339"/>
                  <a:gd name="connsiteY0" fmla="*/ 0 h 1823243"/>
                  <a:gd name="connsiteX1" fmla="*/ 70601 w 1145339"/>
                  <a:gd name="connsiteY1" fmla="*/ 668337 h 1823243"/>
                  <a:gd name="connsiteX2" fmla="*/ 189663 w 1145339"/>
                  <a:gd name="connsiteY2" fmla="*/ 1647825 h 1823243"/>
                  <a:gd name="connsiteX3" fmla="*/ 623845 w 1145339"/>
                  <a:gd name="connsiteY3" fmla="*/ 1823243 h 1823243"/>
                  <a:gd name="connsiteX4" fmla="*/ 516688 w 1145339"/>
                  <a:gd name="connsiteY4" fmla="*/ 887412 h 1823243"/>
                  <a:gd name="connsiteX5" fmla="*/ 1145339 w 1145339"/>
                  <a:gd name="connsiteY5" fmla="*/ 93661 h 1823243"/>
                  <a:gd name="connsiteX6" fmla="*/ 675438 w 1145339"/>
                  <a:gd name="connsiteY6" fmla="*/ 0 h 1823243"/>
                  <a:gd name="connsiteX0" fmla="*/ 675438 w 1145339"/>
                  <a:gd name="connsiteY0" fmla="*/ 0 h 1823243"/>
                  <a:gd name="connsiteX1" fmla="*/ 70601 w 1145339"/>
                  <a:gd name="connsiteY1" fmla="*/ 668337 h 1823243"/>
                  <a:gd name="connsiteX2" fmla="*/ 189663 w 1145339"/>
                  <a:gd name="connsiteY2" fmla="*/ 1647825 h 1823243"/>
                  <a:gd name="connsiteX3" fmla="*/ 623845 w 1145339"/>
                  <a:gd name="connsiteY3" fmla="*/ 1823243 h 1823243"/>
                  <a:gd name="connsiteX4" fmla="*/ 516688 w 1145339"/>
                  <a:gd name="connsiteY4" fmla="*/ 887412 h 1823243"/>
                  <a:gd name="connsiteX5" fmla="*/ 1145339 w 1145339"/>
                  <a:gd name="connsiteY5" fmla="*/ 93661 h 1823243"/>
                  <a:gd name="connsiteX6" fmla="*/ 675438 w 1145339"/>
                  <a:gd name="connsiteY6" fmla="*/ 0 h 1823243"/>
                  <a:gd name="connsiteX0" fmla="*/ 675438 w 1145339"/>
                  <a:gd name="connsiteY0" fmla="*/ 0 h 1823243"/>
                  <a:gd name="connsiteX1" fmla="*/ 70601 w 1145339"/>
                  <a:gd name="connsiteY1" fmla="*/ 668337 h 1823243"/>
                  <a:gd name="connsiteX2" fmla="*/ 189663 w 1145339"/>
                  <a:gd name="connsiteY2" fmla="*/ 1647825 h 1823243"/>
                  <a:gd name="connsiteX3" fmla="*/ 623845 w 1145339"/>
                  <a:gd name="connsiteY3" fmla="*/ 1823243 h 1823243"/>
                  <a:gd name="connsiteX4" fmla="*/ 535738 w 1145339"/>
                  <a:gd name="connsiteY4" fmla="*/ 900112 h 1823243"/>
                  <a:gd name="connsiteX5" fmla="*/ 1145339 w 1145339"/>
                  <a:gd name="connsiteY5" fmla="*/ 93661 h 1823243"/>
                  <a:gd name="connsiteX6" fmla="*/ 675438 w 1145339"/>
                  <a:gd name="connsiteY6" fmla="*/ 0 h 1823243"/>
                  <a:gd name="connsiteX0" fmla="*/ 675438 w 1145339"/>
                  <a:gd name="connsiteY0" fmla="*/ 0 h 1823243"/>
                  <a:gd name="connsiteX1" fmla="*/ 70601 w 1145339"/>
                  <a:gd name="connsiteY1" fmla="*/ 668337 h 1823243"/>
                  <a:gd name="connsiteX2" fmla="*/ 189663 w 1145339"/>
                  <a:gd name="connsiteY2" fmla="*/ 1647825 h 1823243"/>
                  <a:gd name="connsiteX3" fmla="*/ 623845 w 1145339"/>
                  <a:gd name="connsiteY3" fmla="*/ 1823243 h 1823243"/>
                  <a:gd name="connsiteX4" fmla="*/ 535738 w 1145339"/>
                  <a:gd name="connsiteY4" fmla="*/ 900112 h 1823243"/>
                  <a:gd name="connsiteX5" fmla="*/ 1145339 w 1145339"/>
                  <a:gd name="connsiteY5" fmla="*/ 93661 h 1823243"/>
                  <a:gd name="connsiteX6" fmla="*/ 675438 w 1145339"/>
                  <a:gd name="connsiteY6" fmla="*/ 0 h 1823243"/>
                  <a:gd name="connsiteX0" fmla="*/ 675438 w 1145339"/>
                  <a:gd name="connsiteY0" fmla="*/ 0 h 1823243"/>
                  <a:gd name="connsiteX1" fmla="*/ 70601 w 1145339"/>
                  <a:gd name="connsiteY1" fmla="*/ 668337 h 1823243"/>
                  <a:gd name="connsiteX2" fmla="*/ 189663 w 1145339"/>
                  <a:gd name="connsiteY2" fmla="*/ 1647825 h 1823243"/>
                  <a:gd name="connsiteX3" fmla="*/ 623845 w 1145339"/>
                  <a:gd name="connsiteY3" fmla="*/ 1823243 h 1823243"/>
                  <a:gd name="connsiteX4" fmla="*/ 535738 w 1145339"/>
                  <a:gd name="connsiteY4" fmla="*/ 900112 h 1823243"/>
                  <a:gd name="connsiteX5" fmla="*/ 1145339 w 1145339"/>
                  <a:gd name="connsiteY5" fmla="*/ 93661 h 1823243"/>
                  <a:gd name="connsiteX6" fmla="*/ 675438 w 1145339"/>
                  <a:gd name="connsiteY6" fmla="*/ 0 h 1823243"/>
                  <a:gd name="connsiteX0" fmla="*/ 675438 w 1145339"/>
                  <a:gd name="connsiteY0" fmla="*/ 0 h 1823243"/>
                  <a:gd name="connsiteX1" fmla="*/ 70601 w 1145339"/>
                  <a:gd name="connsiteY1" fmla="*/ 668337 h 1823243"/>
                  <a:gd name="connsiteX2" fmla="*/ 189663 w 1145339"/>
                  <a:gd name="connsiteY2" fmla="*/ 1647825 h 1823243"/>
                  <a:gd name="connsiteX3" fmla="*/ 623845 w 1145339"/>
                  <a:gd name="connsiteY3" fmla="*/ 1823243 h 1823243"/>
                  <a:gd name="connsiteX4" fmla="*/ 529388 w 1145339"/>
                  <a:gd name="connsiteY4" fmla="*/ 865187 h 1823243"/>
                  <a:gd name="connsiteX5" fmla="*/ 1145339 w 1145339"/>
                  <a:gd name="connsiteY5" fmla="*/ 93661 h 1823243"/>
                  <a:gd name="connsiteX6" fmla="*/ 675438 w 1145339"/>
                  <a:gd name="connsiteY6" fmla="*/ 0 h 1823243"/>
                  <a:gd name="connsiteX0" fmla="*/ 675438 w 1145339"/>
                  <a:gd name="connsiteY0" fmla="*/ 0 h 1823243"/>
                  <a:gd name="connsiteX1" fmla="*/ 70601 w 1145339"/>
                  <a:gd name="connsiteY1" fmla="*/ 668337 h 1823243"/>
                  <a:gd name="connsiteX2" fmla="*/ 189663 w 1145339"/>
                  <a:gd name="connsiteY2" fmla="*/ 1647825 h 1823243"/>
                  <a:gd name="connsiteX3" fmla="*/ 623845 w 1145339"/>
                  <a:gd name="connsiteY3" fmla="*/ 1823243 h 1823243"/>
                  <a:gd name="connsiteX4" fmla="*/ 529388 w 1145339"/>
                  <a:gd name="connsiteY4" fmla="*/ 865187 h 1823243"/>
                  <a:gd name="connsiteX5" fmla="*/ 1145339 w 1145339"/>
                  <a:gd name="connsiteY5" fmla="*/ 93661 h 1823243"/>
                  <a:gd name="connsiteX6" fmla="*/ 675438 w 1145339"/>
                  <a:gd name="connsiteY6" fmla="*/ 0 h 1823243"/>
                  <a:gd name="connsiteX0" fmla="*/ 675438 w 1145339"/>
                  <a:gd name="connsiteY0" fmla="*/ 0 h 1823243"/>
                  <a:gd name="connsiteX1" fmla="*/ 70601 w 1145339"/>
                  <a:gd name="connsiteY1" fmla="*/ 668337 h 1823243"/>
                  <a:gd name="connsiteX2" fmla="*/ 189663 w 1145339"/>
                  <a:gd name="connsiteY2" fmla="*/ 1647825 h 1823243"/>
                  <a:gd name="connsiteX3" fmla="*/ 623845 w 1145339"/>
                  <a:gd name="connsiteY3" fmla="*/ 1823243 h 1823243"/>
                  <a:gd name="connsiteX4" fmla="*/ 551613 w 1145339"/>
                  <a:gd name="connsiteY4" fmla="*/ 846137 h 1823243"/>
                  <a:gd name="connsiteX5" fmla="*/ 1145339 w 1145339"/>
                  <a:gd name="connsiteY5" fmla="*/ 93661 h 1823243"/>
                  <a:gd name="connsiteX6" fmla="*/ 675438 w 1145339"/>
                  <a:gd name="connsiteY6" fmla="*/ 0 h 1823243"/>
                  <a:gd name="connsiteX0" fmla="*/ 675438 w 1145339"/>
                  <a:gd name="connsiteY0" fmla="*/ 0 h 1823243"/>
                  <a:gd name="connsiteX1" fmla="*/ 70601 w 1145339"/>
                  <a:gd name="connsiteY1" fmla="*/ 668337 h 1823243"/>
                  <a:gd name="connsiteX2" fmla="*/ 189663 w 1145339"/>
                  <a:gd name="connsiteY2" fmla="*/ 1647825 h 1823243"/>
                  <a:gd name="connsiteX3" fmla="*/ 623845 w 1145339"/>
                  <a:gd name="connsiteY3" fmla="*/ 1823243 h 1823243"/>
                  <a:gd name="connsiteX4" fmla="*/ 551613 w 1145339"/>
                  <a:gd name="connsiteY4" fmla="*/ 846137 h 1823243"/>
                  <a:gd name="connsiteX5" fmla="*/ 1145339 w 1145339"/>
                  <a:gd name="connsiteY5" fmla="*/ 93661 h 1823243"/>
                  <a:gd name="connsiteX6" fmla="*/ 675438 w 1145339"/>
                  <a:gd name="connsiteY6" fmla="*/ 0 h 1823243"/>
                  <a:gd name="connsiteX0" fmla="*/ 675438 w 1145339"/>
                  <a:gd name="connsiteY0" fmla="*/ 3925 h 1827168"/>
                  <a:gd name="connsiteX1" fmla="*/ 70601 w 1145339"/>
                  <a:gd name="connsiteY1" fmla="*/ 672262 h 1827168"/>
                  <a:gd name="connsiteX2" fmla="*/ 189663 w 1145339"/>
                  <a:gd name="connsiteY2" fmla="*/ 1651750 h 1827168"/>
                  <a:gd name="connsiteX3" fmla="*/ 623845 w 1145339"/>
                  <a:gd name="connsiteY3" fmla="*/ 1827168 h 1827168"/>
                  <a:gd name="connsiteX4" fmla="*/ 551613 w 1145339"/>
                  <a:gd name="connsiteY4" fmla="*/ 850062 h 1827168"/>
                  <a:gd name="connsiteX5" fmla="*/ 1145339 w 1145339"/>
                  <a:gd name="connsiteY5" fmla="*/ 97586 h 1827168"/>
                  <a:gd name="connsiteX6" fmla="*/ 675438 w 1145339"/>
                  <a:gd name="connsiteY6" fmla="*/ 3925 h 1827168"/>
                  <a:gd name="connsiteX0" fmla="*/ 675438 w 1145339"/>
                  <a:gd name="connsiteY0" fmla="*/ 2832 h 1826075"/>
                  <a:gd name="connsiteX1" fmla="*/ 70601 w 1145339"/>
                  <a:gd name="connsiteY1" fmla="*/ 671169 h 1826075"/>
                  <a:gd name="connsiteX2" fmla="*/ 189663 w 1145339"/>
                  <a:gd name="connsiteY2" fmla="*/ 1650657 h 1826075"/>
                  <a:gd name="connsiteX3" fmla="*/ 623845 w 1145339"/>
                  <a:gd name="connsiteY3" fmla="*/ 1826075 h 1826075"/>
                  <a:gd name="connsiteX4" fmla="*/ 551613 w 1145339"/>
                  <a:gd name="connsiteY4" fmla="*/ 848969 h 1826075"/>
                  <a:gd name="connsiteX5" fmla="*/ 1145339 w 1145339"/>
                  <a:gd name="connsiteY5" fmla="*/ 96493 h 1826075"/>
                  <a:gd name="connsiteX6" fmla="*/ 675438 w 1145339"/>
                  <a:gd name="connsiteY6" fmla="*/ 2832 h 1826075"/>
                  <a:gd name="connsiteX0" fmla="*/ 647464 w 1117365"/>
                  <a:gd name="connsiteY0" fmla="*/ 2832 h 1826075"/>
                  <a:gd name="connsiteX1" fmla="*/ 42627 w 1117365"/>
                  <a:gd name="connsiteY1" fmla="*/ 671169 h 1826075"/>
                  <a:gd name="connsiteX2" fmla="*/ 183914 w 1117365"/>
                  <a:gd name="connsiteY2" fmla="*/ 1685582 h 1826075"/>
                  <a:gd name="connsiteX3" fmla="*/ 595871 w 1117365"/>
                  <a:gd name="connsiteY3" fmla="*/ 1826075 h 1826075"/>
                  <a:gd name="connsiteX4" fmla="*/ 523639 w 1117365"/>
                  <a:gd name="connsiteY4" fmla="*/ 848969 h 1826075"/>
                  <a:gd name="connsiteX5" fmla="*/ 1117365 w 1117365"/>
                  <a:gd name="connsiteY5" fmla="*/ 96493 h 1826075"/>
                  <a:gd name="connsiteX6" fmla="*/ 647464 w 1117365"/>
                  <a:gd name="connsiteY6" fmla="*/ 2832 h 1826075"/>
                  <a:gd name="connsiteX0" fmla="*/ 657517 w 1127418"/>
                  <a:gd name="connsiteY0" fmla="*/ 2832 h 1826075"/>
                  <a:gd name="connsiteX1" fmla="*/ 52680 w 1127418"/>
                  <a:gd name="connsiteY1" fmla="*/ 671169 h 1826075"/>
                  <a:gd name="connsiteX2" fmla="*/ 193967 w 1127418"/>
                  <a:gd name="connsiteY2" fmla="*/ 1685582 h 1826075"/>
                  <a:gd name="connsiteX3" fmla="*/ 605924 w 1127418"/>
                  <a:gd name="connsiteY3" fmla="*/ 1826075 h 1826075"/>
                  <a:gd name="connsiteX4" fmla="*/ 533692 w 1127418"/>
                  <a:gd name="connsiteY4" fmla="*/ 848969 h 1826075"/>
                  <a:gd name="connsiteX5" fmla="*/ 1127418 w 1127418"/>
                  <a:gd name="connsiteY5" fmla="*/ 96493 h 1826075"/>
                  <a:gd name="connsiteX6" fmla="*/ 657517 w 1127418"/>
                  <a:gd name="connsiteY6" fmla="*/ 2832 h 1826075"/>
                  <a:gd name="connsiteX0" fmla="*/ 657517 w 1127418"/>
                  <a:gd name="connsiteY0" fmla="*/ 2832 h 1826075"/>
                  <a:gd name="connsiteX1" fmla="*/ 52680 w 1127418"/>
                  <a:gd name="connsiteY1" fmla="*/ 671169 h 1826075"/>
                  <a:gd name="connsiteX2" fmla="*/ 193967 w 1127418"/>
                  <a:gd name="connsiteY2" fmla="*/ 1685582 h 1826075"/>
                  <a:gd name="connsiteX3" fmla="*/ 605924 w 1127418"/>
                  <a:gd name="connsiteY3" fmla="*/ 1826075 h 1826075"/>
                  <a:gd name="connsiteX4" fmla="*/ 533692 w 1127418"/>
                  <a:gd name="connsiteY4" fmla="*/ 848969 h 1826075"/>
                  <a:gd name="connsiteX5" fmla="*/ 1127418 w 1127418"/>
                  <a:gd name="connsiteY5" fmla="*/ 96493 h 1826075"/>
                  <a:gd name="connsiteX6" fmla="*/ 657517 w 1127418"/>
                  <a:gd name="connsiteY6" fmla="*/ 2832 h 1826075"/>
                  <a:gd name="connsiteX0" fmla="*/ 657517 w 1127418"/>
                  <a:gd name="connsiteY0" fmla="*/ 2832 h 1826075"/>
                  <a:gd name="connsiteX1" fmla="*/ 52680 w 1127418"/>
                  <a:gd name="connsiteY1" fmla="*/ 671169 h 1826075"/>
                  <a:gd name="connsiteX2" fmla="*/ 193967 w 1127418"/>
                  <a:gd name="connsiteY2" fmla="*/ 1685582 h 1826075"/>
                  <a:gd name="connsiteX3" fmla="*/ 599574 w 1127418"/>
                  <a:gd name="connsiteY3" fmla="*/ 1826075 h 1826075"/>
                  <a:gd name="connsiteX4" fmla="*/ 533692 w 1127418"/>
                  <a:gd name="connsiteY4" fmla="*/ 848969 h 1826075"/>
                  <a:gd name="connsiteX5" fmla="*/ 1127418 w 1127418"/>
                  <a:gd name="connsiteY5" fmla="*/ 96493 h 1826075"/>
                  <a:gd name="connsiteX6" fmla="*/ 657517 w 1127418"/>
                  <a:gd name="connsiteY6" fmla="*/ 2832 h 1826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7418" h="1826075">
                    <a:moveTo>
                      <a:pt x="657517" y="2832"/>
                    </a:moveTo>
                    <a:cubicBezTo>
                      <a:pt x="459873" y="23470"/>
                      <a:pt x="129938" y="390711"/>
                      <a:pt x="52680" y="671169"/>
                    </a:cubicBezTo>
                    <a:cubicBezTo>
                      <a:pt x="-24578" y="951627"/>
                      <a:pt x="-45745" y="1469683"/>
                      <a:pt x="193967" y="1685582"/>
                    </a:cubicBezTo>
                    <a:cubicBezTo>
                      <a:pt x="254292" y="1725269"/>
                      <a:pt x="428917" y="1800676"/>
                      <a:pt x="599574" y="1826075"/>
                    </a:cubicBezTo>
                    <a:cubicBezTo>
                      <a:pt x="415423" y="1475236"/>
                      <a:pt x="445718" y="1137233"/>
                      <a:pt x="533692" y="848969"/>
                    </a:cubicBezTo>
                    <a:cubicBezTo>
                      <a:pt x="621666" y="560705"/>
                      <a:pt x="898023" y="157611"/>
                      <a:pt x="1127418" y="96493"/>
                    </a:cubicBezTo>
                    <a:cubicBezTo>
                      <a:pt x="1013118" y="15531"/>
                      <a:pt x="723399" y="-9075"/>
                      <a:pt x="657517" y="2832"/>
                    </a:cubicBez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chemeClr val="tx1"/>
                  </a:solidFill>
                </a:endParaRPr>
              </a:p>
            </p:txBody>
          </p:sp>
          <p:sp>
            <p:nvSpPr>
              <p:cNvPr id="222" name="Oval 13"/>
              <p:cNvSpPr/>
              <p:nvPr/>
            </p:nvSpPr>
            <p:spPr bwMode="auto">
              <a:xfrm>
                <a:off x="4928064" y="5511661"/>
                <a:ext cx="1287641" cy="1918075"/>
              </a:xfrm>
              <a:custGeom>
                <a:avLst/>
                <a:gdLst/>
                <a:ahLst/>
                <a:cxnLst/>
                <a:rect l="l" t="t" r="r" b="b"/>
                <a:pathLst>
                  <a:path w="1287641" h="1918075">
                    <a:moveTo>
                      <a:pt x="755534" y="77547"/>
                    </a:moveTo>
                    <a:cubicBezTo>
                      <a:pt x="457314" y="94753"/>
                      <a:pt x="140286" y="482260"/>
                      <a:pt x="52598" y="936581"/>
                    </a:cubicBezTo>
                    <a:cubicBezTo>
                      <a:pt x="-35092" y="1390902"/>
                      <a:pt x="101047" y="1845954"/>
                      <a:pt x="429431" y="1831925"/>
                    </a:cubicBezTo>
                    <a:cubicBezTo>
                      <a:pt x="757815" y="1817897"/>
                      <a:pt x="1011280" y="1344825"/>
                      <a:pt x="1098968" y="919078"/>
                    </a:cubicBezTo>
                    <a:cubicBezTo>
                      <a:pt x="1186656" y="493331"/>
                      <a:pt x="1053753" y="60341"/>
                      <a:pt x="755534" y="77547"/>
                    </a:cubicBezTo>
                    <a:close/>
                    <a:moveTo>
                      <a:pt x="838885" y="805"/>
                    </a:moveTo>
                    <a:cubicBezTo>
                      <a:pt x="1194485" y="24088"/>
                      <a:pt x="1355352" y="423916"/>
                      <a:pt x="1261160" y="1035521"/>
                    </a:cubicBezTo>
                    <a:cubicBezTo>
                      <a:pt x="1166968" y="1647126"/>
                      <a:pt x="711885" y="1909370"/>
                      <a:pt x="502335" y="1917837"/>
                    </a:cubicBezTo>
                    <a:cubicBezTo>
                      <a:pt x="292785" y="1926304"/>
                      <a:pt x="-39532" y="1710626"/>
                      <a:pt x="3860" y="1086321"/>
                    </a:cubicBezTo>
                    <a:cubicBezTo>
                      <a:pt x="47252" y="462016"/>
                      <a:pt x="483285" y="-22478"/>
                      <a:pt x="838885" y="805"/>
                    </a:cubicBez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chemeClr val="tx1"/>
                  </a:solidFill>
                </a:endParaRPr>
              </a:p>
            </p:txBody>
          </p:sp>
          <p:sp>
            <p:nvSpPr>
              <p:cNvPr id="223" name="Freeform 222"/>
              <p:cNvSpPr/>
              <p:nvPr/>
            </p:nvSpPr>
            <p:spPr bwMode="auto">
              <a:xfrm>
                <a:off x="4588521" y="5397318"/>
                <a:ext cx="1135764" cy="2036010"/>
              </a:xfrm>
              <a:custGeom>
                <a:avLst/>
                <a:gdLst>
                  <a:gd name="connsiteX0" fmla="*/ 595312 w 900112"/>
                  <a:gd name="connsiteY0" fmla="*/ 0 h 1766887"/>
                  <a:gd name="connsiteX1" fmla="*/ 0 w 900112"/>
                  <a:gd name="connsiteY1" fmla="*/ 652462 h 1766887"/>
                  <a:gd name="connsiteX2" fmla="*/ 109537 w 900112"/>
                  <a:gd name="connsiteY2" fmla="*/ 1647825 h 1766887"/>
                  <a:gd name="connsiteX3" fmla="*/ 390525 w 900112"/>
                  <a:gd name="connsiteY3" fmla="*/ 1766887 h 1766887"/>
                  <a:gd name="connsiteX4" fmla="*/ 252412 w 900112"/>
                  <a:gd name="connsiteY4" fmla="*/ 795337 h 1766887"/>
                  <a:gd name="connsiteX5" fmla="*/ 900112 w 900112"/>
                  <a:gd name="connsiteY5" fmla="*/ 71437 h 1766887"/>
                  <a:gd name="connsiteX6" fmla="*/ 595312 w 900112"/>
                  <a:gd name="connsiteY6" fmla="*/ 0 h 1766887"/>
                  <a:gd name="connsiteX0" fmla="*/ 621669 w 926469"/>
                  <a:gd name="connsiteY0" fmla="*/ 0 h 1766887"/>
                  <a:gd name="connsiteX1" fmla="*/ 26357 w 926469"/>
                  <a:gd name="connsiteY1" fmla="*/ 652462 h 1766887"/>
                  <a:gd name="connsiteX2" fmla="*/ 135894 w 926469"/>
                  <a:gd name="connsiteY2" fmla="*/ 1647825 h 1766887"/>
                  <a:gd name="connsiteX3" fmla="*/ 416882 w 926469"/>
                  <a:gd name="connsiteY3" fmla="*/ 1766887 h 1766887"/>
                  <a:gd name="connsiteX4" fmla="*/ 278769 w 926469"/>
                  <a:gd name="connsiteY4" fmla="*/ 795337 h 1766887"/>
                  <a:gd name="connsiteX5" fmla="*/ 926469 w 926469"/>
                  <a:gd name="connsiteY5" fmla="*/ 71437 h 1766887"/>
                  <a:gd name="connsiteX6" fmla="*/ 621669 w 926469"/>
                  <a:gd name="connsiteY6" fmla="*/ 0 h 1766887"/>
                  <a:gd name="connsiteX0" fmla="*/ 621669 w 926469"/>
                  <a:gd name="connsiteY0" fmla="*/ 0 h 1766887"/>
                  <a:gd name="connsiteX1" fmla="*/ 26357 w 926469"/>
                  <a:gd name="connsiteY1" fmla="*/ 652462 h 1766887"/>
                  <a:gd name="connsiteX2" fmla="*/ 135894 w 926469"/>
                  <a:gd name="connsiteY2" fmla="*/ 1647825 h 1766887"/>
                  <a:gd name="connsiteX3" fmla="*/ 416882 w 926469"/>
                  <a:gd name="connsiteY3" fmla="*/ 1766887 h 1766887"/>
                  <a:gd name="connsiteX4" fmla="*/ 278769 w 926469"/>
                  <a:gd name="connsiteY4" fmla="*/ 795337 h 1766887"/>
                  <a:gd name="connsiteX5" fmla="*/ 926469 w 926469"/>
                  <a:gd name="connsiteY5" fmla="*/ 71437 h 1766887"/>
                  <a:gd name="connsiteX6" fmla="*/ 621669 w 926469"/>
                  <a:gd name="connsiteY6" fmla="*/ 0 h 1766887"/>
                  <a:gd name="connsiteX0" fmla="*/ 621669 w 926469"/>
                  <a:gd name="connsiteY0" fmla="*/ 0 h 1766887"/>
                  <a:gd name="connsiteX1" fmla="*/ 26357 w 926469"/>
                  <a:gd name="connsiteY1" fmla="*/ 652462 h 1766887"/>
                  <a:gd name="connsiteX2" fmla="*/ 135894 w 926469"/>
                  <a:gd name="connsiteY2" fmla="*/ 1647825 h 1766887"/>
                  <a:gd name="connsiteX3" fmla="*/ 416882 w 926469"/>
                  <a:gd name="connsiteY3" fmla="*/ 1766887 h 1766887"/>
                  <a:gd name="connsiteX4" fmla="*/ 278769 w 926469"/>
                  <a:gd name="connsiteY4" fmla="*/ 795337 h 1766887"/>
                  <a:gd name="connsiteX5" fmla="*/ 926469 w 926469"/>
                  <a:gd name="connsiteY5" fmla="*/ 71437 h 1766887"/>
                  <a:gd name="connsiteX6" fmla="*/ 621669 w 926469"/>
                  <a:gd name="connsiteY6" fmla="*/ 0 h 1766887"/>
                  <a:gd name="connsiteX0" fmla="*/ 664033 w 968833"/>
                  <a:gd name="connsiteY0" fmla="*/ 0 h 1766887"/>
                  <a:gd name="connsiteX1" fmla="*/ 68721 w 968833"/>
                  <a:gd name="connsiteY1" fmla="*/ 652462 h 1766887"/>
                  <a:gd name="connsiteX2" fmla="*/ 178258 w 968833"/>
                  <a:gd name="connsiteY2" fmla="*/ 1647825 h 1766887"/>
                  <a:gd name="connsiteX3" fmla="*/ 459246 w 968833"/>
                  <a:gd name="connsiteY3" fmla="*/ 1766887 h 1766887"/>
                  <a:gd name="connsiteX4" fmla="*/ 321133 w 968833"/>
                  <a:gd name="connsiteY4" fmla="*/ 795337 h 1766887"/>
                  <a:gd name="connsiteX5" fmla="*/ 968833 w 968833"/>
                  <a:gd name="connsiteY5" fmla="*/ 71437 h 1766887"/>
                  <a:gd name="connsiteX6" fmla="*/ 664033 w 968833"/>
                  <a:gd name="connsiteY6" fmla="*/ 0 h 1766887"/>
                  <a:gd name="connsiteX0" fmla="*/ 664033 w 968833"/>
                  <a:gd name="connsiteY0" fmla="*/ 0 h 1766887"/>
                  <a:gd name="connsiteX1" fmla="*/ 68721 w 968833"/>
                  <a:gd name="connsiteY1" fmla="*/ 652462 h 1766887"/>
                  <a:gd name="connsiteX2" fmla="*/ 178258 w 968833"/>
                  <a:gd name="connsiteY2" fmla="*/ 1647825 h 1766887"/>
                  <a:gd name="connsiteX3" fmla="*/ 459246 w 968833"/>
                  <a:gd name="connsiteY3" fmla="*/ 1766887 h 1766887"/>
                  <a:gd name="connsiteX4" fmla="*/ 321133 w 968833"/>
                  <a:gd name="connsiteY4" fmla="*/ 795337 h 1766887"/>
                  <a:gd name="connsiteX5" fmla="*/ 968833 w 968833"/>
                  <a:gd name="connsiteY5" fmla="*/ 71437 h 1766887"/>
                  <a:gd name="connsiteX6" fmla="*/ 664033 w 968833"/>
                  <a:gd name="connsiteY6" fmla="*/ 0 h 1766887"/>
                  <a:gd name="connsiteX0" fmla="*/ 664033 w 973596"/>
                  <a:gd name="connsiteY0" fmla="*/ 0 h 1766887"/>
                  <a:gd name="connsiteX1" fmla="*/ 68721 w 973596"/>
                  <a:gd name="connsiteY1" fmla="*/ 652462 h 1766887"/>
                  <a:gd name="connsiteX2" fmla="*/ 178258 w 973596"/>
                  <a:gd name="connsiteY2" fmla="*/ 1647825 h 1766887"/>
                  <a:gd name="connsiteX3" fmla="*/ 459246 w 973596"/>
                  <a:gd name="connsiteY3" fmla="*/ 1766887 h 1766887"/>
                  <a:gd name="connsiteX4" fmla="*/ 321133 w 973596"/>
                  <a:gd name="connsiteY4" fmla="*/ 795337 h 1766887"/>
                  <a:gd name="connsiteX5" fmla="*/ 973596 w 973596"/>
                  <a:gd name="connsiteY5" fmla="*/ 47624 h 1766887"/>
                  <a:gd name="connsiteX6" fmla="*/ 664033 w 973596"/>
                  <a:gd name="connsiteY6" fmla="*/ 0 h 1766887"/>
                  <a:gd name="connsiteX0" fmla="*/ 664033 w 973596"/>
                  <a:gd name="connsiteY0" fmla="*/ 0 h 1766887"/>
                  <a:gd name="connsiteX1" fmla="*/ 68721 w 973596"/>
                  <a:gd name="connsiteY1" fmla="*/ 652462 h 1766887"/>
                  <a:gd name="connsiteX2" fmla="*/ 178258 w 973596"/>
                  <a:gd name="connsiteY2" fmla="*/ 1647825 h 1766887"/>
                  <a:gd name="connsiteX3" fmla="*/ 459246 w 973596"/>
                  <a:gd name="connsiteY3" fmla="*/ 1766887 h 1766887"/>
                  <a:gd name="connsiteX4" fmla="*/ 321133 w 973596"/>
                  <a:gd name="connsiteY4" fmla="*/ 795337 h 1766887"/>
                  <a:gd name="connsiteX5" fmla="*/ 973596 w 973596"/>
                  <a:gd name="connsiteY5" fmla="*/ 47624 h 1766887"/>
                  <a:gd name="connsiteX6" fmla="*/ 664033 w 973596"/>
                  <a:gd name="connsiteY6" fmla="*/ 0 h 1766887"/>
                  <a:gd name="connsiteX0" fmla="*/ 664033 w 973596"/>
                  <a:gd name="connsiteY0" fmla="*/ 0 h 1766887"/>
                  <a:gd name="connsiteX1" fmla="*/ 68721 w 973596"/>
                  <a:gd name="connsiteY1" fmla="*/ 652462 h 1766887"/>
                  <a:gd name="connsiteX2" fmla="*/ 178258 w 973596"/>
                  <a:gd name="connsiteY2" fmla="*/ 1647825 h 1766887"/>
                  <a:gd name="connsiteX3" fmla="*/ 459246 w 973596"/>
                  <a:gd name="connsiteY3" fmla="*/ 1766887 h 1766887"/>
                  <a:gd name="connsiteX4" fmla="*/ 321133 w 973596"/>
                  <a:gd name="connsiteY4" fmla="*/ 795337 h 1766887"/>
                  <a:gd name="connsiteX5" fmla="*/ 973596 w 973596"/>
                  <a:gd name="connsiteY5" fmla="*/ 47624 h 1766887"/>
                  <a:gd name="connsiteX6" fmla="*/ 664033 w 973596"/>
                  <a:gd name="connsiteY6" fmla="*/ 0 h 1766887"/>
                  <a:gd name="connsiteX0" fmla="*/ 664033 w 978359"/>
                  <a:gd name="connsiteY0" fmla="*/ 0 h 1766887"/>
                  <a:gd name="connsiteX1" fmla="*/ 68721 w 978359"/>
                  <a:gd name="connsiteY1" fmla="*/ 652462 h 1766887"/>
                  <a:gd name="connsiteX2" fmla="*/ 178258 w 978359"/>
                  <a:gd name="connsiteY2" fmla="*/ 1647825 h 1766887"/>
                  <a:gd name="connsiteX3" fmla="*/ 459246 w 978359"/>
                  <a:gd name="connsiteY3" fmla="*/ 1766887 h 1766887"/>
                  <a:gd name="connsiteX4" fmla="*/ 321133 w 978359"/>
                  <a:gd name="connsiteY4" fmla="*/ 795337 h 1766887"/>
                  <a:gd name="connsiteX5" fmla="*/ 978359 w 978359"/>
                  <a:gd name="connsiteY5" fmla="*/ 59530 h 1766887"/>
                  <a:gd name="connsiteX6" fmla="*/ 664033 w 978359"/>
                  <a:gd name="connsiteY6" fmla="*/ 0 h 1766887"/>
                  <a:gd name="connsiteX0" fmla="*/ 664033 w 978359"/>
                  <a:gd name="connsiteY0" fmla="*/ 0 h 1766887"/>
                  <a:gd name="connsiteX1" fmla="*/ 68721 w 978359"/>
                  <a:gd name="connsiteY1" fmla="*/ 652462 h 1766887"/>
                  <a:gd name="connsiteX2" fmla="*/ 178258 w 978359"/>
                  <a:gd name="connsiteY2" fmla="*/ 1647825 h 1766887"/>
                  <a:gd name="connsiteX3" fmla="*/ 459246 w 978359"/>
                  <a:gd name="connsiteY3" fmla="*/ 1766887 h 1766887"/>
                  <a:gd name="connsiteX4" fmla="*/ 321133 w 978359"/>
                  <a:gd name="connsiteY4" fmla="*/ 795337 h 1766887"/>
                  <a:gd name="connsiteX5" fmla="*/ 978359 w 978359"/>
                  <a:gd name="connsiteY5" fmla="*/ 59530 h 1766887"/>
                  <a:gd name="connsiteX6" fmla="*/ 664033 w 978359"/>
                  <a:gd name="connsiteY6" fmla="*/ 0 h 1766887"/>
                  <a:gd name="connsiteX0" fmla="*/ 664033 w 978359"/>
                  <a:gd name="connsiteY0" fmla="*/ 0 h 1766887"/>
                  <a:gd name="connsiteX1" fmla="*/ 68721 w 978359"/>
                  <a:gd name="connsiteY1" fmla="*/ 652462 h 1766887"/>
                  <a:gd name="connsiteX2" fmla="*/ 178258 w 978359"/>
                  <a:gd name="connsiteY2" fmla="*/ 1647825 h 1766887"/>
                  <a:gd name="connsiteX3" fmla="*/ 459246 w 978359"/>
                  <a:gd name="connsiteY3" fmla="*/ 1766887 h 1766887"/>
                  <a:gd name="connsiteX4" fmla="*/ 321133 w 978359"/>
                  <a:gd name="connsiteY4" fmla="*/ 795337 h 1766887"/>
                  <a:gd name="connsiteX5" fmla="*/ 978359 w 978359"/>
                  <a:gd name="connsiteY5" fmla="*/ 59530 h 1766887"/>
                  <a:gd name="connsiteX6" fmla="*/ 664033 w 978359"/>
                  <a:gd name="connsiteY6" fmla="*/ 0 h 1766887"/>
                  <a:gd name="connsiteX0" fmla="*/ 664033 w 978359"/>
                  <a:gd name="connsiteY0" fmla="*/ 0 h 1766887"/>
                  <a:gd name="connsiteX1" fmla="*/ 68721 w 978359"/>
                  <a:gd name="connsiteY1" fmla="*/ 652462 h 1766887"/>
                  <a:gd name="connsiteX2" fmla="*/ 178258 w 978359"/>
                  <a:gd name="connsiteY2" fmla="*/ 1647825 h 1766887"/>
                  <a:gd name="connsiteX3" fmla="*/ 459246 w 978359"/>
                  <a:gd name="connsiteY3" fmla="*/ 1766887 h 1766887"/>
                  <a:gd name="connsiteX4" fmla="*/ 321133 w 978359"/>
                  <a:gd name="connsiteY4" fmla="*/ 795337 h 1766887"/>
                  <a:gd name="connsiteX5" fmla="*/ 978359 w 978359"/>
                  <a:gd name="connsiteY5" fmla="*/ 59530 h 1766887"/>
                  <a:gd name="connsiteX6" fmla="*/ 664033 w 978359"/>
                  <a:gd name="connsiteY6" fmla="*/ 0 h 1766887"/>
                  <a:gd name="connsiteX0" fmla="*/ 664033 w 978359"/>
                  <a:gd name="connsiteY0" fmla="*/ 0 h 1766887"/>
                  <a:gd name="connsiteX1" fmla="*/ 68721 w 978359"/>
                  <a:gd name="connsiteY1" fmla="*/ 652462 h 1766887"/>
                  <a:gd name="connsiteX2" fmla="*/ 178258 w 978359"/>
                  <a:gd name="connsiteY2" fmla="*/ 1647825 h 1766887"/>
                  <a:gd name="connsiteX3" fmla="*/ 459246 w 978359"/>
                  <a:gd name="connsiteY3" fmla="*/ 1766887 h 1766887"/>
                  <a:gd name="connsiteX4" fmla="*/ 321133 w 978359"/>
                  <a:gd name="connsiteY4" fmla="*/ 795337 h 1766887"/>
                  <a:gd name="connsiteX5" fmla="*/ 978359 w 978359"/>
                  <a:gd name="connsiteY5" fmla="*/ 59530 h 1766887"/>
                  <a:gd name="connsiteX6" fmla="*/ 664033 w 978359"/>
                  <a:gd name="connsiteY6" fmla="*/ 0 h 1766887"/>
                  <a:gd name="connsiteX0" fmla="*/ 664033 w 978359"/>
                  <a:gd name="connsiteY0" fmla="*/ 0 h 1766887"/>
                  <a:gd name="connsiteX1" fmla="*/ 68721 w 978359"/>
                  <a:gd name="connsiteY1" fmla="*/ 652462 h 1766887"/>
                  <a:gd name="connsiteX2" fmla="*/ 178258 w 978359"/>
                  <a:gd name="connsiteY2" fmla="*/ 1647825 h 1766887"/>
                  <a:gd name="connsiteX3" fmla="*/ 459246 w 978359"/>
                  <a:gd name="connsiteY3" fmla="*/ 1766887 h 1766887"/>
                  <a:gd name="connsiteX4" fmla="*/ 321133 w 978359"/>
                  <a:gd name="connsiteY4" fmla="*/ 795337 h 1766887"/>
                  <a:gd name="connsiteX5" fmla="*/ 978359 w 978359"/>
                  <a:gd name="connsiteY5" fmla="*/ 59530 h 1766887"/>
                  <a:gd name="connsiteX6" fmla="*/ 664033 w 978359"/>
                  <a:gd name="connsiteY6" fmla="*/ 0 h 1766887"/>
                  <a:gd name="connsiteX0" fmla="*/ 664033 w 978359"/>
                  <a:gd name="connsiteY0" fmla="*/ 0 h 1769268"/>
                  <a:gd name="connsiteX1" fmla="*/ 68721 w 978359"/>
                  <a:gd name="connsiteY1" fmla="*/ 652462 h 1769268"/>
                  <a:gd name="connsiteX2" fmla="*/ 178258 w 978359"/>
                  <a:gd name="connsiteY2" fmla="*/ 1647825 h 1769268"/>
                  <a:gd name="connsiteX3" fmla="*/ 466390 w 978359"/>
                  <a:gd name="connsiteY3" fmla="*/ 1769268 h 1769268"/>
                  <a:gd name="connsiteX4" fmla="*/ 321133 w 978359"/>
                  <a:gd name="connsiteY4" fmla="*/ 795337 h 1769268"/>
                  <a:gd name="connsiteX5" fmla="*/ 978359 w 978359"/>
                  <a:gd name="connsiteY5" fmla="*/ 59530 h 1769268"/>
                  <a:gd name="connsiteX6" fmla="*/ 664033 w 978359"/>
                  <a:gd name="connsiteY6" fmla="*/ 0 h 1769268"/>
                  <a:gd name="connsiteX0" fmla="*/ 664033 w 978359"/>
                  <a:gd name="connsiteY0" fmla="*/ 0 h 1769268"/>
                  <a:gd name="connsiteX1" fmla="*/ 68721 w 978359"/>
                  <a:gd name="connsiteY1" fmla="*/ 652462 h 1769268"/>
                  <a:gd name="connsiteX2" fmla="*/ 178258 w 978359"/>
                  <a:gd name="connsiteY2" fmla="*/ 1647825 h 1769268"/>
                  <a:gd name="connsiteX3" fmla="*/ 466390 w 978359"/>
                  <a:gd name="connsiteY3" fmla="*/ 1769268 h 1769268"/>
                  <a:gd name="connsiteX4" fmla="*/ 321133 w 978359"/>
                  <a:gd name="connsiteY4" fmla="*/ 795337 h 1769268"/>
                  <a:gd name="connsiteX5" fmla="*/ 978359 w 978359"/>
                  <a:gd name="connsiteY5" fmla="*/ 59530 h 1769268"/>
                  <a:gd name="connsiteX6" fmla="*/ 664033 w 978359"/>
                  <a:gd name="connsiteY6" fmla="*/ 0 h 1769268"/>
                  <a:gd name="connsiteX0" fmla="*/ 664033 w 978359"/>
                  <a:gd name="connsiteY0" fmla="*/ 0 h 1769268"/>
                  <a:gd name="connsiteX1" fmla="*/ 68721 w 978359"/>
                  <a:gd name="connsiteY1" fmla="*/ 652462 h 1769268"/>
                  <a:gd name="connsiteX2" fmla="*/ 178258 w 978359"/>
                  <a:gd name="connsiteY2" fmla="*/ 1647825 h 1769268"/>
                  <a:gd name="connsiteX3" fmla="*/ 466390 w 978359"/>
                  <a:gd name="connsiteY3" fmla="*/ 1769268 h 1769268"/>
                  <a:gd name="connsiteX4" fmla="*/ 321133 w 978359"/>
                  <a:gd name="connsiteY4" fmla="*/ 795337 h 1769268"/>
                  <a:gd name="connsiteX5" fmla="*/ 978359 w 978359"/>
                  <a:gd name="connsiteY5" fmla="*/ 59530 h 1769268"/>
                  <a:gd name="connsiteX6" fmla="*/ 664033 w 978359"/>
                  <a:gd name="connsiteY6" fmla="*/ 0 h 1769268"/>
                  <a:gd name="connsiteX0" fmla="*/ 664033 w 978359"/>
                  <a:gd name="connsiteY0" fmla="*/ 0 h 1769268"/>
                  <a:gd name="connsiteX1" fmla="*/ 68721 w 978359"/>
                  <a:gd name="connsiteY1" fmla="*/ 652462 h 1769268"/>
                  <a:gd name="connsiteX2" fmla="*/ 178258 w 978359"/>
                  <a:gd name="connsiteY2" fmla="*/ 1647825 h 1769268"/>
                  <a:gd name="connsiteX3" fmla="*/ 466390 w 978359"/>
                  <a:gd name="connsiteY3" fmla="*/ 1769268 h 1769268"/>
                  <a:gd name="connsiteX4" fmla="*/ 321133 w 978359"/>
                  <a:gd name="connsiteY4" fmla="*/ 795337 h 1769268"/>
                  <a:gd name="connsiteX5" fmla="*/ 978359 w 978359"/>
                  <a:gd name="connsiteY5" fmla="*/ 59530 h 1769268"/>
                  <a:gd name="connsiteX6" fmla="*/ 664033 w 978359"/>
                  <a:gd name="connsiteY6" fmla="*/ 0 h 1769268"/>
                  <a:gd name="connsiteX0" fmla="*/ 664033 w 978359"/>
                  <a:gd name="connsiteY0" fmla="*/ 0 h 1769268"/>
                  <a:gd name="connsiteX1" fmla="*/ 68721 w 978359"/>
                  <a:gd name="connsiteY1" fmla="*/ 652462 h 1769268"/>
                  <a:gd name="connsiteX2" fmla="*/ 178258 w 978359"/>
                  <a:gd name="connsiteY2" fmla="*/ 1647825 h 1769268"/>
                  <a:gd name="connsiteX3" fmla="*/ 466390 w 978359"/>
                  <a:gd name="connsiteY3" fmla="*/ 1769268 h 1769268"/>
                  <a:gd name="connsiteX4" fmla="*/ 321133 w 978359"/>
                  <a:gd name="connsiteY4" fmla="*/ 795337 h 1769268"/>
                  <a:gd name="connsiteX5" fmla="*/ 978359 w 978359"/>
                  <a:gd name="connsiteY5" fmla="*/ 59530 h 1769268"/>
                  <a:gd name="connsiteX6" fmla="*/ 664033 w 978359"/>
                  <a:gd name="connsiteY6" fmla="*/ 0 h 1769268"/>
                  <a:gd name="connsiteX0" fmla="*/ 664033 w 978359"/>
                  <a:gd name="connsiteY0" fmla="*/ 0 h 1769268"/>
                  <a:gd name="connsiteX1" fmla="*/ 68721 w 978359"/>
                  <a:gd name="connsiteY1" fmla="*/ 652462 h 1769268"/>
                  <a:gd name="connsiteX2" fmla="*/ 178258 w 978359"/>
                  <a:gd name="connsiteY2" fmla="*/ 1647825 h 1769268"/>
                  <a:gd name="connsiteX3" fmla="*/ 466390 w 978359"/>
                  <a:gd name="connsiteY3" fmla="*/ 1769268 h 1769268"/>
                  <a:gd name="connsiteX4" fmla="*/ 321133 w 978359"/>
                  <a:gd name="connsiteY4" fmla="*/ 795337 h 1769268"/>
                  <a:gd name="connsiteX5" fmla="*/ 978359 w 978359"/>
                  <a:gd name="connsiteY5" fmla="*/ 59530 h 1769268"/>
                  <a:gd name="connsiteX6" fmla="*/ 664033 w 978359"/>
                  <a:gd name="connsiteY6" fmla="*/ 0 h 1769268"/>
                  <a:gd name="connsiteX0" fmla="*/ 664033 w 978359"/>
                  <a:gd name="connsiteY0" fmla="*/ 0 h 1769268"/>
                  <a:gd name="connsiteX1" fmla="*/ 68721 w 978359"/>
                  <a:gd name="connsiteY1" fmla="*/ 652462 h 1769268"/>
                  <a:gd name="connsiteX2" fmla="*/ 178258 w 978359"/>
                  <a:gd name="connsiteY2" fmla="*/ 1647825 h 1769268"/>
                  <a:gd name="connsiteX3" fmla="*/ 466390 w 978359"/>
                  <a:gd name="connsiteY3" fmla="*/ 1769268 h 1769268"/>
                  <a:gd name="connsiteX4" fmla="*/ 321133 w 978359"/>
                  <a:gd name="connsiteY4" fmla="*/ 795337 h 1769268"/>
                  <a:gd name="connsiteX5" fmla="*/ 978359 w 978359"/>
                  <a:gd name="connsiteY5" fmla="*/ 71436 h 1769268"/>
                  <a:gd name="connsiteX6" fmla="*/ 664033 w 978359"/>
                  <a:gd name="connsiteY6" fmla="*/ 0 h 1769268"/>
                  <a:gd name="connsiteX0" fmla="*/ 664033 w 978359"/>
                  <a:gd name="connsiteY0" fmla="*/ 0 h 1769268"/>
                  <a:gd name="connsiteX1" fmla="*/ 68721 w 978359"/>
                  <a:gd name="connsiteY1" fmla="*/ 652462 h 1769268"/>
                  <a:gd name="connsiteX2" fmla="*/ 178258 w 978359"/>
                  <a:gd name="connsiteY2" fmla="*/ 1647825 h 1769268"/>
                  <a:gd name="connsiteX3" fmla="*/ 466390 w 978359"/>
                  <a:gd name="connsiteY3" fmla="*/ 1769268 h 1769268"/>
                  <a:gd name="connsiteX4" fmla="*/ 321133 w 978359"/>
                  <a:gd name="connsiteY4" fmla="*/ 795337 h 1769268"/>
                  <a:gd name="connsiteX5" fmla="*/ 978359 w 978359"/>
                  <a:gd name="connsiteY5" fmla="*/ 71436 h 1769268"/>
                  <a:gd name="connsiteX6" fmla="*/ 664033 w 978359"/>
                  <a:gd name="connsiteY6" fmla="*/ 0 h 1769268"/>
                  <a:gd name="connsiteX0" fmla="*/ 664033 w 978359"/>
                  <a:gd name="connsiteY0" fmla="*/ 0 h 1769268"/>
                  <a:gd name="connsiteX1" fmla="*/ 68721 w 978359"/>
                  <a:gd name="connsiteY1" fmla="*/ 652462 h 1769268"/>
                  <a:gd name="connsiteX2" fmla="*/ 178258 w 978359"/>
                  <a:gd name="connsiteY2" fmla="*/ 1647825 h 1769268"/>
                  <a:gd name="connsiteX3" fmla="*/ 466390 w 978359"/>
                  <a:gd name="connsiteY3" fmla="*/ 1769268 h 1769268"/>
                  <a:gd name="connsiteX4" fmla="*/ 321133 w 978359"/>
                  <a:gd name="connsiteY4" fmla="*/ 795337 h 1769268"/>
                  <a:gd name="connsiteX5" fmla="*/ 978359 w 978359"/>
                  <a:gd name="connsiteY5" fmla="*/ 71436 h 1769268"/>
                  <a:gd name="connsiteX6" fmla="*/ 664033 w 978359"/>
                  <a:gd name="connsiteY6" fmla="*/ 0 h 1769268"/>
                  <a:gd name="connsiteX0" fmla="*/ 664033 w 978359"/>
                  <a:gd name="connsiteY0" fmla="*/ 0 h 1769268"/>
                  <a:gd name="connsiteX1" fmla="*/ 68721 w 978359"/>
                  <a:gd name="connsiteY1" fmla="*/ 652462 h 1769268"/>
                  <a:gd name="connsiteX2" fmla="*/ 178258 w 978359"/>
                  <a:gd name="connsiteY2" fmla="*/ 1647825 h 1769268"/>
                  <a:gd name="connsiteX3" fmla="*/ 466390 w 978359"/>
                  <a:gd name="connsiteY3" fmla="*/ 1769268 h 1769268"/>
                  <a:gd name="connsiteX4" fmla="*/ 321133 w 978359"/>
                  <a:gd name="connsiteY4" fmla="*/ 795337 h 1769268"/>
                  <a:gd name="connsiteX5" fmla="*/ 978359 w 978359"/>
                  <a:gd name="connsiteY5" fmla="*/ 71436 h 1769268"/>
                  <a:gd name="connsiteX6" fmla="*/ 664033 w 978359"/>
                  <a:gd name="connsiteY6" fmla="*/ 0 h 1769268"/>
                  <a:gd name="connsiteX0" fmla="*/ 664033 w 978359"/>
                  <a:gd name="connsiteY0" fmla="*/ 0 h 1769268"/>
                  <a:gd name="connsiteX1" fmla="*/ 68721 w 978359"/>
                  <a:gd name="connsiteY1" fmla="*/ 652462 h 1769268"/>
                  <a:gd name="connsiteX2" fmla="*/ 178258 w 978359"/>
                  <a:gd name="connsiteY2" fmla="*/ 1647825 h 1769268"/>
                  <a:gd name="connsiteX3" fmla="*/ 466390 w 978359"/>
                  <a:gd name="connsiteY3" fmla="*/ 1769268 h 1769268"/>
                  <a:gd name="connsiteX4" fmla="*/ 321133 w 978359"/>
                  <a:gd name="connsiteY4" fmla="*/ 795337 h 1769268"/>
                  <a:gd name="connsiteX5" fmla="*/ 978359 w 978359"/>
                  <a:gd name="connsiteY5" fmla="*/ 71436 h 1769268"/>
                  <a:gd name="connsiteX6" fmla="*/ 664033 w 978359"/>
                  <a:gd name="connsiteY6" fmla="*/ 0 h 1769268"/>
                  <a:gd name="connsiteX0" fmla="*/ 664033 w 978359"/>
                  <a:gd name="connsiteY0" fmla="*/ 0 h 1769268"/>
                  <a:gd name="connsiteX1" fmla="*/ 68721 w 978359"/>
                  <a:gd name="connsiteY1" fmla="*/ 652462 h 1769268"/>
                  <a:gd name="connsiteX2" fmla="*/ 178258 w 978359"/>
                  <a:gd name="connsiteY2" fmla="*/ 1647825 h 1769268"/>
                  <a:gd name="connsiteX3" fmla="*/ 466390 w 978359"/>
                  <a:gd name="connsiteY3" fmla="*/ 1769268 h 1769268"/>
                  <a:gd name="connsiteX4" fmla="*/ 321133 w 978359"/>
                  <a:gd name="connsiteY4" fmla="*/ 795337 h 1769268"/>
                  <a:gd name="connsiteX5" fmla="*/ 978359 w 978359"/>
                  <a:gd name="connsiteY5" fmla="*/ 71436 h 1769268"/>
                  <a:gd name="connsiteX6" fmla="*/ 664033 w 978359"/>
                  <a:gd name="connsiteY6" fmla="*/ 0 h 1769268"/>
                  <a:gd name="connsiteX0" fmla="*/ 664033 w 978359"/>
                  <a:gd name="connsiteY0" fmla="*/ 0 h 1769268"/>
                  <a:gd name="connsiteX1" fmla="*/ 68721 w 978359"/>
                  <a:gd name="connsiteY1" fmla="*/ 652462 h 1769268"/>
                  <a:gd name="connsiteX2" fmla="*/ 178258 w 978359"/>
                  <a:gd name="connsiteY2" fmla="*/ 1647825 h 1769268"/>
                  <a:gd name="connsiteX3" fmla="*/ 466390 w 978359"/>
                  <a:gd name="connsiteY3" fmla="*/ 1769268 h 1769268"/>
                  <a:gd name="connsiteX4" fmla="*/ 321133 w 978359"/>
                  <a:gd name="connsiteY4" fmla="*/ 795337 h 1769268"/>
                  <a:gd name="connsiteX5" fmla="*/ 978359 w 978359"/>
                  <a:gd name="connsiteY5" fmla="*/ 71436 h 1769268"/>
                  <a:gd name="connsiteX6" fmla="*/ 664033 w 978359"/>
                  <a:gd name="connsiteY6" fmla="*/ 0 h 1769268"/>
                  <a:gd name="connsiteX0" fmla="*/ 669517 w 983843"/>
                  <a:gd name="connsiteY0" fmla="*/ 0 h 1769268"/>
                  <a:gd name="connsiteX1" fmla="*/ 64680 w 983843"/>
                  <a:gd name="connsiteY1" fmla="*/ 668337 h 1769268"/>
                  <a:gd name="connsiteX2" fmla="*/ 183742 w 983843"/>
                  <a:gd name="connsiteY2" fmla="*/ 1647825 h 1769268"/>
                  <a:gd name="connsiteX3" fmla="*/ 471874 w 983843"/>
                  <a:gd name="connsiteY3" fmla="*/ 1769268 h 1769268"/>
                  <a:gd name="connsiteX4" fmla="*/ 326617 w 983843"/>
                  <a:gd name="connsiteY4" fmla="*/ 795337 h 1769268"/>
                  <a:gd name="connsiteX5" fmla="*/ 983843 w 983843"/>
                  <a:gd name="connsiteY5" fmla="*/ 71436 h 1769268"/>
                  <a:gd name="connsiteX6" fmla="*/ 669517 w 983843"/>
                  <a:gd name="connsiteY6" fmla="*/ 0 h 1769268"/>
                  <a:gd name="connsiteX0" fmla="*/ 669517 w 983843"/>
                  <a:gd name="connsiteY0" fmla="*/ 0 h 1769268"/>
                  <a:gd name="connsiteX1" fmla="*/ 64680 w 983843"/>
                  <a:gd name="connsiteY1" fmla="*/ 668337 h 1769268"/>
                  <a:gd name="connsiteX2" fmla="*/ 183742 w 983843"/>
                  <a:gd name="connsiteY2" fmla="*/ 1647825 h 1769268"/>
                  <a:gd name="connsiteX3" fmla="*/ 471874 w 983843"/>
                  <a:gd name="connsiteY3" fmla="*/ 1769268 h 1769268"/>
                  <a:gd name="connsiteX4" fmla="*/ 326617 w 983843"/>
                  <a:gd name="connsiteY4" fmla="*/ 795337 h 1769268"/>
                  <a:gd name="connsiteX5" fmla="*/ 983843 w 983843"/>
                  <a:gd name="connsiteY5" fmla="*/ 71436 h 1769268"/>
                  <a:gd name="connsiteX6" fmla="*/ 669517 w 983843"/>
                  <a:gd name="connsiteY6" fmla="*/ 0 h 1769268"/>
                  <a:gd name="connsiteX0" fmla="*/ 691159 w 1005485"/>
                  <a:gd name="connsiteY0" fmla="*/ 0 h 1769268"/>
                  <a:gd name="connsiteX1" fmla="*/ 86322 w 1005485"/>
                  <a:gd name="connsiteY1" fmla="*/ 668337 h 1769268"/>
                  <a:gd name="connsiteX2" fmla="*/ 164109 w 1005485"/>
                  <a:gd name="connsiteY2" fmla="*/ 1701800 h 1769268"/>
                  <a:gd name="connsiteX3" fmla="*/ 493516 w 1005485"/>
                  <a:gd name="connsiteY3" fmla="*/ 1769268 h 1769268"/>
                  <a:gd name="connsiteX4" fmla="*/ 348259 w 1005485"/>
                  <a:gd name="connsiteY4" fmla="*/ 795337 h 1769268"/>
                  <a:gd name="connsiteX5" fmla="*/ 1005485 w 1005485"/>
                  <a:gd name="connsiteY5" fmla="*/ 71436 h 1769268"/>
                  <a:gd name="connsiteX6" fmla="*/ 691159 w 1005485"/>
                  <a:gd name="connsiteY6" fmla="*/ 0 h 1769268"/>
                  <a:gd name="connsiteX0" fmla="*/ 691159 w 1005485"/>
                  <a:gd name="connsiteY0" fmla="*/ 0 h 1921668"/>
                  <a:gd name="connsiteX1" fmla="*/ 86322 w 1005485"/>
                  <a:gd name="connsiteY1" fmla="*/ 668337 h 1921668"/>
                  <a:gd name="connsiteX2" fmla="*/ 164109 w 1005485"/>
                  <a:gd name="connsiteY2" fmla="*/ 1701800 h 1921668"/>
                  <a:gd name="connsiteX3" fmla="*/ 741166 w 1005485"/>
                  <a:gd name="connsiteY3" fmla="*/ 1921668 h 1921668"/>
                  <a:gd name="connsiteX4" fmla="*/ 348259 w 1005485"/>
                  <a:gd name="connsiteY4" fmla="*/ 795337 h 1921668"/>
                  <a:gd name="connsiteX5" fmla="*/ 1005485 w 1005485"/>
                  <a:gd name="connsiteY5" fmla="*/ 71436 h 1921668"/>
                  <a:gd name="connsiteX6" fmla="*/ 691159 w 1005485"/>
                  <a:gd name="connsiteY6" fmla="*/ 0 h 1921668"/>
                  <a:gd name="connsiteX0" fmla="*/ 691159 w 1005485"/>
                  <a:gd name="connsiteY0" fmla="*/ 0 h 1921668"/>
                  <a:gd name="connsiteX1" fmla="*/ 86322 w 1005485"/>
                  <a:gd name="connsiteY1" fmla="*/ 668337 h 1921668"/>
                  <a:gd name="connsiteX2" fmla="*/ 164109 w 1005485"/>
                  <a:gd name="connsiteY2" fmla="*/ 1701800 h 1921668"/>
                  <a:gd name="connsiteX3" fmla="*/ 741166 w 1005485"/>
                  <a:gd name="connsiteY3" fmla="*/ 1921668 h 1921668"/>
                  <a:gd name="connsiteX4" fmla="*/ 348259 w 1005485"/>
                  <a:gd name="connsiteY4" fmla="*/ 795337 h 1921668"/>
                  <a:gd name="connsiteX5" fmla="*/ 1005485 w 1005485"/>
                  <a:gd name="connsiteY5" fmla="*/ 71436 h 1921668"/>
                  <a:gd name="connsiteX6" fmla="*/ 691159 w 1005485"/>
                  <a:gd name="connsiteY6" fmla="*/ 0 h 1921668"/>
                  <a:gd name="connsiteX0" fmla="*/ 691159 w 1126135"/>
                  <a:gd name="connsiteY0" fmla="*/ 44847 h 1966515"/>
                  <a:gd name="connsiteX1" fmla="*/ 86322 w 1126135"/>
                  <a:gd name="connsiteY1" fmla="*/ 713184 h 1966515"/>
                  <a:gd name="connsiteX2" fmla="*/ 164109 w 1126135"/>
                  <a:gd name="connsiteY2" fmla="*/ 1746647 h 1966515"/>
                  <a:gd name="connsiteX3" fmla="*/ 741166 w 1126135"/>
                  <a:gd name="connsiteY3" fmla="*/ 1966515 h 1966515"/>
                  <a:gd name="connsiteX4" fmla="*/ 348259 w 1126135"/>
                  <a:gd name="connsiteY4" fmla="*/ 840184 h 1966515"/>
                  <a:gd name="connsiteX5" fmla="*/ 1126135 w 1126135"/>
                  <a:gd name="connsiteY5" fmla="*/ 14683 h 1966515"/>
                  <a:gd name="connsiteX6" fmla="*/ 691159 w 1126135"/>
                  <a:gd name="connsiteY6" fmla="*/ 44847 h 1966515"/>
                  <a:gd name="connsiteX0" fmla="*/ 819429 w 1133755"/>
                  <a:gd name="connsiteY0" fmla="*/ 0 h 2035968"/>
                  <a:gd name="connsiteX1" fmla="*/ 93942 w 1133755"/>
                  <a:gd name="connsiteY1" fmla="*/ 782637 h 2035968"/>
                  <a:gd name="connsiteX2" fmla="*/ 171729 w 1133755"/>
                  <a:gd name="connsiteY2" fmla="*/ 1816100 h 2035968"/>
                  <a:gd name="connsiteX3" fmla="*/ 748786 w 1133755"/>
                  <a:gd name="connsiteY3" fmla="*/ 2035968 h 2035968"/>
                  <a:gd name="connsiteX4" fmla="*/ 355879 w 1133755"/>
                  <a:gd name="connsiteY4" fmla="*/ 909637 h 2035968"/>
                  <a:gd name="connsiteX5" fmla="*/ 1133755 w 1133755"/>
                  <a:gd name="connsiteY5" fmla="*/ 84136 h 2035968"/>
                  <a:gd name="connsiteX6" fmla="*/ 819429 w 1133755"/>
                  <a:gd name="connsiteY6" fmla="*/ 0 h 2035968"/>
                  <a:gd name="connsiteX0" fmla="*/ 817001 w 1131327"/>
                  <a:gd name="connsiteY0" fmla="*/ 0 h 2035968"/>
                  <a:gd name="connsiteX1" fmla="*/ 91514 w 1131327"/>
                  <a:gd name="connsiteY1" fmla="*/ 782637 h 2035968"/>
                  <a:gd name="connsiteX2" fmla="*/ 169301 w 1131327"/>
                  <a:gd name="connsiteY2" fmla="*/ 1816100 h 2035968"/>
                  <a:gd name="connsiteX3" fmla="*/ 746358 w 1131327"/>
                  <a:gd name="connsiteY3" fmla="*/ 2035968 h 2035968"/>
                  <a:gd name="connsiteX4" fmla="*/ 353451 w 1131327"/>
                  <a:gd name="connsiteY4" fmla="*/ 909637 h 2035968"/>
                  <a:gd name="connsiteX5" fmla="*/ 1131327 w 1131327"/>
                  <a:gd name="connsiteY5" fmla="*/ 84136 h 2035968"/>
                  <a:gd name="connsiteX6" fmla="*/ 817001 w 1131327"/>
                  <a:gd name="connsiteY6" fmla="*/ 0 h 2035968"/>
                  <a:gd name="connsiteX0" fmla="*/ 797661 w 1111987"/>
                  <a:gd name="connsiteY0" fmla="*/ 0 h 2035968"/>
                  <a:gd name="connsiteX1" fmla="*/ 113449 w 1111987"/>
                  <a:gd name="connsiteY1" fmla="*/ 687387 h 2035968"/>
                  <a:gd name="connsiteX2" fmla="*/ 149961 w 1111987"/>
                  <a:gd name="connsiteY2" fmla="*/ 1816100 h 2035968"/>
                  <a:gd name="connsiteX3" fmla="*/ 727018 w 1111987"/>
                  <a:gd name="connsiteY3" fmla="*/ 2035968 h 2035968"/>
                  <a:gd name="connsiteX4" fmla="*/ 334111 w 1111987"/>
                  <a:gd name="connsiteY4" fmla="*/ 909637 h 2035968"/>
                  <a:gd name="connsiteX5" fmla="*/ 1111987 w 1111987"/>
                  <a:gd name="connsiteY5" fmla="*/ 84136 h 2035968"/>
                  <a:gd name="connsiteX6" fmla="*/ 797661 w 1111987"/>
                  <a:gd name="connsiteY6" fmla="*/ 0 h 2035968"/>
                  <a:gd name="connsiteX0" fmla="*/ 746011 w 1060337"/>
                  <a:gd name="connsiteY0" fmla="*/ 0 h 2035968"/>
                  <a:gd name="connsiteX1" fmla="*/ 61799 w 1060337"/>
                  <a:gd name="connsiteY1" fmla="*/ 687387 h 2035968"/>
                  <a:gd name="connsiteX2" fmla="*/ 98311 w 1060337"/>
                  <a:gd name="connsiteY2" fmla="*/ 1816100 h 2035968"/>
                  <a:gd name="connsiteX3" fmla="*/ 675368 w 1060337"/>
                  <a:gd name="connsiteY3" fmla="*/ 2035968 h 2035968"/>
                  <a:gd name="connsiteX4" fmla="*/ 282461 w 1060337"/>
                  <a:gd name="connsiteY4" fmla="*/ 909637 h 2035968"/>
                  <a:gd name="connsiteX5" fmla="*/ 1060337 w 1060337"/>
                  <a:gd name="connsiteY5" fmla="*/ 84136 h 2035968"/>
                  <a:gd name="connsiteX6" fmla="*/ 746011 w 1060337"/>
                  <a:gd name="connsiteY6" fmla="*/ 0 h 2035968"/>
                  <a:gd name="connsiteX0" fmla="*/ 751595 w 1065921"/>
                  <a:gd name="connsiteY0" fmla="*/ 0 h 2035968"/>
                  <a:gd name="connsiteX1" fmla="*/ 67383 w 1065921"/>
                  <a:gd name="connsiteY1" fmla="*/ 687387 h 2035968"/>
                  <a:gd name="connsiteX2" fmla="*/ 97545 w 1065921"/>
                  <a:gd name="connsiteY2" fmla="*/ 1790700 h 2035968"/>
                  <a:gd name="connsiteX3" fmla="*/ 680952 w 1065921"/>
                  <a:gd name="connsiteY3" fmla="*/ 2035968 h 2035968"/>
                  <a:gd name="connsiteX4" fmla="*/ 288045 w 1065921"/>
                  <a:gd name="connsiteY4" fmla="*/ 909637 h 2035968"/>
                  <a:gd name="connsiteX5" fmla="*/ 1065921 w 1065921"/>
                  <a:gd name="connsiteY5" fmla="*/ 84136 h 2035968"/>
                  <a:gd name="connsiteX6" fmla="*/ 751595 w 1065921"/>
                  <a:gd name="connsiteY6" fmla="*/ 0 h 2035968"/>
                  <a:gd name="connsiteX0" fmla="*/ 789688 w 1104014"/>
                  <a:gd name="connsiteY0" fmla="*/ 0 h 2035968"/>
                  <a:gd name="connsiteX1" fmla="*/ 105476 w 1104014"/>
                  <a:gd name="connsiteY1" fmla="*/ 687387 h 2035968"/>
                  <a:gd name="connsiteX2" fmla="*/ 135638 w 1104014"/>
                  <a:gd name="connsiteY2" fmla="*/ 1790700 h 2035968"/>
                  <a:gd name="connsiteX3" fmla="*/ 719045 w 1104014"/>
                  <a:gd name="connsiteY3" fmla="*/ 2035968 h 2035968"/>
                  <a:gd name="connsiteX4" fmla="*/ 326138 w 1104014"/>
                  <a:gd name="connsiteY4" fmla="*/ 909637 h 2035968"/>
                  <a:gd name="connsiteX5" fmla="*/ 1104014 w 1104014"/>
                  <a:gd name="connsiteY5" fmla="*/ 84136 h 2035968"/>
                  <a:gd name="connsiteX6" fmla="*/ 789688 w 1104014"/>
                  <a:gd name="connsiteY6" fmla="*/ 0 h 2035968"/>
                  <a:gd name="connsiteX0" fmla="*/ 789688 w 1104014"/>
                  <a:gd name="connsiteY0" fmla="*/ 0 h 2035968"/>
                  <a:gd name="connsiteX1" fmla="*/ 105476 w 1104014"/>
                  <a:gd name="connsiteY1" fmla="*/ 687387 h 2035968"/>
                  <a:gd name="connsiteX2" fmla="*/ 135638 w 1104014"/>
                  <a:gd name="connsiteY2" fmla="*/ 1790700 h 2035968"/>
                  <a:gd name="connsiteX3" fmla="*/ 719045 w 1104014"/>
                  <a:gd name="connsiteY3" fmla="*/ 2035968 h 2035968"/>
                  <a:gd name="connsiteX4" fmla="*/ 326138 w 1104014"/>
                  <a:gd name="connsiteY4" fmla="*/ 909637 h 2035968"/>
                  <a:gd name="connsiteX5" fmla="*/ 1104014 w 1104014"/>
                  <a:gd name="connsiteY5" fmla="*/ 84136 h 2035968"/>
                  <a:gd name="connsiteX6" fmla="*/ 789688 w 1104014"/>
                  <a:gd name="connsiteY6" fmla="*/ 0 h 2035968"/>
                  <a:gd name="connsiteX0" fmla="*/ 789688 w 1104014"/>
                  <a:gd name="connsiteY0" fmla="*/ 0 h 2038997"/>
                  <a:gd name="connsiteX1" fmla="*/ 105476 w 1104014"/>
                  <a:gd name="connsiteY1" fmla="*/ 687387 h 2038997"/>
                  <a:gd name="connsiteX2" fmla="*/ 135638 w 1104014"/>
                  <a:gd name="connsiteY2" fmla="*/ 1790700 h 2038997"/>
                  <a:gd name="connsiteX3" fmla="*/ 719045 w 1104014"/>
                  <a:gd name="connsiteY3" fmla="*/ 2035968 h 2038997"/>
                  <a:gd name="connsiteX4" fmla="*/ 326138 w 1104014"/>
                  <a:gd name="connsiteY4" fmla="*/ 909637 h 2038997"/>
                  <a:gd name="connsiteX5" fmla="*/ 1104014 w 1104014"/>
                  <a:gd name="connsiteY5" fmla="*/ 84136 h 2038997"/>
                  <a:gd name="connsiteX6" fmla="*/ 789688 w 1104014"/>
                  <a:gd name="connsiteY6" fmla="*/ 0 h 2038997"/>
                  <a:gd name="connsiteX0" fmla="*/ 789688 w 1104014"/>
                  <a:gd name="connsiteY0" fmla="*/ 0 h 2035968"/>
                  <a:gd name="connsiteX1" fmla="*/ 105476 w 1104014"/>
                  <a:gd name="connsiteY1" fmla="*/ 687387 h 2035968"/>
                  <a:gd name="connsiteX2" fmla="*/ 135638 w 1104014"/>
                  <a:gd name="connsiteY2" fmla="*/ 1790700 h 2035968"/>
                  <a:gd name="connsiteX3" fmla="*/ 719045 w 1104014"/>
                  <a:gd name="connsiteY3" fmla="*/ 2035968 h 2035968"/>
                  <a:gd name="connsiteX4" fmla="*/ 326138 w 1104014"/>
                  <a:gd name="connsiteY4" fmla="*/ 909637 h 2035968"/>
                  <a:gd name="connsiteX5" fmla="*/ 1104014 w 1104014"/>
                  <a:gd name="connsiteY5" fmla="*/ 84136 h 2035968"/>
                  <a:gd name="connsiteX6" fmla="*/ 789688 w 1104014"/>
                  <a:gd name="connsiteY6" fmla="*/ 0 h 2035968"/>
                  <a:gd name="connsiteX0" fmla="*/ 789688 w 1104014"/>
                  <a:gd name="connsiteY0" fmla="*/ 0 h 2035968"/>
                  <a:gd name="connsiteX1" fmla="*/ 105476 w 1104014"/>
                  <a:gd name="connsiteY1" fmla="*/ 687387 h 2035968"/>
                  <a:gd name="connsiteX2" fmla="*/ 135638 w 1104014"/>
                  <a:gd name="connsiteY2" fmla="*/ 1790700 h 2035968"/>
                  <a:gd name="connsiteX3" fmla="*/ 719045 w 1104014"/>
                  <a:gd name="connsiteY3" fmla="*/ 2035968 h 2035968"/>
                  <a:gd name="connsiteX4" fmla="*/ 342013 w 1104014"/>
                  <a:gd name="connsiteY4" fmla="*/ 915987 h 2035968"/>
                  <a:gd name="connsiteX5" fmla="*/ 1104014 w 1104014"/>
                  <a:gd name="connsiteY5" fmla="*/ 84136 h 2035968"/>
                  <a:gd name="connsiteX6" fmla="*/ 789688 w 1104014"/>
                  <a:gd name="connsiteY6" fmla="*/ 0 h 2035968"/>
                  <a:gd name="connsiteX0" fmla="*/ 789688 w 1126239"/>
                  <a:gd name="connsiteY0" fmla="*/ 0 h 2035968"/>
                  <a:gd name="connsiteX1" fmla="*/ 105476 w 1126239"/>
                  <a:gd name="connsiteY1" fmla="*/ 687387 h 2035968"/>
                  <a:gd name="connsiteX2" fmla="*/ 135638 w 1126239"/>
                  <a:gd name="connsiteY2" fmla="*/ 1790700 h 2035968"/>
                  <a:gd name="connsiteX3" fmla="*/ 719045 w 1126239"/>
                  <a:gd name="connsiteY3" fmla="*/ 2035968 h 2035968"/>
                  <a:gd name="connsiteX4" fmla="*/ 342013 w 1126239"/>
                  <a:gd name="connsiteY4" fmla="*/ 915987 h 2035968"/>
                  <a:gd name="connsiteX5" fmla="*/ 1126239 w 1126239"/>
                  <a:gd name="connsiteY5" fmla="*/ 80961 h 2035968"/>
                  <a:gd name="connsiteX6" fmla="*/ 789688 w 1126239"/>
                  <a:gd name="connsiteY6" fmla="*/ 0 h 2035968"/>
                  <a:gd name="connsiteX0" fmla="*/ 789688 w 1126239"/>
                  <a:gd name="connsiteY0" fmla="*/ 0 h 2035968"/>
                  <a:gd name="connsiteX1" fmla="*/ 105476 w 1126239"/>
                  <a:gd name="connsiteY1" fmla="*/ 687387 h 2035968"/>
                  <a:gd name="connsiteX2" fmla="*/ 135638 w 1126239"/>
                  <a:gd name="connsiteY2" fmla="*/ 1790700 h 2035968"/>
                  <a:gd name="connsiteX3" fmla="*/ 719045 w 1126239"/>
                  <a:gd name="connsiteY3" fmla="*/ 2035968 h 2035968"/>
                  <a:gd name="connsiteX4" fmla="*/ 342013 w 1126239"/>
                  <a:gd name="connsiteY4" fmla="*/ 915987 h 2035968"/>
                  <a:gd name="connsiteX5" fmla="*/ 1126239 w 1126239"/>
                  <a:gd name="connsiteY5" fmla="*/ 80961 h 2035968"/>
                  <a:gd name="connsiteX6" fmla="*/ 789688 w 1126239"/>
                  <a:gd name="connsiteY6" fmla="*/ 0 h 2035968"/>
                  <a:gd name="connsiteX0" fmla="*/ 789688 w 1126239"/>
                  <a:gd name="connsiteY0" fmla="*/ 0 h 2035968"/>
                  <a:gd name="connsiteX1" fmla="*/ 105476 w 1126239"/>
                  <a:gd name="connsiteY1" fmla="*/ 687387 h 2035968"/>
                  <a:gd name="connsiteX2" fmla="*/ 135638 w 1126239"/>
                  <a:gd name="connsiteY2" fmla="*/ 1790700 h 2035968"/>
                  <a:gd name="connsiteX3" fmla="*/ 719045 w 1126239"/>
                  <a:gd name="connsiteY3" fmla="*/ 2035968 h 2035968"/>
                  <a:gd name="connsiteX4" fmla="*/ 342013 w 1126239"/>
                  <a:gd name="connsiteY4" fmla="*/ 915987 h 2035968"/>
                  <a:gd name="connsiteX5" fmla="*/ 1126239 w 1126239"/>
                  <a:gd name="connsiteY5" fmla="*/ 80961 h 2035968"/>
                  <a:gd name="connsiteX6" fmla="*/ 789688 w 1126239"/>
                  <a:gd name="connsiteY6" fmla="*/ 0 h 2035968"/>
                  <a:gd name="connsiteX0" fmla="*/ 789688 w 1126239"/>
                  <a:gd name="connsiteY0" fmla="*/ 0 h 2035968"/>
                  <a:gd name="connsiteX1" fmla="*/ 105476 w 1126239"/>
                  <a:gd name="connsiteY1" fmla="*/ 687387 h 2035968"/>
                  <a:gd name="connsiteX2" fmla="*/ 135638 w 1126239"/>
                  <a:gd name="connsiteY2" fmla="*/ 1790700 h 2035968"/>
                  <a:gd name="connsiteX3" fmla="*/ 719045 w 1126239"/>
                  <a:gd name="connsiteY3" fmla="*/ 2035968 h 2035968"/>
                  <a:gd name="connsiteX4" fmla="*/ 351538 w 1126239"/>
                  <a:gd name="connsiteY4" fmla="*/ 915987 h 2035968"/>
                  <a:gd name="connsiteX5" fmla="*/ 1126239 w 1126239"/>
                  <a:gd name="connsiteY5" fmla="*/ 80961 h 2035968"/>
                  <a:gd name="connsiteX6" fmla="*/ 789688 w 1126239"/>
                  <a:gd name="connsiteY6" fmla="*/ 0 h 2035968"/>
                  <a:gd name="connsiteX0" fmla="*/ 789688 w 1126239"/>
                  <a:gd name="connsiteY0" fmla="*/ 0 h 2035968"/>
                  <a:gd name="connsiteX1" fmla="*/ 105476 w 1126239"/>
                  <a:gd name="connsiteY1" fmla="*/ 687387 h 2035968"/>
                  <a:gd name="connsiteX2" fmla="*/ 135638 w 1126239"/>
                  <a:gd name="connsiteY2" fmla="*/ 1790700 h 2035968"/>
                  <a:gd name="connsiteX3" fmla="*/ 719045 w 1126239"/>
                  <a:gd name="connsiteY3" fmla="*/ 2035968 h 2035968"/>
                  <a:gd name="connsiteX4" fmla="*/ 351538 w 1126239"/>
                  <a:gd name="connsiteY4" fmla="*/ 915987 h 2035968"/>
                  <a:gd name="connsiteX5" fmla="*/ 1126239 w 1126239"/>
                  <a:gd name="connsiteY5" fmla="*/ 80961 h 2035968"/>
                  <a:gd name="connsiteX6" fmla="*/ 789688 w 1126239"/>
                  <a:gd name="connsiteY6" fmla="*/ 0 h 2035968"/>
                  <a:gd name="connsiteX0" fmla="*/ 789688 w 1126239"/>
                  <a:gd name="connsiteY0" fmla="*/ 0 h 2035968"/>
                  <a:gd name="connsiteX1" fmla="*/ 105476 w 1126239"/>
                  <a:gd name="connsiteY1" fmla="*/ 687387 h 2035968"/>
                  <a:gd name="connsiteX2" fmla="*/ 135638 w 1126239"/>
                  <a:gd name="connsiteY2" fmla="*/ 1790700 h 2035968"/>
                  <a:gd name="connsiteX3" fmla="*/ 719045 w 1126239"/>
                  <a:gd name="connsiteY3" fmla="*/ 2035968 h 2035968"/>
                  <a:gd name="connsiteX4" fmla="*/ 351538 w 1126239"/>
                  <a:gd name="connsiteY4" fmla="*/ 915987 h 2035968"/>
                  <a:gd name="connsiteX5" fmla="*/ 1126239 w 1126239"/>
                  <a:gd name="connsiteY5" fmla="*/ 80961 h 2035968"/>
                  <a:gd name="connsiteX6" fmla="*/ 789688 w 1126239"/>
                  <a:gd name="connsiteY6" fmla="*/ 0 h 2035968"/>
                  <a:gd name="connsiteX0" fmla="*/ 789688 w 1126239"/>
                  <a:gd name="connsiteY0" fmla="*/ 0 h 2035968"/>
                  <a:gd name="connsiteX1" fmla="*/ 105476 w 1126239"/>
                  <a:gd name="connsiteY1" fmla="*/ 687387 h 2035968"/>
                  <a:gd name="connsiteX2" fmla="*/ 135638 w 1126239"/>
                  <a:gd name="connsiteY2" fmla="*/ 1790700 h 2035968"/>
                  <a:gd name="connsiteX3" fmla="*/ 719045 w 1126239"/>
                  <a:gd name="connsiteY3" fmla="*/ 2035968 h 2035968"/>
                  <a:gd name="connsiteX4" fmla="*/ 351538 w 1126239"/>
                  <a:gd name="connsiteY4" fmla="*/ 915987 h 2035968"/>
                  <a:gd name="connsiteX5" fmla="*/ 1126239 w 1126239"/>
                  <a:gd name="connsiteY5" fmla="*/ 80961 h 2035968"/>
                  <a:gd name="connsiteX6" fmla="*/ 789688 w 1126239"/>
                  <a:gd name="connsiteY6" fmla="*/ 0 h 2035968"/>
                  <a:gd name="connsiteX0" fmla="*/ 789688 w 1126239"/>
                  <a:gd name="connsiteY0" fmla="*/ 0 h 2035968"/>
                  <a:gd name="connsiteX1" fmla="*/ 105476 w 1126239"/>
                  <a:gd name="connsiteY1" fmla="*/ 687387 h 2035968"/>
                  <a:gd name="connsiteX2" fmla="*/ 135638 w 1126239"/>
                  <a:gd name="connsiteY2" fmla="*/ 1790700 h 2035968"/>
                  <a:gd name="connsiteX3" fmla="*/ 719045 w 1126239"/>
                  <a:gd name="connsiteY3" fmla="*/ 2035968 h 2035968"/>
                  <a:gd name="connsiteX4" fmla="*/ 351538 w 1126239"/>
                  <a:gd name="connsiteY4" fmla="*/ 915987 h 2035968"/>
                  <a:gd name="connsiteX5" fmla="*/ 1126239 w 1126239"/>
                  <a:gd name="connsiteY5" fmla="*/ 80961 h 2035968"/>
                  <a:gd name="connsiteX6" fmla="*/ 789688 w 1126239"/>
                  <a:gd name="connsiteY6" fmla="*/ 0 h 2035968"/>
                  <a:gd name="connsiteX0" fmla="*/ 789688 w 1126239"/>
                  <a:gd name="connsiteY0" fmla="*/ 0 h 2035968"/>
                  <a:gd name="connsiteX1" fmla="*/ 105476 w 1126239"/>
                  <a:gd name="connsiteY1" fmla="*/ 687387 h 2035968"/>
                  <a:gd name="connsiteX2" fmla="*/ 135638 w 1126239"/>
                  <a:gd name="connsiteY2" fmla="*/ 1790700 h 2035968"/>
                  <a:gd name="connsiteX3" fmla="*/ 719045 w 1126239"/>
                  <a:gd name="connsiteY3" fmla="*/ 2035968 h 2035968"/>
                  <a:gd name="connsiteX4" fmla="*/ 351538 w 1126239"/>
                  <a:gd name="connsiteY4" fmla="*/ 915987 h 2035968"/>
                  <a:gd name="connsiteX5" fmla="*/ 1126239 w 1126239"/>
                  <a:gd name="connsiteY5" fmla="*/ 80961 h 2035968"/>
                  <a:gd name="connsiteX6" fmla="*/ 789688 w 1126239"/>
                  <a:gd name="connsiteY6" fmla="*/ 0 h 2035968"/>
                  <a:gd name="connsiteX0" fmla="*/ 789688 w 1135764"/>
                  <a:gd name="connsiteY0" fmla="*/ 0 h 2035968"/>
                  <a:gd name="connsiteX1" fmla="*/ 105476 w 1135764"/>
                  <a:gd name="connsiteY1" fmla="*/ 687387 h 2035968"/>
                  <a:gd name="connsiteX2" fmla="*/ 135638 w 1135764"/>
                  <a:gd name="connsiteY2" fmla="*/ 1790700 h 2035968"/>
                  <a:gd name="connsiteX3" fmla="*/ 719045 w 1135764"/>
                  <a:gd name="connsiteY3" fmla="*/ 2035968 h 2035968"/>
                  <a:gd name="connsiteX4" fmla="*/ 351538 w 1135764"/>
                  <a:gd name="connsiteY4" fmla="*/ 915987 h 2035968"/>
                  <a:gd name="connsiteX5" fmla="*/ 1135764 w 1135764"/>
                  <a:gd name="connsiteY5" fmla="*/ 90486 h 2035968"/>
                  <a:gd name="connsiteX6" fmla="*/ 789688 w 1135764"/>
                  <a:gd name="connsiteY6" fmla="*/ 0 h 2035968"/>
                  <a:gd name="connsiteX0" fmla="*/ 789688 w 1135764"/>
                  <a:gd name="connsiteY0" fmla="*/ 0 h 2035968"/>
                  <a:gd name="connsiteX1" fmla="*/ 105476 w 1135764"/>
                  <a:gd name="connsiteY1" fmla="*/ 687387 h 2035968"/>
                  <a:gd name="connsiteX2" fmla="*/ 135638 w 1135764"/>
                  <a:gd name="connsiteY2" fmla="*/ 1790700 h 2035968"/>
                  <a:gd name="connsiteX3" fmla="*/ 719045 w 1135764"/>
                  <a:gd name="connsiteY3" fmla="*/ 2035968 h 2035968"/>
                  <a:gd name="connsiteX4" fmla="*/ 351538 w 1135764"/>
                  <a:gd name="connsiteY4" fmla="*/ 915987 h 2035968"/>
                  <a:gd name="connsiteX5" fmla="*/ 1135764 w 1135764"/>
                  <a:gd name="connsiteY5" fmla="*/ 90486 h 2035968"/>
                  <a:gd name="connsiteX6" fmla="*/ 789688 w 1135764"/>
                  <a:gd name="connsiteY6" fmla="*/ 0 h 2035968"/>
                  <a:gd name="connsiteX0" fmla="*/ 789688 w 1135764"/>
                  <a:gd name="connsiteY0" fmla="*/ 0 h 2035968"/>
                  <a:gd name="connsiteX1" fmla="*/ 105476 w 1135764"/>
                  <a:gd name="connsiteY1" fmla="*/ 687387 h 2035968"/>
                  <a:gd name="connsiteX2" fmla="*/ 135638 w 1135764"/>
                  <a:gd name="connsiteY2" fmla="*/ 1790700 h 2035968"/>
                  <a:gd name="connsiteX3" fmla="*/ 719045 w 1135764"/>
                  <a:gd name="connsiteY3" fmla="*/ 2035968 h 2035968"/>
                  <a:gd name="connsiteX4" fmla="*/ 351538 w 1135764"/>
                  <a:gd name="connsiteY4" fmla="*/ 915987 h 2035968"/>
                  <a:gd name="connsiteX5" fmla="*/ 1135764 w 1135764"/>
                  <a:gd name="connsiteY5" fmla="*/ 90486 h 2035968"/>
                  <a:gd name="connsiteX6" fmla="*/ 789688 w 1135764"/>
                  <a:gd name="connsiteY6" fmla="*/ 0 h 2035968"/>
                  <a:gd name="connsiteX0" fmla="*/ 789688 w 1135764"/>
                  <a:gd name="connsiteY0" fmla="*/ 0 h 2035968"/>
                  <a:gd name="connsiteX1" fmla="*/ 105476 w 1135764"/>
                  <a:gd name="connsiteY1" fmla="*/ 687387 h 2035968"/>
                  <a:gd name="connsiteX2" fmla="*/ 135638 w 1135764"/>
                  <a:gd name="connsiteY2" fmla="*/ 1790700 h 2035968"/>
                  <a:gd name="connsiteX3" fmla="*/ 719045 w 1135764"/>
                  <a:gd name="connsiteY3" fmla="*/ 2035968 h 2035968"/>
                  <a:gd name="connsiteX4" fmla="*/ 351538 w 1135764"/>
                  <a:gd name="connsiteY4" fmla="*/ 915987 h 2035968"/>
                  <a:gd name="connsiteX5" fmla="*/ 1135764 w 1135764"/>
                  <a:gd name="connsiteY5" fmla="*/ 90486 h 2035968"/>
                  <a:gd name="connsiteX6" fmla="*/ 789688 w 1135764"/>
                  <a:gd name="connsiteY6" fmla="*/ 0 h 2035968"/>
                  <a:gd name="connsiteX0" fmla="*/ 789688 w 1135764"/>
                  <a:gd name="connsiteY0" fmla="*/ 0 h 2035968"/>
                  <a:gd name="connsiteX1" fmla="*/ 105476 w 1135764"/>
                  <a:gd name="connsiteY1" fmla="*/ 687387 h 2035968"/>
                  <a:gd name="connsiteX2" fmla="*/ 135638 w 1135764"/>
                  <a:gd name="connsiteY2" fmla="*/ 1790700 h 2035968"/>
                  <a:gd name="connsiteX3" fmla="*/ 719045 w 1135764"/>
                  <a:gd name="connsiteY3" fmla="*/ 2035968 h 2035968"/>
                  <a:gd name="connsiteX4" fmla="*/ 351538 w 1135764"/>
                  <a:gd name="connsiteY4" fmla="*/ 915987 h 2035968"/>
                  <a:gd name="connsiteX5" fmla="*/ 1135764 w 1135764"/>
                  <a:gd name="connsiteY5" fmla="*/ 90486 h 2035968"/>
                  <a:gd name="connsiteX6" fmla="*/ 789688 w 1135764"/>
                  <a:gd name="connsiteY6" fmla="*/ 0 h 2035968"/>
                  <a:gd name="connsiteX0" fmla="*/ 789688 w 1135764"/>
                  <a:gd name="connsiteY0" fmla="*/ 0 h 2035968"/>
                  <a:gd name="connsiteX1" fmla="*/ 105476 w 1135764"/>
                  <a:gd name="connsiteY1" fmla="*/ 687387 h 2035968"/>
                  <a:gd name="connsiteX2" fmla="*/ 135638 w 1135764"/>
                  <a:gd name="connsiteY2" fmla="*/ 1790700 h 2035968"/>
                  <a:gd name="connsiteX3" fmla="*/ 719045 w 1135764"/>
                  <a:gd name="connsiteY3" fmla="*/ 2035968 h 2035968"/>
                  <a:gd name="connsiteX4" fmla="*/ 351538 w 1135764"/>
                  <a:gd name="connsiteY4" fmla="*/ 915987 h 2035968"/>
                  <a:gd name="connsiteX5" fmla="*/ 1135764 w 1135764"/>
                  <a:gd name="connsiteY5" fmla="*/ 90486 h 2035968"/>
                  <a:gd name="connsiteX6" fmla="*/ 789688 w 1135764"/>
                  <a:gd name="connsiteY6" fmla="*/ 0 h 2035968"/>
                  <a:gd name="connsiteX0" fmla="*/ 789688 w 1135764"/>
                  <a:gd name="connsiteY0" fmla="*/ 42 h 2036010"/>
                  <a:gd name="connsiteX1" fmla="*/ 105476 w 1135764"/>
                  <a:gd name="connsiteY1" fmla="*/ 687429 h 2036010"/>
                  <a:gd name="connsiteX2" fmla="*/ 135638 w 1135764"/>
                  <a:gd name="connsiteY2" fmla="*/ 1790742 h 2036010"/>
                  <a:gd name="connsiteX3" fmla="*/ 719045 w 1135764"/>
                  <a:gd name="connsiteY3" fmla="*/ 2036010 h 2036010"/>
                  <a:gd name="connsiteX4" fmla="*/ 351538 w 1135764"/>
                  <a:gd name="connsiteY4" fmla="*/ 916029 h 2036010"/>
                  <a:gd name="connsiteX5" fmla="*/ 1135764 w 1135764"/>
                  <a:gd name="connsiteY5" fmla="*/ 90528 h 2036010"/>
                  <a:gd name="connsiteX6" fmla="*/ 789688 w 1135764"/>
                  <a:gd name="connsiteY6" fmla="*/ 42 h 2036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5764" h="2036010">
                    <a:moveTo>
                      <a:pt x="789688" y="42"/>
                    </a:moveTo>
                    <a:cubicBezTo>
                      <a:pt x="569819" y="-4720"/>
                      <a:pt x="214484" y="388979"/>
                      <a:pt x="105476" y="687429"/>
                    </a:cubicBezTo>
                    <a:cubicBezTo>
                      <a:pt x="-3532" y="985879"/>
                      <a:pt x="-75499" y="1403393"/>
                      <a:pt x="135638" y="1790742"/>
                    </a:cubicBezTo>
                    <a:cubicBezTo>
                      <a:pt x="202313" y="1922504"/>
                      <a:pt x="567438" y="2026486"/>
                      <a:pt x="719045" y="2036010"/>
                    </a:cubicBezTo>
                    <a:cubicBezTo>
                      <a:pt x="220569" y="1853446"/>
                      <a:pt x="282085" y="1205351"/>
                      <a:pt x="351538" y="916029"/>
                    </a:cubicBezTo>
                    <a:cubicBezTo>
                      <a:pt x="420991" y="626707"/>
                      <a:pt x="741269" y="97671"/>
                      <a:pt x="1135764" y="90528"/>
                    </a:cubicBezTo>
                    <a:cubicBezTo>
                      <a:pt x="1040514" y="22266"/>
                      <a:pt x="906370" y="835"/>
                      <a:pt x="789688" y="42"/>
                    </a:cubicBez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chemeClr val="tx1"/>
                  </a:solidFill>
                </a:endParaRPr>
              </a:p>
            </p:txBody>
          </p:sp>
          <p:sp>
            <p:nvSpPr>
              <p:cNvPr id="224" name="Oval 13"/>
              <p:cNvSpPr/>
              <p:nvPr/>
            </p:nvSpPr>
            <p:spPr bwMode="auto">
              <a:xfrm>
                <a:off x="4990507" y="5645972"/>
                <a:ext cx="1027267" cy="1640669"/>
              </a:xfrm>
              <a:custGeom>
                <a:avLst/>
                <a:gdLst/>
                <a:ahLst/>
                <a:cxnLst/>
                <a:rect l="l" t="t" r="r" b="b"/>
                <a:pathLst>
                  <a:path w="1027267" h="1640669">
                    <a:moveTo>
                      <a:pt x="467268" y="540213"/>
                    </a:moveTo>
                    <a:cubicBezTo>
                      <a:pt x="389359" y="544708"/>
                      <a:pt x="306537" y="645942"/>
                      <a:pt x="283629" y="764632"/>
                    </a:cubicBezTo>
                    <a:cubicBezTo>
                      <a:pt x="260721" y="883321"/>
                      <a:pt x="296286" y="1002202"/>
                      <a:pt x="382075" y="998537"/>
                    </a:cubicBezTo>
                    <a:cubicBezTo>
                      <a:pt x="393551" y="998047"/>
                      <a:pt x="404678" y="995411"/>
                      <a:pt x="415282" y="990671"/>
                    </a:cubicBezTo>
                    <a:cubicBezTo>
                      <a:pt x="445644" y="1000795"/>
                      <a:pt x="475872" y="1003172"/>
                      <a:pt x="506692" y="1005550"/>
                    </a:cubicBezTo>
                    <a:cubicBezTo>
                      <a:pt x="586141" y="1008991"/>
                      <a:pt x="686214" y="955642"/>
                      <a:pt x="716501" y="899130"/>
                    </a:cubicBezTo>
                    <a:cubicBezTo>
                      <a:pt x="746788" y="842618"/>
                      <a:pt x="729038" y="721751"/>
                      <a:pt x="688417" y="666478"/>
                    </a:cubicBezTo>
                    <a:cubicBezTo>
                      <a:pt x="637439" y="595751"/>
                      <a:pt x="583651" y="574182"/>
                      <a:pt x="525977" y="566967"/>
                    </a:cubicBezTo>
                    <a:cubicBezTo>
                      <a:pt x="511348" y="548693"/>
                      <a:pt x="491376" y="538822"/>
                      <a:pt x="467268" y="540213"/>
                    </a:cubicBezTo>
                    <a:close/>
                    <a:moveTo>
                      <a:pt x="681383" y="465"/>
                    </a:moveTo>
                    <a:cubicBezTo>
                      <a:pt x="960144" y="-15619"/>
                      <a:pt x="1084376" y="389120"/>
                      <a:pt x="1002409" y="787088"/>
                    </a:cubicBezTo>
                    <a:cubicBezTo>
                      <a:pt x="920443" y="1185056"/>
                      <a:pt x="683515" y="1627261"/>
                      <a:pt x="376558" y="1640374"/>
                    </a:cubicBezTo>
                    <a:cubicBezTo>
                      <a:pt x="69600" y="1653487"/>
                      <a:pt x="-57656" y="1228126"/>
                      <a:pt x="24312" y="803449"/>
                    </a:cubicBezTo>
                    <a:cubicBezTo>
                      <a:pt x="106279" y="378771"/>
                      <a:pt x="402622" y="16548"/>
                      <a:pt x="681383" y="465"/>
                    </a:cubicBez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chemeClr val="tx1"/>
                  </a:solidFill>
                </a:endParaRPr>
              </a:p>
            </p:txBody>
          </p:sp>
          <p:sp>
            <p:nvSpPr>
              <p:cNvPr id="225" name="Freeform 224"/>
              <p:cNvSpPr/>
              <p:nvPr/>
            </p:nvSpPr>
            <p:spPr bwMode="auto">
              <a:xfrm rot="21163028">
                <a:off x="5296547" y="6222506"/>
                <a:ext cx="400201" cy="411120"/>
              </a:xfrm>
              <a:custGeom>
                <a:avLst/>
                <a:gdLst>
                  <a:gd name="connsiteX0" fmla="*/ 152400 w 381000"/>
                  <a:gd name="connsiteY0" fmla="*/ 0 h 414337"/>
                  <a:gd name="connsiteX1" fmla="*/ 0 w 381000"/>
                  <a:gd name="connsiteY1" fmla="*/ 300037 h 414337"/>
                  <a:gd name="connsiteX2" fmla="*/ 147637 w 381000"/>
                  <a:gd name="connsiteY2" fmla="*/ 414337 h 414337"/>
                  <a:gd name="connsiteX3" fmla="*/ 381000 w 381000"/>
                  <a:gd name="connsiteY3" fmla="*/ 295275 h 414337"/>
                  <a:gd name="connsiteX4" fmla="*/ 366712 w 381000"/>
                  <a:gd name="connsiteY4" fmla="*/ 128587 h 414337"/>
                  <a:gd name="connsiteX5" fmla="*/ 152400 w 381000"/>
                  <a:gd name="connsiteY5" fmla="*/ 0 h 414337"/>
                  <a:gd name="connsiteX0" fmla="*/ 158285 w 386885"/>
                  <a:gd name="connsiteY0" fmla="*/ 0 h 414337"/>
                  <a:gd name="connsiteX1" fmla="*/ 5885 w 386885"/>
                  <a:gd name="connsiteY1" fmla="*/ 300037 h 414337"/>
                  <a:gd name="connsiteX2" fmla="*/ 153522 w 386885"/>
                  <a:gd name="connsiteY2" fmla="*/ 414337 h 414337"/>
                  <a:gd name="connsiteX3" fmla="*/ 386885 w 386885"/>
                  <a:gd name="connsiteY3" fmla="*/ 295275 h 414337"/>
                  <a:gd name="connsiteX4" fmla="*/ 372597 w 386885"/>
                  <a:gd name="connsiteY4" fmla="*/ 128587 h 414337"/>
                  <a:gd name="connsiteX5" fmla="*/ 158285 w 386885"/>
                  <a:gd name="connsiteY5" fmla="*/ 0 h 414337"/>
                  <a:gd name="connsiteX0" fmla="*/ 158410 w 387010"/>
                  <a:gd name="connsiteY0" fmla="*/ 0 h 414337"/>
                  <a:gd name="connsiteX1" fmla="*/ 6010 w 387010"/>
                  <a:gd name="connsiteY1" fmla="*/ 300037 h 414337"/>
                  <a:gd name="connsiteX2" fmla="*/ 153647 w 387010"/>
                  <a:gd name="connsiteY2" fmla="*/ 414337 h 414337"/>
                  <a:gd name="connsiteX3" fmla="*/ 387010 w 387010"/>
                  <a:gd name="connsiteY3" fmla="*/ 295275 h 414337"/>
                  <a:gd name="connsiteX4" fmla="*/ 372722 w 387010"/>
                  <a:gd name="connsiteY4" fmla="*/ 128587 h 414337"/>
                  <a:gd name="connsiteX5" fmla="*/ 158410 w 387010"/>
                  <a:gd name="connsiteY5" fmla="*/ 0 h 414337"/>
                  <a:gd name="connsiteX0" fmla="*/ 183030 w 386198"/>
                  <a:gd name="connsiteY0" fmla="*/ 0 h 425491"/>
                  <a:gd name="connsiteX1" fmla="*/ 5198 w 386198"/>
                  <a:gd name="connsiteY1" fmla="*/ 311191 h 425491"/>
                  <a:gd name="connsiteX2" fmla="*/ 152835 w 386198"/>
                  <a:gd name="connsiteY2" fmla="*/ 425491 h 425491"/>
                  <a:gd name="connsiteX3" fmla="*/ 386198 w 386198"/>
                  <a:gd name="connsiteY3" fmla="*/ 306429 h 425491"/>
                  <a:gd name="connsiteX4" fmla="*/ 371910 w 386198"/>
                  <a:gd name="connsiteY4" fmla="*/ 139741 h 425491"/>
                  <a:gd name="connsiteX5" fmla="*/ 183030 w 386198"/>
                  <a:gd name="connsiteY5" fmla="*/ 0 h 425491"/>
                  <a:gd name="connsiteX0" fmla="*/ 183030 w 386198"/>
                  <a:gd name="connsiteY0" fmla="*/ 0 h 425491"/>
                  <a:gd name="connsiteX1" fmla="*/ 5198 w 386198"/>
                  <a:gd name="connsiteY1" fmla="*/ 311191 h 425491"/>
                  <a:gd name="connsiteX2" fmla="*/ 152835 w 386198"/>
                  <a:gd name="connsiteY2" fmla="*/ 425491 h 425491"/>
                  <a:gd name="connsiteX3" fmla="*/ 386198 w 386198"/>
                  <a:gd name="connsiteY3" fmla="*/ 306429 h 425491"/>
                  <a:gd name="connsiteX4" fmla="*/ 371910 w 386198"/>
                  <a:gd name="connsiteY4" fmla="*/ 139741 h 425491"/>
                  <a:gd name="connsiteX5" fmla="*/ 183030 w 386198"/>
                  <a:gd name="connsiteY5" fmla="*/ 0 h 425491"/>
                  <a:gd name="connsiteX0" fmla="*/ 183030 w 386198"/>
                  <a:gd name="connsiteY0" fmla="*/ 0 h 425491"/>
                  <a:gd name="connsiteX1" fmla="*/ 5198 w 386198"/>
                  <a:gd name="connsiteY1" fmla="*/ 311191 h 425491"/>
                  <a:gd name="connsiteX2" fmla="*/ 152835 w 386198"/>
                  <a:gd name="connsiteY2" fmla="*/ 425491 h 425491"/>
                  <a:gd name="connsiteX3" fmla="*/ 386198 w 386198"/>
                  <a:gd name="connsiteY3" fmla="*/ 306429 h 425491"/>
                  <a:gd name="connsiteX4" fmla="*/ 371910 w 386198"/>
                  <a:gd name="connsiteY4" fmla="*/ 139741 h 425491"/>
                  <a:gd name="connsiteX5" fmla="*/ 183030 w 386198"/>
                  <a:gd name="connsiteY5" fmla="*/ 0 h 425491"/>
                  <a:gd name="connsiteX0" fmla="*/ 183030 w 386198"/>
                  <a:gd name="connsiteY0" fmla="*/ 0 h 416345"/>
                  <a:gd name="connsiteX1" fmla="*/ 5198 w 386198"/>
                  <a:gd name="connsiteY1" fmla="*/ 311191 h 416345"/>
                  <a:gd name="connsiteX2" fmla="*/ 156405 w 386198"/>
                  <a:gd name="connsiteY2" fmla="*/ 416345 h 416345"/>
                  <a:gd name="connsiteX3" fmla="*/ 386198 w 386198"/>
                  <a:gd name="connsiteY3" fmla="*/ 306429 h 416345"/>
                  <a:gd name="connsiteX4" fmla="*/ 371910 w 386198"/>
                  <a:gd name="connsiteY4" fmla="*/ 139741 h 416345"/>
                  <a:gd name="connsiteX5" fmla="*/ 183030 w 386198"/>
                  <a:gd name="connsiteY5" fmla="*/ 0 h 416345"/>
                  <a:gd name="connsiteX0" fmla="*/ 183030 w 386198"/>
                  <a:gd name="connsiteY0" fmla="*/ 0 h 416345"/>
                  <a:gd name="connsiteX1" fmla="*/ 5198 w 386198"/>
                  <a:gd name="connsiteY1" fmla="*/ 311191 h 416345"/>
                  <a:gd name="connsiteX2" fmla="*/ 156405 w 386198"/>
                  <a:gd name="connsiteY2" fmla="*/ 416345 h 416345"/>
                  <a:gd name="connsiteX3" fmla="*/ 386198 w 386198"/>
                  <a:gd name="connsiteY3" fmla="*/ 306429 h 416345"/>
                  <a:gd name="connsiteX4" fmla="*/ 371910 w 386198"/>
                  <a:gd name="connsiteY4" fmla="*/ 139741 h 416345"/>
                  <a:gd name="connsiteX5" fmla="*/ 183030 w 386198"/>
                  <a:gd name="connsiteY5" fmla="*/ 0 h 416345"/>
                  <a:gd name="connsiteX0" fmla="*/ 183030 w 386198"/>
                  <a:gd name="connsiteY0" fmla="*/ 0 h 416345"/>
                  <a:gd name="connsiteX1" fmla="*/ 5198 w 386198"/>
                  <a:gd name="connsiteY1" fmla="*/ 311191 h 416345"/>
                  <a:gd name="connsiteX2" fmla="*/ 156405 w 386198"/>
                  <a:gd name="connsiteY2" fmla="*/ 416345 h 416345"/>
                  <a:gd name="connsiteX3" fmla="*/ 386198 w 386198"/>
                  <a:gd name="connsiteY3" fmla="*/ 306429 h 416345"/>
                  <a:gd name="connsiteX4" fmla="*/ 371910 w 386198"/>
                  <a:gd name="connsiteY4" fmla="*/ 139741 h 416345"/>
                  <a:gd name="connsiteX5" fmla="*/ 183030 w 386198"/>
                  <a:gd name="connsiteY5" fmla="*/ 0 h 416345"/>
                  <a:gd name="connsiteX0" fmla="*/ 183030 w 371910"/>
                  <a:gd name="connsiteY0" fmla="*/ 0 h 416345"/>
                  <a:gd name="connsiteX1" fmla="*/ 5198 w 371910"/>
                  <a:gd name="connsiteY1" fmla="*/ 311191 h 416345"/>
                  <a:gd name="connsiteX2" fmla="*/ 156405 w 371910"/>
                  <a:gd name="connsiteY2" fmla="*/ 416345 h 416345"/>
                  <a:gd name="connsiteX3" fmla="*/ 366343 w 371910"/>
                  <a:gd name="connsiteY3" fmla="*/ 330299 h 416345"/>
                  <a:gd name="connsiteX4" fmla="*/ 371910 w 371910"/>
                  <a:gd name="connsiteY4" fmla="*/ 139741 h 416345"/>
                  <a:gd name="connsiteX5" fmla="*/ 183030 w 371910"/>
                  <a:gd name="connsiteY5" fmla="*/ 0 h 416345"/>
                  <a:gd name="connsiteX0" fmla="*/ 183030 w 407538"/>
                  <a:gd name="connsiteY0" fmla="*/ 0 h 416345"/>
                  <a:gd name="connsiteX1" fmla="*/ 5198 w 407538"/>
                  <a:gd name="connsiteY1" fmla="*/ 311191 h 416345"/>
                  <a:gd name="connsiteX2" fmla="*/ 156405 w 407538"/>
                  <a:gd name="connsiteY2" fmla="*/ 416345 h 416345"/>
                  <a:gd name="connsiteX3" fmla="*/ 366343 w 407538"/>
                  <a:gd name="connsiteY3" fmla="*/ 330299 h 416345"/>
                  <a:gd name="connsiteX4" fmla="*/ 371910 w 407538"/>
                  <a:gd name="connsiteY4" fmla="*/ 139741 h 416345"/>
                  <a:gd name="connsiteX5" fmla="*/ 183030 w 407538"/>
                  <a:gd name="connsiteY5" fmla="*/ 0 h 416345"/>
                  <a:gd name="connsiteX0" fmla="*/ 183030 w 403826"/>
                  <a:gd name="connsiteY0" fmla="*/ 0 h 416345"/>
                  <a:gd name="connsiteX1" fmla="*/ 5198 w 403826"/>
                  <a:gd name="connsiteY1" fmla="*/ 311191 h 416345"/>
                  <a:gd name="connsiteX2" fmla="*/ 156405 w 403826"/>
                  <a:gd name="connsiteY2" fmla="*/ 416345 h 416345"/>
                  <a:gd name="connsiteX3" fmla="*/ 366343 w 403826"/>
                  <a:gd name="connsiteY3" fmla="*/ 330299 h 416345"/>
                  <a:gd name="connsiteX4" fmla="*/ 371910 w 403826"/>
                  <a:gd name="connsiteY4" fmla="*/ 139741 h 416345"/>
                  <a:gd name="connsiteX5" fmla="*/ 183030 w 403826"/>
                  <a:gd name="connsiteY5" fmla="*/ 0 h 416345"/>
                  <a:gd name="connsiteX0" fmla="*/ 183030 w 390276"/>
                  <a:gd name="connsiteY0" fmla="*/ 0 h 416345"/>
                  <a:gd name="connsiteX1" fmla="*/ 5198 w 390276"/>
                  <a:gd name="connsiteY1" fmla="*/ 311191 h 416345"/>
                  <a:gd name="connsiteX2" fmla="*/ 156405 w 390276"/>
                  <a:gd name="connsiteY2" fmla="*/ 416345 h 416345"/>
                  <a:gd name="connsiteX3" fmla="*/ 366343 w 390276"/>
                  <a:gd name="connsiteY3" fmla="*/ 330299 h 416345"/>
                  <a:gd name="connsiteX4" fmla="*/ 371910 w 390276"/>
                  <a:gd name="connsiteY4" fmla="*/ 139741 h 416345"/>
                  <a:gd name="connsiteX5" fmla="*/ 183030 w 390276"/>
                  <a:gd name="connsiteY5" fmla="*/ 0 h 416345"/>
                  <a:gd name="connsiteX0" fmla="*/ 183030 w 394212"/>
                  <a:gd name="connsiteY0" fmla="*/ 0 h 416345"/>
                  <a:gd name="connsiteX1" fmla="*/ 5198 w 394212"/>
                  <a:gd name="connsiteY1" fmla="*/ 311191 h 416345"/>
                  <a:gd name="connsiteX2" fmla="*/ 156405 w 394212"/>
                  <a:gd name="connsiteY2" fmla="*/ 416345 h 416345"/>
                  <a:gd name="connsiteX3" fmla="*/ 375187 w 394212"/>
                  <a:gd name="connsiteY3" fmla="*/ 336231 h 416345"/>
                  <a:gd name="connsiteX4" fmla="*/ 371910 w 394212"/>
                  <a:gd name="connsiteY4" fmla="*/ 139741 h 416345"/>
                  <a:gd name="connsiteX5" fmla="*/ 183030 w 394212"/>
                  <a:gd name="connsiteY5" fmla="*/ 0 h 416345"/>
                  <a:gd name="connsiteX0" fmla="*/ 183030 w 394212"/>
                  <a:gd name="connsiteY0" fmla="*/ 0 h 418472"/>
                  <a:gd name="connsiteX1" fmla="*/ 5198 w 394212"/>
                  <a:gd name="connsiteY1" fmla="*/ 311191 h 418472"/>
                  <a:gd name="connsiteX2" fmla="*/ 156405 w 394212"/>
                  <a:gd name="connsiteY2" fmla="*/ 416345 h 418472"/>
                  <a:gd name="connsiteX3" fmla="*/ 375187 w 394212"/>
                  <a:gd name="connsiteY3" fmla="*/ 336231 h 418472"/>
                  <a:gd name="connsiteX4" fmla="*/ 371910 w 394212"/>
                  <a:gd name="connsiteY4" fmla="*/ 139741 h 418472"/>
                  <a:gd name="connsiteX5" fmla="*/ 183030 w 394212"/>
                  <a:gd name="connsiteY5" fmla="*/ 0 h 418472"/>
                  <a:gd name="connsiteX0" fmla="*/ 183030 w 401176"/>
                  <a:gd name="connsiteY0" fmla="*/ 0 h 418483"/>
                  <a:gd name="connsiteX1" fmla="*/ 5198 w 401176"/>
                  <a:gd name="connsiteY1" fmla="*/ 311191 h 418483"/>
                  <a:gd name="connsiteX2" fmla="*/ 156405 w 401176"/>
                  <a:gd name="connsiteY2" fmla="*/ 416345 h 418483"/>
                  <a:gd name="connsiteX3" fmla="*/ 375187 w 401176"/>
                  <a:gd name="connsiteY3" fmla="*/ 336231 h 418483"/>
                  <a:gd name="connsiteX4" fmla="*/ 376688 w 401176"/>
                  <a:gd name="connsiteY4" fmla="*/ 121146 h 418483"/>
                  <a:gd name="connsiteX5" fmla="*/ 183030 w 401176"/>
                  <a:gd name="connsiteY5" fmla="*/ 0 h 418483"/>
                  <a:gd name="connsiteX0" fmla="*/ 183030 w 400201"/>
                  <a:gd name="connsiteY0" fmla="*/ 0 h 411120"/>
                  <a:gd name="connsiteX1" fmla="*/ 5198 w 400201"/>
                  <a:gd name="connsiteY1" fmla="*/ 311191 h 411120"/>
                  <a:gd name="connsiteX2" fmla="*/ 171785 w 400201"/>
                  <a:gd name="connsiteY2" fmla="*/ 408708 h 411120"/>
                  <a:gd name="connsiteX3" fmla="*/ 375187 w 400201"/>
                  <a:gd name="connsiteY3" fmla="*/ 336231 h 411120"/>
                  <a:gd name="connsiteX4" fmla="*/ 376688 w 400201"/>
                  <a:gd name="connsiteY4" fmla="*/ 121146 h 411120"/>
                  <a:gd name="connsiteX5" fmla="*/ 183030 w 400201"/>
                  <a:gd name="connsiteY5" fmla="*/ 0 h 411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0201" h="411120">
                    <a:moveTo>
                      <a:pt x="183030" y="0"/>
                    </a:moveTo>
                    <a:cubicBezTo>
                      <a:pt x="128624" y="15529"/>
                      <a:pt x="-30635" y="137691"/>
                      <a:pt x="5198" y="311191"/>
                    </a:cubicBezTo>
                    <a:cubicBezTo>
                      <a:pt x="57857" y="384941"/>
                      <a:pt x="113641" y="396673"/>
                      <a:pt x="171785" y="408708"/>
                    </a:cubicBezTo>
                    <a:cubicBezTo>
                      <a:pt x="243719" y="421086"/>
                      <a:pt x="341037" y="384158"/>
                      <a:pt x="375187" y="336231"/>
                    </a:cubicBezTo>
                    <a:cubicBezTo>
                      <a:pt x="409337" y="288304"/>
                      <a:pt x="407240" y="176196"/>
                      <a:pt x="376688" y="121146"/>
                    </a:cubicBezTo>
                    <a:cubicBezTo>
                      <a:pt x="324792" y="25566"/>
                      <a:pt x="257603" y="12055"/>
                      <a:pt x="183030" y="0"/>
                    </a:cubicBez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chemeClr val="tx1"/>
                  </a:solidFill>
                </a:endParaRPr>
              </a:p>
            </p:txBody>
          </p:sp>
        </p:grpSp>
        <p:grpSp>
          <p:nvGrpSpPr>
            <p:cNvPr id="3" name="Group 2"/>
            <p:cNvGrpSpPr/>
            <p:nvPr/>
          </p:nvGrpSpPr>
          <p:grpSpPr>
            <a:xfrm>
              <a:off x="986405" y="2779725"/>
              <a:ext cx="1538057" cy="870174"/>
              <a:chOff x="5212877" y="-2270203"/>
              <a:chExt cx="6083300" cy="3441700"/>
            </a:xfrm>
          </p:grpSpPr>
          <p:cxnSp>
            <p:nvCxnSpPr>
              <p:cNvPr id="227" name="Straight Connector 226"/>
              <p:cNvCxnSpPr/>
              <p:nvPr/>
            </p:nvCxnSpPr>
            <p:spPr>
              <a:xfrm flipH="1">
                <a:off x="8835777" y="-1003377"/>
                <a:ext cx="368302" cy="886909"/>
              </a:xfrm>
              <a:prstGeom prst="line">
                <a:avLst/>
              </a:prstGeom>
              <a:ln w="25400" cap="rnd">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28" name="Freeform 227"/>
              <p:cNvSpPr/>
              <p:nvPr/>
            </p:nvSpPr>
            <p:spPr bwMode="auto">
              <a:xfrm>
                <a:off x="5212877" y="-1692353"/>
                <a:ext cx="6083300" cy="2863850"/>
              </a:xfrm>
              <a:custGeom>
                <a:avLst/>
                <a:gdLst>
                  <a:gd name="connsiteX0" fmla="*/ 2089150 w 6083300"/>
                  <a:gd name="connsiteY0" fmla="*/ 2305050 h 2863850"/>
                  <a:gd name="connsiteX1" fmla="*/ 2139950 w 6083300"/>
                  <a:gd name="connsiteY1" fmla="*/ 2260600 h 2863850"/>
                  <a:gd name="connsiteX2" fmla="*/ 2209800 w 6083300"/>
                  <a:gd name="connsiteY2" fmla="*/ 2203450 h 2863850"/>
                  <a:gd name="connsiteX3" fmla="*/ 2254250 w 6083300"/>
                  <a:gd name="connsiteY3" fmla="*/ 2235200 h 2863850"/>
                  <a:gd name="connsiteX4" fmla="*/ 2336800 w 6083300"/>
                  <a:gd name="connsiteY4" fmla="*/ 2209800 h 2863850"/>
                  <a:gd name="connsiteX5" fmla="*/ 2501900 w 6083300"/>
                  <a:gd name="connsiteY5" fmla="*/ 2451100 h 2863850"/>
                  <a:gd name="connsiteX6" fmla="*/ 2533650 w 6083300"/>
                  <a:gd name="connsiteY6" fmla="*/ 2489200 h 2863850"/>
                  <a:gd name="connsiteX7" fmla="*/ 2603500 w 6083300"/>
                  <a:gd name="connsiteY7" fmla="*/ 2533650 h 2863850"/>
                  <a:gd name="connsiteX8" fmla="*/ 2660650 w 6083300"/>
                  <a:gd name="connsiteY8" fmla="*/ 2590800 h 2863850"/>
                  <a:gd name="connsiteX9" fmla="*/ 2660650 w 6083300"/>
                  <a:gd name="connsiteY9" fmla="*/ 2647950 h 2863850"/>
                  <a:gd name="connsiteX10" fmla="*/ 2686050 w 6083300"/>
                  <a:gd name="connsiteY10" fmla="*/ 2774950 h 2863850"/>
                  <a:gd name="connsiteX11" fmla="*/ 2686050 w 6083300"/>
                  <a:gd name="connsiteY11" fmla="*/ 2774950 h 2863850"/>
                  <a:gd name="connsiteX12" fmla="*/ 2787650 w 6083300"/>
                  <a:gd name="connsiteY12" fmla="*/ 2768600 h 2863850"/>
                  <a:gd name="connsiteX13" fmla="*/ 2825750 w 6083300"/>
                  <a:gd name="connsiteY13" fmla="*/ 2800350 h 2863850"/>
                  <a:gd name="connsiteX14" fmla="*/ 2882900 w 6083300"/>
                  <a:gd name="connsiteY14" fmla="*/ 2813050 h 2863850"/>
                  <a:gd name="connsiteX15" fmla="*/ 2933700 w 6083300"/>
                  <a:gd name="connsiteY15" fmla="*/ 2825750 h 2863850"/>
                  <a:gd name="connsiteX16" fmla="*/ 2959100 w 6083300"/>
                  <a:gd name="connsiteY16" fmla="*/ 2863850 h 2863850"/>
                  <a:gd name="connsiteX17" fmla="*/ 3016250 w 6083300"/>
                  <a:gd name="connsiteY17" fmla="*/ 2851150 h 2863850"/>
                  <a:gd name="connsiteX18" fmla="*/ 3048000 w 6083300"/>
                  <a:gd name="connsiteY18" fmla="*/ 2825750 h 2863850"/>
                  <a:gd name="connsiteX19" fmla="*/ 3048000 w 6083300"/>
                  <a:gd name="connsiteY19" fmla="*/ 2825750 h 2863850"/>
                  <a:gd name="connsiteX20" fmla="*/ 2984500 w 6083300"/>
                  <a:gd name="connsiteY20" fmla="*/ 2724150 h 2863850"/>
                  <a:gd name="connsiteX21" fmla="*/ 2978150 w 6083300"/>
                  <a:gd name="connsiteY21" fmla="*/ 2673350 h 2863850"/>
                  <a:gd name="connsiteX22" fmla="*/ 2997200 w 6083300"/>
                  <a:gd name="connsiteY22" fmla="*/ 2635250 h 2863850"/>
                  <a:gd name="connsiteX23" fmla="*/ 3016250 w 6083300"/>
                  <a:gd name="connsiteY23" fmla="*/ 2559050 h 2863850"/>
                  <a:gd name="connsiteX24" fmla="*/ 3016250 w 6083300"/>
                  <a:gd name="connsiteY24" fmla="*/ 2559050 h 2863850"/>
                  <a:gd name="connsiteX25" fmla="*/ 3086100 w 6083300"/>
                  <a:gd name="connsiteY25" fmla="*/ 2527300 h 2863850"/>
                  <a:gd name="connsiteX26" fmla="*/ 3136900 w 6083300"/>
                  <a:gd name="connsiteY26" fmla="*/ 2463800 h 2863850"/>
                  <a:gd name="connsiteX27" fmla="*/ 3181350 w 6083300"/>
                  <a:gd name="connsiteY27" fmla="*/ 2419350 h 2863850"/>
                  <a:gd name="connsiteX28" fmla="*/ 3270250 w 6083300"/>
                  <a:gd name="connsiteY28" fmla="*/ 2368550 h 2863850"/>
                  <a:gd name="connsiteX29" fmla="*/ 3346450 w 6083300"/>
                  <a:gd name="connsiteY29" fmla="*/ 2330450 h 2863850"/>
                  <a:gd name="connsiteX30" fmla="*/ 3441700 w 6083300"/>
                  <a:gd name="connsiteY30" fmla="*/ 2292350 h 2863850"/>
                  <a:gd name="connsiteX31" fmla="*/ 3479800 w 6083300"/>
                  <a:gd name="connsiteY31" fmla="*/ 2279650 h 2863850"/>
                  <a:gd name="connsiteX32" fmla="*/ 3613150 w 6083300"/>
                  <a:gd name="connsiteY32" fmla="*/ 2266950 h 2863850"/>
                  <a:gd name="connsiteX33" fmla="*/ 3676650 w 6083300"/>
                  <a:gd name="connsiteY33" fmla="*/ 2235200 h 2863850"/>
                  <a:gd name="connsiteX34" fmla="*/ 3790950 w 6083300"/>
                  <a:gd name="connsiteY34" fmla="*/ 2254250 h 2863850"/>
                  <a:gd name="connsiteX35" fmla="*/ 3854450 w 6083300"/>
                  <a:gd name="connsiteY35" fmla="*/ 2254250 h 2863850"/>
                  <a:gd name="connsiteX36" fmla="*/ 3905250 w 6083300"/>
                  <a:gd name="connsiteY36" fmla="*/ 2197100 h 2863850"/>
                  <a:gd name="connsiteX37" fmla="*/ 3968750 w 6083300"/>
                  <a:gd name="connsiteY37" fmla="*/ 2266950 h 2863850"/>
                  <a:gd name="connsiteX38" fmla="*/ 4051300 w 6083300"/>
                  <a:gd name="connsiteY38" fmla="*/ 2292350 h 2863850"/>
                  <a:gd name="connsiteX39" fmla="*/ 4121150 w 6083300"/>
                  <a:gd name="connsiteY39" fmla="*/ 2336800 h 2863850"/>
                  <a:gd name="connsiteX40" fmla="*/ 4140200 w 6083300"/>
                  <a:gd name="connsiteY40" fmla="*/ 2305050 h 2863850"/>
                  <a:gd name="connsiteX41" fmla="*/ 4197350 w 6083300"/>
                  <a:gd name="connsiteY41" fmla="*/ 2317750 h 2863850"/>
                  <a:gd name="connsiteX42" fmla="*/ 4235450 w 6083300"/>
                  <a:gd name="connsiteY42" fmla="*/ 2279650 h 2863850"/>
                  <a:gd name="connsiteX43" fmla="*/ 4305300 w 6083300"/>
                  <a:gd name="connsiteY43" fmla="*/ 2311400 h 2863850"/>
                  <a:gd name="connsiteX44" fmla="*/ 4362450 w 6083300"/>
                  <a:gd name="connsiteY44" fmla="*/ 2317750 h 2863850"/>
                  <a:gd name="connsiteX45" fmla="*/ 4362450 w 6083300"/>
                  <a:gd name="connsiteY45" fmla="*/ 2317750 h 2863850"/>
                  <a:gd name="connsiteX46" fmla="*/ 4324350 w 6083300"/>
                  <a:gd name="connsiteY46" fmla="*/ 2254250 h 2863850"/>
                  <a:gd name="connsiteX47" fmla="*/ 4311650 w 6083300"/>
                  <a:gd name="connsiteY47" fmla="*/ 2216150 h 2863850"/>
                  <a:gd name="connsiteX48" fmla="*/ 4318000 w 6083300"/>
                  <a:gd name="connsiteY48" fmla="*/ 2171700 h 2863850"/>
                  <a:gd name="connsiteX49" fmla="*/ 4286250 w 6083300"/>
                  <a:gd name="connsiteY49" fmla="*/ 2152650 h 2863850"/>
                  <a:gd name="connsiteX50" fmla="*/ 4216400 w 6083300"/>
                  <a:gd name="connsiteY50" fmla="*/ 2152650 h 2863850"/>
                  <a:gd name="connsiteX51" fmla="*/ 4146550 w 6083300"/>
                  <a:gd name="connsiteY51" fmla="*/ 2139950 h 2863850"/>
                  <a:gd name="connsiteX52" fmla="*/ 4146550 w 6083300"/>
                  <a:gd name="connsiteY52" fmla="*/ 2139950 h 2863850"/>
                  <a:gd name="connsiteX53" fmla="*/ 4298950 w 6083300"/>
                  <a:gd name="connsiteY53" fmla="*/ 2120900 h 2863850"/>
                  <a:gd name="connsiteX54" fmla="*/ 4381500 w 6083300"/>
                  <a:gd name="connsiteY54" fmla="*/ 2120900 h 2863850"/>
                  <a:gd name="connsiteX55" fmla="*/ 4508500 w 6083300"/>
                  <a:gd name="connsiteY55" fmla="*/ 2089150 h 2863850"/>
                  <a:gd name="connsiteX56" fmla="*/ 4546600 w 6083300"/>
                  <a:gd name="connsiteY56" fmla="*/ 2114550 h 2863850"/>
                  <a:gd name="connsiteX57" fmla="*/ 4616450 w 6083300"/>
                  <a:gd name="connsiteY57" fmla="*/ 2120900 h 2863850"/>
                  <a:gd name="connsiteX58" fmla="*/ 4699000 w 6083300"/>
                  <a:gd name="connsiteY58" fmla="*/ 2076450 h 2863850"/>
                  <a:gd name="connsiteX59" fmla="*/ 4781550 w 6083300"/>
                  <a:gd name="connsiteY59" fmla="*/ 2063750 h 2863850"/>
                  <a:gd name="connsiteX60" fmla="*/ 4902200 w 6083300"/>
                  <a:gd name="connsiteY60" fmla="*/ 2139950 h 2863850"/>
                  <a:gd name="connsiteX61" fmla="*/ 5010150 w 6083300"/>
                  <a:gd name="connsiteY61" fmla="*/ 2152650 h 2863850"/>
                  <a:gd name="connsiteX62" fmla="*/ 5149850 w 6083300"/>
                  <a:gd name="connsiteY62" fmla="*/ 2108200 h 2863850"/>
                  <a:gd name="connsiteX63" fmla="*/ 5238750 w 6083300"/>
                  <a:gd name="connsiteY63" fmla="*/ 2108200 h 2863850"/>
                  <a:gd name="connsiteX64" fmla="*/ 5448300 w 6083300"/>
                  <a:gd name="connsiteY64" fmla="*/ 2273300 h 2863850"/>
                  <a:gd name="connsiteX65" fmla="*/ 5448300 w 6083300"/>
                  <a:gd name="connsiteY65" fmla="*/ 2355850 h 2863850"/>
                  <a:gd name="connsiteX66" fmla="*/ 5505450 w 6083300"/>
                  <a:gd name="connsiteY66" fmla="*/ 2425700 h 2863850"/>
                  <a:gd name="connsiteX67" fmla="*/ 5600700 w 6083300"/>
                  <a:gd name="connsiteY67" fmla="*/ 2508250 h 2863850"/>
                  <a:gd name="connsiteX68" fmla="*/ 5689600 w 6083300"/>
                  <a:gd name="connsiteY68" fmla="*/ 2546350 h 2863850"/>
                  <a:gd name="connsiteX69" fmla="*/ 5854700 w 6083300"/>
                  <a:gd name="connsiteY69" fmla="*/ 2673350 h 2863850"/>
                  <a:gd name="connsiteX70" fmla="*/ 6000750 w 6083300"/>
                  <a:gd name="connsiteY70" fmla="*/ 2743200 h 2863850"/>
                  <a:gd name="connsiteX71" fmla="*/ 6083300 w 6083300"/>
                  <a:gd name="connsiteY71" fmla="*/ 2711450 h 2863850"/>
                  <a:gd name="connsiteX72" fmla="*/ 6076950 w 6083300"/>
                  <a:gd name="connsiteY72" fmla="*/ 2622550 h 2863850"/>
                  <a:gd name="connsiteX73" fmla="*/ 6000750 w 6083300"/>
                  <a:gd name="connsiteY73" fmla="*/ 2533650 h 2863850"/>
                  <a:gd name="connsiteX74" fmla="*/ 5924550 w 6083300"/>
                  <a:gd name="connsiteY74" fmla="*/ 2406650 h 2863850"/>
                  <a:gd name="connsiteX75" fmla="*/ 5810250 w 6083300"/>
                  <a:gd name="connsiteY75" fmla="*/ 2286000 h 2863850"/>
                  <a:gd name="connsiteX76" fmla="*/ 5695950 w 6083300"/>
                  <a:gd name="connsiteY76" fmla="*/ 2197100 h 2863850"/>
                  <a:gd name="connsiteX77" fmla="*/ 5568950 w 6083300"/>
                  <a:gd name="connsiteY77" fmla="*/ 2051050 h 2863850"/>
                  <a:gd name="connsiteX78" fmla="*/ 5499100 w 6083300"/>
                  <a:gd name="connsiteY78" fmla="*/ 1987550 h 2863850"/>
                  <a:gd name="connsiteX79" fmla="*/ 5454650 w 6083300"/>
                  <a:gd name="connsiteY79" fmla="*/ 1873250 h 2863850"/>
                  <a:gd name="connsiteX80" fmla="*/ 5499100 w 6083300"/>
                  <a:gd name="connsiteY80" fmla="*/ 1765300 h 2863850"/>
                  <a:gd name="connsiteX81" fmla="*/ 5670550 w 6083300"/>
                  <a:gd name="connsiteY81" fmla="*/ 1479550 h 2863850"/>
                  <a:gd name="connsiteX82" fmla="*/ 5835650 w 6083300"/>
                  <a:gd name="connsiteY82" fmla="*/ 1365250 h 2863850"/>
                  <a:gd name="connsiteX83" fmla="*/ 5861050 w 6083300"/>
                  <a:gd name="connsiteY83" fmla="*/ 1257300 h 2863850"/>
                  <a:gd name="connsiteX84" fmla="*/ 5702300 w 6083300"/>
                  <a:gd name="connsiteY84" fmla="*/ 1130300 h 2863850"/>
                  <a:gd name="connsiteX85" fmla="*/ 5740400 w 6083300"/>
                  <a:gd name="connsiteY85" fmla="*/ 1016000 h 2863850"/>
                  <a:gd name="connsiteX86" fmla="*/ 5676900 w 6083300"/>
                  <a:gd name="connsiteY86" fmla="*/ 908050 h 2863850"/>
                  <a:gd name="connsiteX87" fmla="*/ 5727700 w 6083300"/>
                  <a:gd name="connsiteY87" fmla="*/ 755650 h 2863850"/>
                  <a:gd name="connsiteX88" fmla="*/ 5842000 w 6083300"/>
                  <a:gd name="connsiteY88" fmla="*/ 660400 h 2863850"/>
                  <a:gd name="connsiteX89" fmla="*/ 5969000 w 6083300"/>
                  <a:gd name="connsiteY89" fmla="*/ 615950 h 2863850"/>
                  <a:gd name="connsiteX90" fmla="*/ 5937250 w 6083300"/>
                  <a:gd name="connsiteY90" fmla="*/ 552450 h 2863850"/>
                  <a:gd name="connsiteX91" fmla="*/ 5880100 w 6083300"/>
                  <a:gd name="connsiteY91" fmla="*/ 527050 h 2863850"/>
                  <a:gd name="connsiteX92" fmla="*/ 5810250 w 6083300"/>
                  <a:gd name="connsiteY92" fmla="*/ 425450 h 2863850"/>
                  <a:gd name="connsiteX93" fmla="*/ 5918200 w 6083300"/>
                  <a:gd name="connsiteY93" fmla="*/ 361950 h 2863850"/>
                  <a:gd name="connsiteX94" fmla="*/ 6026150 w 6083300"/>
                  <a:gd name="connsiteY94" fmla="*/ 292100 h 2863850"/>
                  <a:gd name="connsiteX95" fmla="*/ 5899150 w 6083300"/>
                  <a:gd name="connsiteY95" fmla="*/ 241300 h 2863850"/>
                  <a:gd name="connsiteX96" fmla="*/ 5772150 w 6083300"/>
                  <a:gd name="connsiteY96" fmla="*/ 184150 h 2863850"/>
                  <a:gd name="connsiteX97" fmla="*/ 5721350 w 6083300"/>
                  <a:gd name="connsiteY97" fmla="*/ 82550 h 2863850"/>
                  <a:gd name="connsiteX98" fmla="*/ 5492750 w 6083300"/>
                  <a:gd name="connsiteY98" fmla="*/ 190500 h 2863850"/>
                  <a:gd name="connsiteX99" fmla="*/ 5416550 w 6083300"/>
                  <a:gd name="connsiteY99" fmla="*/ 323850 h 2863850"/>
                  <a:gd name="connsiteX100" fmla="*/ 5403850 w 6083300"/>
                  <a:gd name="connsiteY100" fmla="*/ 387350 h 2863850"/>
                  <a:gd name="connsiteX101" fmla="*/ 5162550 w 6083300"/>
                  <a:gd name="connsiteY101" fmla="*/ 387350 h 2863850"/>
                  <a:gd name="connsiteX102" fmla="*/ 5181600 w 6083300"/>
                  <a:gd name="connsiteY102" fmla="*/ 508000 h 2863850"/>
                  <a:gd name="connsiteX103" fmla="*/ 5035550 w 6083300"/>
                  <a:gd name="connsiteY103" fmla="*/ 577850 h 2863850"/>
                  <a:gd name="connsiteX104" fmla="*/ 4851400 w 6083300"/>
                  <a:gd name="connsiteY104" fmla="*/ 622300 h 2863850"/>
                  <a:gd name="connsiteX105" fmla="*/ 4800600 w 6083300"/>
                  <a:gd name="connsiteY105" fmla="*/ 768350 h 2863850"/>
                  <a:gd name="connsiteX106" fmla="*/ 4603750 w 6083300"/>
                  <a:gd name="connsiteY106" fmla="*/ 717550 h 2863850"/>
                  <a:gd name="connsiteX107" fmla="*/ 4667250 w 6083300"/>
                  <a:gd name="connsiteY107" fmla="*/ 609600 h 2863850"/>
                  <a:gd name="connsiteX108" fmla="*/ 4476750 w 6083300"/>
                  <a:gd name="connsiteY108" fmla="*/ 476250 h 2863850"/>
                  <a:gd name="connsiteX109" fmla="*/ 4445000 w 6083300"/>
                  <a:gd name="connsiteY109" fmla="*/ 368300 h 2863850"/>
                  <a:gd name="connsiteX110" fmla="*/ 4254500 w 6083300"/>
                  <a:gd name="connsiteY110" fmla="*/ 323850 h 2863850"/>
                  <a:gd name="connsiteX111" fmla="*/ 4013200 w 6083300"/>
                  <a:gd name="connsiteY111" fmla="*/ 330200 h 2863850"/>
                  <a:gd name="connsiteX112" fmla="*/ 3937000 w 6083300"/>
                  <a:gd name="connsiteY112" fmla="*/ 330200 h 2863850"/>
                  <a:gd name="connsiteX113" fmla="*/ 3981450 w 6083300"/>
                  <a:gd name="connsiteY113" fmla="*/ 260350 h 2863850"/>
                  <a:gd name="connsiteX114" fmla="*/ 3867150 w 6083300"/>
                  <a:gd name="connsiteY114" fmla="*/ 317500 h 2863850"/>
                  <a:gd name="connsiteX115" fmla="*/ 3784600 w 6083300"/>
                  <a:gd name="connsiteY115" fmla="*/ 355600 h 2863850"/>
                  <a:gd name="connsiteX116" fmla="*/ 3670300 w 6083300"/>
                  <a:gd name="connsiteY116" fmla="*/ 387350 h 2863850"/>
                  <a:gd name="connsiteX117" fmla="*/ 3632200 w 6083300"/>
                  <a:gd name="connsiteY117" fmla="*/ 323850 h 2863850"/>
                  <a:gd name="connsiteX118" fmla="*/ 3816350 w 6083300"/>
                  <a:gd name="connsiteY118" fmla="*/ 266700 h 2863850"/>
                  <a:gd name="connsiteX119" fmla="*/ 3733800 w 6083300"/>
                  <a:gd name="connsiteY119" fmla="*/ 228600 h 2863850"/>
                  <a:gd name="connsiteX120" fmla="*/ 3625850 w 6083300"/>
                  <a:gd name="connsiteY120" fmla="*/ 234950 h 2863850"/>
                  <a:gd name="connsiteX121" fmla="*/ 3492500 w 6083300"/>
                  <a:gd name="connsiteY121" fmla="*/ 228600 h 2863850"/>
                  <a:gd name="connsiteX122" fmla="*/ 3422650 w 6083300"/>
                  <a:gd name="connsiteY122" fmla="*/ 196850 h 2863850"/>
                  <a:gd name="connsiteX123" fmla="*/ 3232150 w 6083300"/>
                  <a:gd name="connsiteY123" fmla="*/ 222250 h 2863850"/>
                  <a:gd name="connsiteX124" fmla="*/ 2876550 w 6083300"/>
                  <a:gd name="connsiteY124" fmla="*/ 196850 h 2863850"/>
                  <a:gd name="connsiteX125" fmla="*/ 2400300 w 6083300"/>
                  <a:gd name="connsiteY125" fmla="*/ 177800 h 2863850"/>
                  <a:gd name="connsiteX126" fmla="*/ 2044700 w 6083300"/>
                  <a:gd name="connsiteY126" fmla="*/ 171450 h 2863850"/>
                  <a:gd name="connsiteX127" fmla="*/ 1168400 w 6083300"/>
                  <a:gd name="connsiteY127" fmla="*/ 63500 h 2863850"/>
                  <a:gd name="connsiteX128" fmla="*/ 806450 w 6083300"/>
                  <a:gd name="connsiteY128" fmla="*/ 0 h 2863850"/>
                  <a:gd name="connsiteX129" fmla="*/ 781050 w 6083300"/>
                  <a:gd name="connsiteY129" fmla="*/ 50800 h 2863850"/>
                  <a:gd name="connsiteX130" fmla="*/ 698500 w 6083300"/>
                  <a:gd name="connsiteY130" fmla="*/ 19050 h 2863850"/>
                  <a:gd name="connsiteX131" fmla="*/ 647700 w 6083300"/>
                  <a:gd name="connsiteY131" fmla="*/ 120650 h 2863850"/>
                  <a:gd name="connsiteX132" fmla="*/ 539750 w 6083300"/>
                  <a:gd name="connsiteY132" fmla="*/ 254000 h 2863850"/>
                  <a:gd name="connsiteX133" fmla="*/ 400050 w 6083300"/>
                  <a:gd name="connsiteY133" fmla="*/ 355600 h 2863850"/>
                  <a:gd name="connsiteX134" fmla="*/ 247650 w 6083300"/>
                  <a:gd name="connsiteY134" fmla="*/ 463550 h 2863850"/>
                  <a:gd name="connsiteX135" fmla="*/ 114300 w 6083300"/>
                  <a:gd name="connsiteY135" fmla="*/ 692150 h 2863850"/>
                  <a:gd name="connsiteX136" fmla="*/ 6350 w 6083300"/>
                  <a:gd name="connsiteY136" fmla="*/ 901700 h 2863850"/>
                  <a:gd name="connsiteX137" fmla="*/ 6350 w 6083300"/>
                  <a:gd name="connsiteY137" fmla="*/ 1117600 h 2863850"/>
                  <a:gd name="connsiteX138" fmla="*/ 31750 w 6083300"/>
                  <a:gd name="connsiteY138" fmla="*/ 1219200 h 2863850"/>
                  <a:gd name="connsiteX139" fmla="*/ 0 w 6083300"/>
                  <a:gd name="connsiteY139" fmla="*/ 1257300 h 2863850"/>
                  <a:gd name="connsiteX140" fmla="*/ 0 w 6083300"/>
                  <a:gd name="connsiteY140" fmla="*/ 1314450 h 2863850"/>
                  <a:gd name="connsiteX141" fmla="*/ 88900 w 6083300"/>
                  <a:gd name="connsiteY141" fmla="*/ 1320800 h 2863850"/>
                  <a:gd name="connsiteX142" fmla="*/ 177800 w 6083300"/>
                  <a:gd name="connsiteY142" fmla="*/ 1441450 h 2863850"/>
                  <a:gd name="connsiteX143" fmla="*/ 254000 w 6083300"/>
                  <a:gd name="connsiteY143" fmla="*/ 1511300 h 2863850"/>
                  <a:gd name="connsiteX144" fmla="*/ 241300 w 6083300"/>
                  <a:gd name="connsiteY144" fmla="*/ 1581150 h 2863850"/>
                  <a:gd name="connsiteX145" fmla="*/ 209550 w 6083300"/>
                  <a:gd name="connsiteY145" fmla="*/ 1574800 h 2863850"/>
                  <a:gd name="connsiteX146" fmla="*/ 209550 w 6083300"/>
                  <a:gd name="connsiteY146" fmla="*/ 1619250 h 2863850"/>
                  <a:gd name="connsiteX147" fmla="*/ 330200 w 6083300"/>
                  <a:gd name="connsiteY147" fmla="*/ 1625600 h 2863850"/>
                  <a:gd name="connsiteX148" fmla="*/ 495300 w 6083300"/>
                  <a:gd name="connsiteY148" fmla="*/ 1619250 h 2863850"/>
                  <a:gd name="connsiteX149" fmla="*/ 527050 w 6083300"/>
                  <a:gd name="connsiteY149" fmla="*/ 1689100 h 2863850"/>
                  <a:gd name="connsiteX150" fmla="*/ 628650 w 6083300"/>
                  <a:gd name="connsiteY150" fmla="*/ 1727200 h 2863850"/>
                  <a:gd name="connsiteX151" fmla="*/ 755650 w 6083300"/>
                  <a:gd name="connsiteY151" fmla="*/ 1809750 h 2863850"/>
                  <a:gd name="connsiteX152" fmla="*/ 882650 w 6083300"/>
                  <a:gd name="connsiteY152" fmla="*/ 1835150 h 2863850"/>
                  <a:gd name="connsiteX153" fmla="*/ 1054100 w 6083300"/>
                  <a:gd name="connsiteY153" fmla="*/ 1905000 h 2863850"/>
                  <a:gd name="connsiteX154" fmla="*/ 1231900 w 6083300"/>
                  <a:gd name="connsiteY154" fmla="*/ 1924050 h 2863850"/>
                  <a:gd name="connsiteX155" fmla="*/ 1384300 w 6083300"/>
                  <a:gd name="connsiteY155" fmla="*/ 1936750 h 2863850"/>
                  <a:gd name="connsiteX156" fmla="*/ 1409700 w 6083300"/>
                  <a:gd name="connsiteY156" fmla="*/ 1892300 h 2863850"/>
                  <a:gd name="connsiteX157" fmla="*/ 1422400 w 6083300"/>
                  <a:gd name="connsiteY157" fmla="*/ 1866900 h 2863850"/>
                  <a:gd name="connsiteX158" fmla="*/ 1562100 w 6083300"/>
                  <a:gd name="connsiteY158" fmla="*/ 1879600 h 2863850"/>
                  <a:gd name="connsiteX159" fmla="*/ 1663700 w 6083300"/>
                  <a:gd name="connsiteY159" fmla="*/ 1898650 h 2863850"/>
                  <a:gd name="connsiteX160" fmla="*/ 1778000 w 6083300"/>
                  <a:gd name="connsiteY160" fmla="*/ 2032000 h 2863850"/>
                  <a:gd name="connsiteX161" fmla="*/ 1828800 w 6083300"/>
                  <a:gd name="connsiteY161" fmla="*/ 2108200 h 2863850"/>
                  <a:gd name="connsiteX162" fmla="*/ 1835150 w 6083300"/>
                  <a:gd name="connsiteY162" fmla="*/ 2082800 h 2863850"/>
                  <a:gd name="connsiteX163" fmla="*/ 1835150 w 6083300"/>
                  <a:gd name="connsiteY163" fmla="*/ 2159000 h 2863850"/>
                  <a:gd name="connsiteX164" fmla="*/ 1885950 w 6083300"/>
                  <a:gd name="connsiteY164" fmla="*/ 2216150 h 2863850"/>
                  <a:gd name="connsiteX165" fmla="*/ 1974850 w 6083300"/>
                  <a:gd name="connsiteY165" fmla="*/ 2273300 h 2863850"/>
                  <a:gd name="connsiteX166" fmla="*/ 2089150 w 6083300"/>
                  <a:gd name="connsiteY166" fmla="*/ 2305050 h 286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Lst>
                <a:rect l="l" t="t" r="r" b="b"/>
                <a:pathLst>
                  <a:path w="6083300" h="2863850">
                    <a:moveTo>
                      <a:pt x="2089150" y="2305050"/>
                    </a:moveTo>
                    <a:lnTo>
                      <a:pt x="2139950" y="2260600"/>
                    </a:lnTo>
                    <a:lnTo>
                      <a:pt x="2209800" y="2203450"/>
                    </a:lnTo>
                    <a:lnTo>
                      <a:pt x="2254250" y="2235200"/>
                    </a:lnTo>
                    <a:lnTo>
                      <a:pt x="2336800" y="2209800"/>
                    </a:lnTo>
                    <a:lnTo>
                      <a:pt x="2501900" y="2451100"/>
                    </a:lnTo>
                    <a:lnTo>
                      <a:pt x="2533650" y="2489200"/>
                    </a:lnTo>
                    <a:lnTo>
                      <a:pt x="2603500" y="2533650"/>
                    </a:lnTo>
                    <a:lnTo>
                      <a:pt x="2660650" y="2590800"/>
                    </a:lnTo>
                    <a:lnTo>
                      <a:pt x="2660650" y="2647950"/>
                    </a:lnTo>
                    <a:lnTo>
                      <a:pt x="2686050" y="2774950"/>
                    </a:lnTo>
                    <a:lnTo>
                      <a:pt x="2686050" y="2774950"/>
                    </a:lnTo>
                    <a:lnTo>
                      <a:pt x="2787650" y="2768600"/>
                    </a:lnTo>
                    <a:lnTo>
                      <a:pt x="2825750" y="2800350"/>
                    </a:lnTo>
                    <a:lnTo>
                      <a:pt x="2882900" y="2813050"/>
                    </a:lnTo>
                    <a:lnTo>
                      <a:pt x="2933700" y="2825750"/>
                    </a:lnTo>
                    <a:lnTo>
                      <a:pt x="2959100" y="2863850"/>
                    </a:lnTo>
                    <a:lnTo>
                      <a:pt x="3016250" y="2851150"/>
                    </a:lnTo>
                    <a:lnTo>
                      <a:pt x="3048000" y="2825750"/>
                    </a:lnTo>
                    <a:lnTo>
                      <a:pt x="3048000" y="2825750"/>
                    </a:lnTo>
                    <a:lnTo>
                      <a:pt x="2984500" y="2724150"/>
                    </a:lnTo>
                    <a:lnTo>
                      <a:pt x="2978150" y="2673350"/>
                    </a:lnTo>
                    <a:lnTo>
                      <a:pt x="2997200" y="2635250"/>
                    </a:lnTo>
                    <a:lnTo>
                      <a:pt x="3016250" y="2559050"/>
                    </a:lnTo>
                    <a:lnTo>
                      <a:pt x="3016250" y="2559050"/>
                    </a:lnTo>
                    <a:lnTo>
                      <a:pt x="3086100" y="2527300"/>
                    </a:lnTo>
                    <a:lnTo>
                      <a:pt x="3136900" y="2463800"/>
                    </a:lnTo>
                    <a:lnTo>
                      <a:pt x="3181350" y="2419350"/>
                    </a:lnTo>
                    <a:lnTo>
                      <a:pt x="3270250" y="2368550"/>
                    </a:lnTo>
                    <a:lnTo>
                      <a:pt x="3346450" y="2330450"/>
                    </a:lnTo>
                    <a:lnTo>
                      <a:pt x="3441700" y="2292350"/>
                    </a:lnTo>
                    <a:lnTo>
                      <a:pt x="3479800" y="2279650"/>
                    </a:lnTo>
                    <a:lnTo>
                      <a:pt x="3613150" y="2266950"/>
                    </a:lnTo>
                    <a:lnTo>
                      <a:pt x="3676650" y="2235200"/>
                    </a:lnTo>
                    <a:lnTo>
                      <a:pt x="3790950" y="2254250"/>
                    </a:lnTo>
                    <a:lnTo>
                      <a:pt x="3854450" y="2254250"/>
                    </a:lnTo>
                    <a:lnTo>
                      <a:pt x="3905250" y="2197100"/>
                    </a:lnTo>
                    <a:lnTo>
                      <a:pt x="3968750" y="2266950"/>
                    </a:lnTo>
                    <a:lnTo>
                      <a:pt x="4051300" y="2292350"/>
                    </a:lnTo>
                    <a:lnTo>
                      <a:pt x="4121150" y="2336800"/>
                    </a:lnTo>
                    <a:lnTo>
                      <a:pt x="4140200" y="2305050"/>
                    </a:lnTo>
                    <a:lnTo>
                      <a:pt x="4197350" y="2317750"/>
                    </a:lnTo>
                    <a:lnTo>
                      <a:pt x="4235450" y="2279650"/>
                    </a:lnTo>
                    <a:lnTo>
                      <a:pt x="4305300" y="2311400"/>
                    </a:lnTo>
                    <a:lnTo>
                      <a:pt x="4362450" y="2317750"/>
                    </a:lnTo>
                    <a:lnTo>
                      <a:pt x="4362450" y="2317750"/>
                    </a:lnTo>
                    <a:lnTo>
                      <a:pt x="4324350" y="2254250"/>
                    </a:lnTo>
                    <a:lnTo>
                      <a:pt x="4311650" y="2216150"/>
                    </a:lnTo>
                    <a:lnTo>
                      <a:pt x="4318000" y="2171700"/>
                    </a:lnTo>
                    <a:lnTo>
                      <a:pt x="4286250" y="2152650"/>
                    </a:lnTo>
                    <a:lnTo>
                      <a:pt x="4216400" y="2152650"/>
                    </a:lnTo>
                    <a:lnTo>
                      <a:pt x="4146550" y="2139950"/>
                    </a:lnTo>
                    <a:lnTo>
                      <a:pt x="4146550" y="2139950"/>
                    </a:lnTo>
                    <a:lnTo>
                      <a:pt x="4298950" y="2120900"/>
                    </a:lnTo>
                    <a:lnTo>
                      <a:pt x="4381500" y="2120900"/>
                    </a:lnTo>
                    <a:lnTo>
                      <a:pt x="4508500" y="2089150"/>
                    </a:lnTo>
                    <a:lnTo>
                      <a:pt x="4546600" y="2114550"/>
                    </a:lnTo>
                    <a:lnTo>
                      <a:pt x="4616450" y="2120900"/>
                    </a:lnTo>
                    <a:lnTo>
                      <a:pt x="4699000" y="2076450"/>
                    </a:lnTo>
                    <a:lnTo>
                      <a:pt x="4781550" y="2063750"/>
                    </a:lnTo>
                    <a:lnTo>
                      <a:pt x="4902200" y="2139950"/>
                    </a:lnTo>
                    <a:lnTo>
                      <a:pt x="5010150" y="2152650"/>
                    </a:lnTo>
                    <a:lnTo>
                      <a:pt x="5149850" y="2108200"/>
                    </a:lnTo>
                    <a:lnTo>
                      <a:pt x="5238750" y="2108200"/>
                    </a:lnTo>
                    <a:lnTo>
                      <a:pt x="5448300" y="2273300"/>
                    </a:lnTo>
                    <a:lnTo>
                      <a:pt x="5448300" y="2355850"/>
                    </a:lnTo>
                    <a:lnTo>
                      <a:pt x="5505450" y="2425700"/>
                    </a:lnTo>
                    <a:lnTo>
                      <a:pt x="5600700" y="2508250"/>
                    </a:lnTo>
                    <a:lnTo>
                      <a:pt x="5689600" y="2546350"/>
                    </a:lnTo>
                    <a:lnTo>
                      <a:pt x="5854700" y="2673350"/>
                    </a:lnTo>
                    <a:lnTo>
                      <a:pt x="6000750" y="2743200"/>
                    </a:lnTo>
                    <a:lnTo>
                      <a:pt x="6083300" y="2711450"/>
                    </a:lnTo>
                    <a:lnTo>
                      <a:pt x="6076950" y="2622550"/>
                    </a:lnTo>
                    <a:lnTo>
                      <a:pt x="6000750" y="2533650"/>
                    </a:lnTo>
                    <a:lnTo>
                      <a:pt x="5924550" y="2406650"/>
                    </a:lnTo>
                    <a:lnTo>
                      <a:pt x="5810250" y="2286000"/>
                    </a:lnTo>
                    <a:lnTo>
                      <a:pt x="5695950" y="2197100"/>
                    </a:lnTo>
                    <a:lnTo>
                      <a:pt x="5568950" y="2051050"/>
                    </a:lnTo>
                    <a:lnTo>
                      <a:pt x="5499100" y="1987550"/>
                    </a:lnTo>
                    <a:lnTo>
                      <a:pt x="5454650" y="1873250"/>
                    </a:lnTo>
                    <a:lnTo>
                      <a:pt x="5499100" y="1765300"/>
                    </a:lnTo>
                    <a:lnTo>
                      <a:pt x="5670550" y="1479550"/>
                    </a:lnTo>
                    <a:lnTo>
                      <a:pt x="5835650" y="1365250"/>
                    </a:lnTo>
                    <a:lnTo>
                      <a:pt x="5861050" y="1257300"/>
                    </a:lnTo>
                    <a:lnTo>
                      <a:pt x="5702300" y="1130300"/>
                    </a:lnTo>
                    <a:lnTo>
                      <a:pt x="5740400" y="1016000"/>
                    </a:lnTo>
                    <a:lnTo>
                      <a:pt x="5676900" y="908050"/>
                    </a:lnTo>
                    <a:lnTo>
                      <a:pt x="5727700" y="755650"/>
                    </a:lnTo>
                    <a:lnTo>
                      <a:pt x="5842000" y="660400"/>
                    </a:lnTo>
                    <a:lnTo>
                      <a:pt x="5969000" y="615950"/>
                    </a:lnTo>
                    <a:lnTo>
                      <a:pt x="5937250" y="552450"/>
                    </a:lnTo>
                    <a:lnTo>
                      <a:pt x="5880100" y="527050"/>
                    </a:lnTo>
                    <a:lnTo>
                      <a:pt x="5810250" y="425450"/>
                    </a:lnTo>
                    <a:lnTo>
                      <a:pt x="5918200" y="361950"/>
                    </a:lnTo>
                    <a:lnTo>
                      <a:pt x="6026150" y="292100"/>
                    </a:lnTo>
                    <a:lnTo>
                      <a:pt x="5899150" y="241300"/>
                    </a:lnTo>
                    <a:lnTo>
                      <a:pt x="5772150" y="184150"/>
                    </a:lnTo>
                    <a:lnTo>
                      <a:pt x="5721350" y="82550"/>
                    </a:lnTo>
                    <a:lnTo>
                      <a:pt x="5492750" y="190500"/>
                    </a:lnTo>
                    <a:lnTo>
                      <a:pt x="5416550" y="323850"/>
                    </a:lnTo>
                    <a:lnTo>
                      <a:pt x="5403850" y="387350"/>
                    </a:lnTo>
                    <a:lnTo>
                      <a:pt x="5162550" y="387350"/>
                    </a:lnTo>
                    <a:lnTo>
                      <a:pt x="5181600" y="508000"/>
                    </a:lnTo>
                    <a:lnTo>
                      <a:pt x="5035550" y="577850"/>
                    </a:lnTo>
                    <a:lnTo>
                      <a:pt x="4851400" y="622300"/>
                    </a:lnTo>
                    <a:lnTo>
                      <a:pt x="4800600" y="768350"/>
                    </a:lnTo>
                    <a:lnTo>
                      <a:pt x="4603750" y="717550"/>
                    </a:lnTo>
                    <a:lnTo>
                      <a:pt x="4667250" y="609600"/>
                    </a:lnTo>
                    <a:lnTo>
                      <a:pt x="4476750" y="476250"/>
                    </a:lnTo>
                    <a:lnTo>
                      <a:pt x="4445000" y="368300"/>
                    </a:lnTo>
                    <a:lnTo>
                      <a:pt x="4254500" y="323850"/>
                    </a:lnTo>
                    <a:lnTo>
                      <a:pt x="4013200" y="330200"/>
                    </a:lnTo>
                    <a:lnTo>
                      <a:pt x="3937000" y="330200"/>
                    </a:lnTo>
                    <a:lnTo>
                      <a:pt x="3981450" y="260350"/>
                    </a:lnTo>
                    <a:lnTo>
                      <a:pt x="3867150" y="317500"/>
                    </a:lnTo>
                    <a:lnTo>
                      <a:pt x="3784600" y="355600"/>
                    </a:lnTo>
                    <a:lnTo>
                      <a:pt x="3670300" y="387350"/>
                    </a:lnTo>
                    <a:lnTo>
                      <a:pt x="3632200" y="323850"/>
                    </a:lnTo>
                    <a:lnTo>
                      <a:pt x="3816350" y="266700"/>
                    </a:lnTo>
                    <a:lnTo>
                      <a:pt x="3733800" y="228600"/>
                    </a:lnTo>
                    <a:lnTo>
                      <a:pt x="3625850" y="234950"/>
                    </a:lnTo>
                    <a:lnTo>
                      <a:pt x="3492500" y="228600"/>
                    </a:lnTo>
                    <a:lnTo>
                      <a:pt x="3422650" y="196850"/>
                    </a:lnTo>
                    <a:lnTo>
                      <a:pt x="3232150" y="222250"/>
                    </a:lnTo>
                    <a:lnTo>
                      <a:pt x="2876550" y="196850"/>
                    </a:lnTo>
                    <a:lnTo>
                      <a:pt x="2400300" y="177800"/>
                    </a:lnTo>
                    <a:lnTo>
                      <a:pt x="2044700" y="171450"/>
                    </a:lnTo>
                    <a:lnTo>
                      <a:pt x="1168400" y="63500"/>
                    </a:lnTo>
                    <a:lnTo>
                      <a:pt x="806450" y="0"/>
                    </a:lnTo>
                    <a:lnTo>
                      <a:pt x="781050" y="50800"/>
                    </a:lnTo>
                    <a:lnTo>
                      <a:pt x="698500" y="19050"/>
                    </a:lnTo>
                    <a:lnTo>
                      <a:pt x="647700" y="120650"/>
                    </a:lnTo>
                    <a:lnTo>
                      <a:pt x="539750" y="254000"/>
                    </a:lnTo>
                    <a:lnTo>
                      <a:pt x="400050" y="355600"/>
                    </a:lnTo>
                    <a:lnTo>
                      <a:pt x="247650" y="463550"/>
                    </a:lnTo>
                    <a:lnTo>
                      <a:pt x="114300" y="692150"/>
                    </a:lnTo>
                    <a:lnTo>
                      <a:pt x="6350" y="901700"/>
                    </a:lnTo>
                    <a:lnTo>
                      <a:pt x="6350" y="1117600"/>
                    </a:lnTo>
                    <a:lnTo>
                      <a:pt x="31750" y="1219200"/>
                    </a:lnTo>
                    <a:lnTo>
                      <a:pt x="0" y="1257300"/>
                    </a:lnTo>
                    <a:lnTo>
                      <a:pt x="0" y="1314450"/>
                    </a:lnTo>
                    <a:lnTo>
                      <a:pt x="88900" y="1320800"/>
                    </a:lnTo>
                    <a:lnTo>
                      <a:pt x="177800" y="1441450"/>
                    </a:lnTo>
                    <a:lnTo>
                      <a:pt x="254000" y="1511300"/>
                    </a:lnTo>
                    <a:lnTo>
                      <a:pt x="241300" y="1581150"/>
                    </a:lnTo>
                    <a:lnTo>
                      <a:pt x="209550" y="1574800"/>
                    </a:lnTo>
                    <a:lnTo>
                      <a:pt x="209550" y="1619250"/>
                    </a:lnTo>
                    <a:lnTo>
                      <a:pt x="330200" y="1625600"/>
                    </a:lnTo>
                    <a:lnTo>
                      <a:pt x="495300" y="1619250"/>
                    </a:lnTo>
                    <a:lnTo>
                      <a:pt x="527050" y="1689100"/>
                    </a:lnTo>
                    <a:lnTo>
                      <a:pt x="628650" y="1727200"/>
                    </a:lnTo>
                    <a:lnTo>
                      <a:pt x="755650" y="1809750"/>
                    </a:lnTo>
                    <a:lnTo>
                      <a:pt x="882650" y="1835150"/>
                    </a:lnTo>
                    <a:lnTo>
                      <a:pt x="1054100" y="1905000"/>
                    </a:lnTo>
                    <a:lnTo>
                      <a:pt x="1231900" y="1924050"/>
                    </a:lnTo>
                    <a:lnTo>
                      <a:pt x="1384300" y="1936750"/>
                    </a:lnTo>
                    <a:lnTo>
                      <a:pt x="1409700" y="1892300"/>
                    </a:lnTo>
                    <a:lnTo>
                      <a:pt x="1422400" y="1866900"/>
                    </a:lnTo>
                    <a:lnTo>
                      <a:pt x="1562100" y="1879600"/>
                    </a:lnTo>
                    <a:lnTo>
                      <a:pt x="1663700" y="1898650"/>
                    </a:lnTo>
                    <a:lnTo>
                      <a:pt x="1778000" y="2032000"/>
                    </a:lnTo>
                    <a:lnTo>
                      <a:pt x="1828800" y="2108200"/>
                    </a:lnTo>
                    <a:lnTo>
                      <a:pt x="1835150" y="2082800"/>
                    </a:lnTo>
                    <a:lnTo>
                      <a:pt x="1835150" y="2159000"/>
                    </a:lnTo>
                    <a:lnTo>
                      <a:pt x="1885950" y="2216150"/>
                    </a:lnTo>
                    <a:lnTo>
                      <a:pt x="1974850" y="2273300"/>
                    </a:lnTo>
                    <a:lnTo>
                      <a:pt x="2089150" y="2305050"/>
                    </a:lnTo>
                    <a:close/>
                  </a:path>
                </a:pathLst>
              </a:cu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solidFill>
                    <a:schemeClr val="tx1"/>
                  </a:solidFill>
                </a:endParaRPr>
              </a:p>
            </p:txBody>
          </p:sp>
          <p:grpSp>
            <p:nvGrpSpPr>
              <p:cNvPr id="229" name="Group 228"/>
              <p:cNvGrpSpPr/>
              <p:nvPr/>
            </p:nvGrpSpPr>
            <p:grpSpPr>
              <a:xfrm>
                <a:off x="5535139" y="-1977600"/>
                <a:ext cx="5586483" cy="2314074"/>
                <a:chOff x="5594364" y="1746753"/>
                <a:chExt cx="5586483" cy="2314074"/>
              </a:xfrm>
            </p:grpSpPr>
            <p:cxnSp>
              <p:nvCxnSpPr>
                <p:cNvPr id="244" name="Straight Connector 243"/>
                <p:cNvCxnSpPr/>
                <p:nvPr/>
              </p:nvCxnSpPr>
              <p:spPr>
                <a:xfrm flipH="1">
                  <a:off x="7763051" y="3607885"/>
                  <a:ext cx="1131952" cy="87273"/>
                </a:xfrm>
                <a:prstGeom prst="line">
                  <a:avLst/>
                </a:prstGeom>
                <a:ln w="25400" cap="rnd">
                  <a:solidFill>
                    <a:schemeClr val="tx1">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245" name="Group 244"/>
                <p:cNvGrpSpPr/>
                <p:nvPr/>
              </p:nvGrpSpPr>
              <p:grpSpPr>
                <a:xfrm>
                  <a:off x="5594364" y="1746753"/>
                  <a:ext cx="5586483" cy="2314074"/>
                  <a:chOff x="5594364" y="1746753"/>
                  <a:chExt cx="5586483" cy="2314074"/>
                </a:xfrm>
              </p:grpSpPr>
              <p:cxnSp>
                <p:nvCxnSpPr>
                  <p:cNvPr id="246" name="Straight Connector 245"/>
                  <p:cNvCxnSpPr/>
                  <p:nvPr/>
                </p:nvCxnSpPr>
                <p:spPr>
                  <a:xfrm flipH="1" flipV="1">
                    <a:off x="8895002" y="3607885"/>
                    <a:ext cx="2285844" cy="452941"/>
                  </a:xfrm>
                  <a:prstGeom prst="line">
                    <a:avLst/>
                  </a:prstGeom>
                  <a:ln w="25400" cap="rnd">
                    <a:solidFill>
                      <a:schemeClr val="tx1">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nvGrpSpPr>
                  <p:cNvPr id="247" name="Group 246"/>
                  <p:cNvGrpSpPr/>
                  <p:nvPr/>
                </p:nvGrpSpPr>
                <p:grpSpPr>
                  <a:xfrm>
                    <a:off x="5594364" y="1746753"/>
                    <a:ext cx="5586483" cy="2314074"/>
                    <a:chOff x="5594364" y="1746753"/>
                    <a:chExt cx="5586483" cy="2314074"/>
                  </a:xfrm>
                </p:grpSpPr>
                <p:cxnSp>
                  <p:nvCxnSpPr>
                    <p:cNvPr id="248" name="Straight Connector 247"/>
                    <p:cNvCxnSpPr/>
                    <p:nvPr/>
                  </p:nvCxnSpPr>
                  <p:spPr>
                    <a:xfrm flipV="1">
                      <a:off x="5691300" y="2063750"/>
                      <a:ext cx="1076452" cy="333919"/>
                    </a:xfrm>
                    <a:prstGeom prst="line">
                      <a:avLst/>
                    </a:prstGeom>
                    <a:ln w="25400" cap="rnd">
                      <a:solidFill>
                        <a:schemeClr val="tx1">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49" name="Straight Connector 248"/>
                    <p:cNvCxnSpPr/>
                    <p:nvPr/>
                  </p:nvCxnSpPr>
                  <p:spPr>
                    <a:xfrm>
                      <a:off x="5594364" y="3030538"/>
                      <a:ext cx="1813087" cy="211679"/>
                    </a:xfrm>
                    <a:prstGeom prst="line">
                      <a:avLst/>
                    </a:prstGeom>
                    <a:ln w="25400" cap="rnd">
                      <a:solidFill>
                        <a:schemeClr val="tx1">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0" name="Straight Connector 249"/>
                    <p:cNvCxnSpPr/>
                    <p:nvPr/>
                  </p:nvCxnSpPr>
                  <p:spPr>
                    <a:xfrm>
                      <a:off x="5594364" y="3030538"/>
                      <a:ext cx="2133600" cy="664620"/>
                    </a:xfrm>
                    <a:prstGeom prst="line">
                      <a:avLst/>
                    </a:prstGeom>
                    <a:ln w="25400" cap="rnd">
                      <a:solidFill>
                        <a:schemeClr val="tx1">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1" name="Straight Connector 250"/>
                    <p:cNvCxnSpPr/>
                    <p:nvPr/>
                  </p:nvCxnSpPr>
                  <p:spPr>
                    <a:xfrm flipV="1">
                      <a:off x="7407451" y="2720976"/>
                      <a:ext cx="1855851" cy="521241"/>
                    </a:xfrm>
                    <a:prstGeom prst="line">
                      <a:avLst/>
                    </a:prstGeom>
                    <a:ln w="25400" cap="rnd">
                      <a:solidFill>
                        <a:schemeClr val="tx1">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2" name="Straight Connector 251"/>
                    <p:cNvCxnSpPr/>
                    <p:nvPr/>
                  </p:nvCxnSpPr>
                  <p:spPr>
                    <a:xfrm flipV="1">
                      <a:off x="7763051" y="1925639"/>
                      <a:ext cx="347599" cy="1769519"/>
                    </a:xfrm>
                    <a:prstGeom prst="line">
                      <a:avLst/>
                    </a:prstGeom>
                    <a:ln w="25400" cap="rnd">
                      <a:solidFill>
                        <a:schemeClr val="tx1">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3" name="Straight Connector 252"/>
                    <p:cNvCxnSpPr/>
                    <p:nvPr/>
                  </p:nvCxnSpPr>
                  <p:spPr>
                    <a:xfrm>
                      <a:off x="6767752" y="2063750"/>
                      <a:ext cx="639699" cy="1178467"/>
                    </a:xfrm>
                    <a:prstGeom prst="line">
                      <a:avLst/>
                    </a:prstGeom>
                    <a:ln w="25400" cap="rnd">
                      <a:solidFill>
                        <a:schemeClr val="tx1">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4" name="Straight Connector 253"/>
                    <p:cNvCxnSpPr/>
                    <p:nvPr/>
                  </p:nvCxnSpPr>
                  <p:spPr>
                    <a:xfrm flipH="1">
                      <a:off x="8847152" y="2810398"/>
                      <a:ext cx="1355950" cy="797486"/>
                    </a:xfrm>
                    <a:prstGeom prst="line">
                      <a:avLst/>
                    </a:prstGeom>
                    <a:ln w="25400" cap="rnd">
                      <a:solidFill>
                        <a:schemeClr val="tx1">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5" name="Straight Connector 254"/>
                    <p:cNvCxnSpPr/>
                    <p:nvPr/>
                  </p:nvCxnSpPr>
                  <p:spPr>
                    <a:xfrm flipH="1" flipV="1">
                      <a:off x="10203102" y="2810398"/>
                      <a:ext cx="977744" cy="1250428"/>
                    </a:xfrm>
                    <a:prstGeom prst="line">
                      <a:avLst/>
                    </a:prstGeom>
                    <a:ln w="25400" cap="rnd">
                      <a:solidFill>
                        <a:schemeClr val="tx1">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6" name="Straight Connector 255"/>
                    <p:cNvCxnSpPr/>
                    <p:nvPr/>
                  </p:nvCxnSpPr>
                  <p:spPr>
                    <a:xfrm flipH="1" flipV="1">
                      <a:off x="10795049" y="2930525"/>
                      <a:ext cx="385798" cy="1130302"/>
                    </a:xfrm>
                    <a:prstGeom prst="line">
                      <a:avLst/>
                    </a:prstGeom>
                    <a:ln w="25400" cap="rnd">
                      <a:solidFill>
                        <a:schemeClr val="tx1">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7" name="Straight Connector 256"/>
                    <p:cNvCxnSpPr/>
                    <p:nvPr/>
                  </p:nvCxnSpPr>
                  <p:spPr>
                    <a:xfrm flipH="1">
                      <a:off x="10203104" y="2130967"/>
                      <a:ext cx="682496" cy="679450"/>
                    </a:xfrm>
                    <a:prstGeom prst="line">
                      <a:avLst/>
                    </a:prstGeom>
                    <a:ln w="25400" cap="rnd">
                      <a:solidFill>
                        <a:schemeClr val="tx1">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8" name="Straight Connector 257"/>
                    <p:cNvCxnSpPr/>
                    <p:nvPr/>
                  </p:nvCxnSpPr>
                  <p:spPr>
                    <a:xfrm flipH="1">
                      <a:off x="9263302" y="2130967"/>
                      <a:ext cx="1622298" cy="590009"/>
                    </a:xfrm>
                    <a:prstGeom prst="line">
                      <a:avLst/>
                    </a:prstGeom>
                    <a:ln w="25400" cap="rnd">
                      <a:solidFill>
                        <a:schemeClr val="tx1">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59" name="Straight Connector 258"/>
                    <p:cNvCxnSpPr/>
                    <p:nvPr/>
                  </p:nvCxnSpPr>
                  <p:spPr>
                    <a:xfrm flipH="1" flipV="1">
                      <a:off x="9263304" y="2720976"/>
                      <a:ext cx="939800" cy="89442"/>
                    </a:xfrm>
                    <a:prstGeom prst="line">
                      <a:avLst/>
                    </a:prstGeom>
                    <a:ln w="25400" cap="rnd">
                      <a:solidFill>
                        <a:schemeClr val="tx1">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0" name="Straight Connector 259"/>
                    <p:cNvCxnSpPr/>
                    <p:nvPr/>
                  </p:nvCxnSpPr>
                  <p:spPr>
                    <a:xfrm flipH="1">
                      <a:off x="6767752" y="1925639"/>
                      <a:ext cx="1342898" cy="138111"/>
                    </a:xfrm>
                    <a:prstGeom prst="line">
                      <a:avLst/>
                    </a:prstGeom>
                    <a:ln w="25400" cap="rnd">
                      <a:solidFill>
                        <a:schemeClr val="tx1">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261" name="Straight Connector 260"/>
                    <p:cNvCxnSpPr/>
                    <p:nvPr/>
                  </p:nvCxnSpPr>
                  <p:spPr>
                    <a:xfrm flipH="1" flipV="1">
                      <a:off x="6143802" y="1746753"/>
                      <a:ext cx="623950" cy="316997"/>
                    </a:xfrm>
                    <a:prstGeom prst="line">
                      <a:avLst/>
                    </a:prstGeom>
                    <a:ln w="25400" cap="rnd">
                      <a:solidFill>
                        <a:schemeClr val="tx1">
                          <a:lumMod val="5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230" name="Group 229"/>
              <p:cNvGrpSpPr/>
              <p:nvPr/>
            </p:nvGrpSpPr>
            <p:grpSpPr>
              <a:xfrm>
                <a:off x="5403778" y="-2270203"/>
                <a:ext cx="5862242" cy="3101975"/>
                <a:chOff x="5463003" y="1454150"/>
                <a:chExt cx="5862242" cy="3101975"/>
              </a:xfrm>
              <a:solidFill>
                <a:schemeClr val="tx1"/>
              </a:solidFill>
            </p:grpSpPr>
            <p:sp>
              <p:nvSpPr>
                <p:cNvPr id="231" name="Freeform 16"/>
                <p:cNvSpPr>
                  <a:spLocks/>
                </p:cNvSpPr>
                <p:nvPr/>
              </p:nvSpPr>
              <p:spPr bwMode="auto">
                <a:xfrm>
                  <a:off x="10058703" y="2444750"/>
                  <a:ext cx="288798" cy="731334"/>
                </a:xfrm>
                <a:custGeom>
                  <a:avLst/>
                  <a:gdLst/>
                  <a:ahLst/>
                  <a:cxnLst/>
                  <a:rect l="l" t="t" r="r" b="b"/>
                  <a:pathLst>
                    <a:path w="216887" h="549236">
                      <a:moveTo>
                        <a:pt x="54935" y="101878"/>
                      </a:moveTo>
                      <a:cubicBezTo>
                        <a:pt x="55292" y="101878"/>
                        <a:pt x="55292" y="101878"/>
                        <a:pt x="55648" y="101878"/>
                      </a:cubicBezTo>
                      <a:cubicBezTo>
                        <a:pt x="55648" y="101878"/>
                        <a:pt x="161239" y="101878"/>
                        <a:pt x="161595" y="101878"/>
                      </a:cubicBezTo>
                      <a:cubicBezTo>
                        <a:pt x="192630" y="103660"/>
                        <a:pt x="216887" y="128969"/>
                        <a:pt x="216887" y="159625"/>
                      </a:cubicBezTo>
                      <a:cubicBezTo>
                        <a:pt x="216887" y="176022"/>
                        <a:pt x="216887" y="289020"/>
                        <a:pt x="216887" y="300070"/>
                      </a:cubicBezTo>
                      <a:cubicBezTo>
                        <a:pt x="216887" y="310408"/>
                        <a:pt x="208683" y="319319"/>
                        <a:pt x="197981" y="319675"/>
                      </a:cubicBezTo>
                      <a:cubicBezTo>
                        <a:pt x="197624" y="319675"/>
                        <a:pt x="197268" y="319675"/>
                        <a:pt x="196911" y="319675"/>
                      </a:cubicBezTo>
                      <a:cubicBezTo>
                        <a:pt x="195127" y="319675"/>
                        <a:pt x="192987" y="319319"/>
                        <a:pt x="191560" y="318963"/>
                      </a:cubicBezTo>
                      <a:cubicBezTo>
                        <a:pt x="183355" y="316467"/>
                        <a:pt x="177291" y="308982"/>
                        <a:pt x="177291" y="300070"/>
                      </a:cubicBezTo>
                      <a:cubicBezTo>
                        <a:pt x="177291" y="298645"/>
                        <a:pt x="177648" y="173588"/>
                        <a:pt x="177648" y="173527"/>
                      </a:cubicBezTo>
                      <a:cubicBezTo>
                        <a:pt x="177648" y="173527"/>
                        <a:pt x="177648" y="173527"/>
                        <a:pt x="176355" y="173527"/>
                      </a:cubicBezTo>
                      <a:lnTo>
                        <a:pt x="167303" y="173527"/>
                      </a:lnTo>
                      <a:cubicBezTo>
                        <a:pt x="167303" y="173527"/>
                        <a:pt x="167303" y="501114"/>
                        <a:pt x="167303" y="523214"/>
                      </a:cubicBezTo>
                      <a:cubicBezTo>
                        <a:pt x="167303" y="537829"/>
                        <a:pt x="155174" y="549236"/>
                        <a:pt x="140549" y="549236"/>
                      </a:cubicBezTo>
                      <a:cubicBezTo>
                        <a:pt x="125566" y="549236"/>
                        <a:pt x="113438" y="537829"/>
                        <a:pt x="113438" y="523214"/>
                      </a:cubicBezTo>
                      <a:cubicBezTo>
                        <a:pt x="113438" y="501117"/>
                        <a:pt x="113438" y="320800"/>
                        <a:pt x="113438" y="320745"/>
                      </a:cubicBezTo>
                      <a:cubicBezTo>
                        <a:pt x="106660" y="320745"/>
                        <a:pt x="104520" y="320745"/>
                        <a:pt x="103450" y="320745"/>
                      </a:cubicBezTo>
                      <a:cubicBezTo>
                        <a:pt x="103450" y="320745"/>
                        <a:pt x="103450" y="501114"/>
                        <a:pt x="103450" y="523214"/>
                      </a:cubicBezTo>
                      <a:cubicBezTo>
                        <a:pt x="103450" y="537829"/>
                        <a:pt x="91678" y="549236"/>
                        <a:pt x="77052" y="549236"/>
                      </a:cubicBezTo>
                      <a:cubicBezTo>
                        <a:pt x="76731" y="549236"/>
                        <a:pt x="76699" y="549236"/>
                        <a:pt x="76695" y="549236"/>
                      </a:cubicBezTo>
                      <a:cubicBezTo>
                        <a:pt x="61713" y="549236"/>
                        <a:pt x="49584" y="537829"/>
                        <a:pt x="49584" y="523214"/>
                      </a:cubicBezTo>
                      <a:cubicBezTo>
                        <a:pt x="49584" y="501117"/>
                        <a:pt x="49584" y="173611"/>
                        <a:pt x="49584" y="173527"/>
                      </a:cubicBezTo>
                      <a:cubicBezTo>
                        <a:pt x="39531" y="173527"/>
                        <a:pt x="39247" y="173527"/>
                        <a:pt x="39239" y="173527"/>
                      </a:cubicBezTo>
                      <a:cubicBezTo>
                        <a:pt x="39239" y="173527"/>
                        <a:pt x="39953" y="298644"/>
                        <a:pt x="39953" y="300070"/>
                      </a:cubicBezTo>
                      <a:cubicBezTo>
                        <a:pt x="39953" y="308982"/>
                        <a:pt x="33888" y="316467"/>
                        <a:pt x="25684" y="318963"/>
                      </a:cubicBezTo>
                      <a:cubicBezTo>
                        <a:pt x="23900" y="319319"/>
                        <a:pt x="22117" y="319675"/>
                        <a:pt x="19976" y="319675"/>
                      </a:cubicBezTo>
                      <a:cubicBezTo>
                        <a:pt x="19619" y="319675"/>
                        <a:pt x="19263" y="319675"/>
                        <a:pt x="18906" y="319675"/>
                      </a:cubicBezTo>
                      <a:cubicBezTo>
                        <a:pt x="8561" y="319319"/>
                        <a:pt x="0" y="310408"/>
                        <a:pt x="0" y="300070"/>
                      </a:cubicBezTo>
                      <a:cubicBezTo>
                        <a:pt x="0" y="289020"/>
                        <a:pt x="0" y="176022"/>
                        <a:pt x="0" y="159625"/>
                      </a:cubicBezTo>
                      <a:cubicBezTo>
                        <a:pt x="0" y="128969"/>
                        <a:pt x="24257" y="103660"/>
                        <a:pt x="54935" y="101878"/>
                      </a:cubicBezTo>
                      <a:close/>
                      <a:moveTo>
                        <a:pt x="108061" y="0"/>
                      </a:moveTo>
                      <a:cubicBezTo>
                        <a:pt x="108382" y="0"/>
                        <a:pt x="108414" y="0"/>
                        <a:pt x="108417" y="0"/>
                      </a:cubicBezTo>
                      <a:cubicBezTo>
                        <a:pt x="133348" y="0"/>
                        <a:pt x="153648" y="20322"/>
                        <a:pt x="153648" y="45279"/>
                      </a:cubicBezTo>
                      <a:cubicBezTo>
                        <a:pt x="153648" y="70593"/>
                        <a:pt x="133348" y="90558"/>
                        <a:pt x="108773" y="90558"/>
                      </a:cubicBezTo>
                      <a:cubicBezTo>
                        <a:pt x="83487" y="90558"/>
                        <a:pt x="63542" y="70593"/>
                        <a:pt x="63542" y="45279"/>
                      </a:cubicBezTo>
                      <a:cubicBezTo>
                        <a:pt x="63542" y="20322"/>
                        <a:pt x="83487" y="0"/>
                        <a:pt x="1080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32" name="Freeform 16"/>
                <p:cNvSpPr>
                  <a:spLocks/>
                </p:cNvSpPr>
                <p:nvPr/>
              </p:nvSpPr>
              <p:spPr bwMode="auto">
                <a:xfrm>
                  <a:off x="9118903" y="2444750"/>
                  <a:ext cx="288798" cy="731334"/>
                </a:xfrm>
                <a:custGeom>
                  <a:avLst/>
                  <a:gdLst/>
                  <a:ahLst/>
                  <a:cxnLst/>
                  <a:rect l="l" t="t" r="r" b="b"/>
                  <a:pathLst>
                    <a:path w="216887" h="549236">
                      <a:moveTo>
                        <a:pt x="54935" y="101878"/>
                      </a:moveTo>
                      <a:cubicBezTo>
                        <a:pt x="55292" y="101878"/>
                        <a:pt x="55292" y="101878"/>
                        <a:pt x="55648" y="101878"/>
                      </a:cubicBezTo>
                      <a:cubicBezTo>
                        <a:pt x="55648" y="101878"/>
                        <a:pt x="161239" y="101878"/>
                        <a:pt x="161595" y="101878"/>
                      </a:cubicBezTo>
                      <a:cubicBezTo>
                        <a:pt x="192630" y="103660"/>
                        <a:pt x="216887" y="128969"/>
                        <a:pt x="216887" y="159625"/>
                      </a:cubicBezTo>
                      <a:cubicBezTo>
                        <a:pt x="216887" y="176022"/>
                        <a:pt x="216887" y="289020"/>
                        <a:pt x="216887" y="300070"/>
                      </a:cubicBezTo>
                      <a:cubicBezTo>
                        <a:pt x="216887" y="310408"/>
                        <a:pt x="208683" y="319319"/>
                        <a:pt x="197981" y="319675"/>
                      </a:cubicBezTo>
                      <a:cubicBezTo>
                        <a:pt x="197624" y="319675"/>
                        <a:pt x="197268" y="319675"/>
                        <a:pt x="196911" y="319675"/>
                      </a:cubicBezTo>
                      <a:cubicBezTo>
                        <a:pt x="195127" y="319675"/>
                        <a:pt x="192987" y="319319"/>
                        <a:pt x="191560" y="318963"/>
                      </a:cubicBezTo>
                      <a:cubicBezTo>
                        <a:pt x="183355" y="316467"/>
                        <a:pt x="177291" y="308982"/>
                        <a:pt x="177291" y="300070"/>
                      </a:cubicBezTo>
                      <a:cubicBezTo>
                        <a:pt x="177291" y="298645"/>
                        <a:pt x="177648" y="173588"/>
                        <a:pt x="177648" y="173527"/>
                      </a:cubicBezTo>
                      <a:cubicBezTo>
                        <a:pt x="177648" y="173527"/>
                        <a:pt x="177648" y="173527"/>
                        <a:pt x="176355" y="173527"/>
                      </a:cubicBezTo>
                      <a:lnTo>
                        <a:pt x="167303" y="173527"/>
                      </a:lnTo>
                      <a:cubicBezTo>
                        <a:pt x="167303" y="173527"/>
                        <a:pt x="167303" y="501114"/>
                        <a:pt x="167303" y="523214"/>
                      </a:cubicBezTo>
                      <a:cubicBezTo>
                        <a:pt x="167303" y="537829"/>
                        <a:pt x="155174" y="549236"/>
                        <a:pt x="140549" y="549236"/>
                      </a:cubicBezTo>
                      <a:cubicBezTo>
                        <a:pt x="125566" y="549236"/>
                        <a:pt x="113438" y="537829"/>
                        <a:pt x="113438" y="523214"/>
                      </a:cubicBezTo>
                      <a:cubicBezTo>
                        <a:pt x="113438" y="501117"/>
                        <a:pt x="113438" y="320800"/>
                        <a:pt x="113438" y="320745"/>
                      </a:cubicBezTo>
                      <a:cubicBezTo>
                        <a:pt x="106660" y="320745"/>
                        <a:pt x="104520" y="320745"/>
                        <a:pt x="103450" y="320745"/>
                      </a:cubicBezTo>
                      <a:cubicBezTo>
                        <a:pt x="103450" y="320745"/>
                        <a:pt x="103450" y="501114"/>
                        <a:pt x="103450" y="523214"/>
                      </a:cubicBezTo>
                      <a:cubicBezTo>
                        <a:pt x="103450" y="537829"/>
                        <a:pt x="91678" y="549236"/>
                        <a:pt x="77052" y="549236"/>
                      </a:cubicBezTo>
                      <a:cubicBezTo>
                        <a:pt x="76731" y="549236"/>
                        <a:pt x="76699" y="549236"/>
                        <a:pt x="76695" y="549236"/>
                      </a:cubicBezTo>
                      <a:cubicBezTo>
                        <a:pt x="61713" y="549236"/>
                        <a:pt x="49584" y="537829"/>
                        <a:pt x="49584" y="523214"/>
                      </a:cubicBezTo>
                      <a:cubicBezTo>
                        <a:pt x="49584" y="501117"/>
                        <a:pt x="49584" y="173611"/>
                        <a:pt x="49584" y="173527"/>
                      </a:cubicBezTo>
                      <a:cubicBezTo>
                        <a:pt x="39531" y="173527"/>
                        <a:pt x="39247" y="173527"/>
                        <a:pt x="39239" y="173527"/>
                      </a:cubicBezTo>
                      <a:cubicBezTo>
                        <a:pt x="39239" y="173527"/>
                        <a:pt x="39953" y="298644"/>
                        <a:pt x="39953" y="300070"/>
                      </a:cubicBezTo>
                      <a:cubicBezTo>
                        <a:pt x="39953" y="308982"/>
                        <a:pt x="33888" y="316467"/>
                        <a:pt x="25684" y="318963"/>
                      </a:cubicBezTo>
                      <a:cubicBezTo>
                        <a:pt x="23900" y="319319"/>
                        <a:pt x="22117" y="319675"/>
                        <a:pt x="19976" y="319675"/>
                      </a:cubicBezTo>
                      <a:cubicBezTo>
                        <a:pt x="19619" y="319675"/>
                        <a:pt x="19263" y="319675"/>
                        <a:pt x="18906" y="319675"/>
                      </a:cubicBezTo>
                      <a:cubicBezTo>
                        <a:pt x="8561" y="319319"/>
                        <a:pt x="0" y="310408"/>
                        <a:pt x="0" y="300070"/>
                      </a:cubicBezTo>
                      <a:cubicBezTo>
                        <a:pt x="0" y="289020"/>
                        <a:pt x="0" y="176022"/>
                        <a:pt x="0" y="159625"/>
                      </a:cubicBezTo>
                      <a:cubicBezTo>
                        <a:pt x="0" y="128969"/>
                        <a:pt x="24257" y="103660"/>
                        <a:pt x="54935" y="101878"/>
                      </a:cubicBezTo>
                      <a:close/>
                      <a:moveTo>
                        <a:pt x="108061" y="0"/>
                      </a:moveTo>
                      <a:cubicBezTo>
                        <a:pt x="108382" y="0"/>
                        <a:pt x="108414" y="0"/>
                        <a:pt x="108417" y="0"/>
                      </a:cubicBezTo>
                      <a:cubicBezTo>
                        <a:pt x="133348" y="0"/>
                        <a:pt x="153648" y="20322"/>
                        <a:pt x="153648" y="45279"/>
                      </a:cubicBezTo>
                      <a:cubicBezTo>
                        <a:pt x="153648" y="70593"/>
                        <a:pt x="133348" y="90558"/>
                        <a:pt x="108773" y="90558"/>
                      </a:cubicBezTo>
                      <a:cubicBezTo>
                        <a:pt x="83487" y="90558"/>
                        <a:pt x="63542" y="70593"/>
                        <a:pt x="63542" y="45279"/>
                      </a:cubicBezTo>
                      <a:cubicBezTo>
                        <a:pt x="63542" y="20322"/>
                        <a:pt x="83487" y="0"/>
                        <a:pt x="1080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33" name="Freeform 16"/>
                <p:cNvSpPr>
                  <a:spLocks/>
                </p:cNvSpPr>
                <p:nvPr/>
              </p:nvSpPr>
              <p:spPr bwMode="auto">
                <a:xfrm>
                  <a:off x="7263052" y="2876550"/>
                  <a:ext cx="288798" cy="731334"/>
                </a:xfrm>
                <a:custGeom>
                  <a:avLst/>
                  <a:gdLst/>
                  <a:ahLst/>
                  <a:cxnLst/>
                  <a:rect l="l" t="t" r="r" b="b"/>
                  <a:pathLst>
                    <a:path w="216887" h="549236">
                      <a:moveTo>
                        <a:pt x="54935" y="101878"/>
                      </a:moveTo>
                      <a:cubicBezTo>
                        <a:pt x="55292" y="101878"/>
                        <a:pt x="55292" y="101878"/>
                        <a:pt x="55648" y="101878"/>
                      </a:cubicBezTo>
                      <a:cubicBezTo>
                        <a:pt x="55648" y="101878"/>
                        <a:pt x="161239" y="101878"/>
                        <a:pt x="161595" y="101878"/>
                      </a:cubicBezTo>
                      <a:cubicBezTo>
                        <a:pt x="192630" y="103660"/>
                        <a:pt x="216887" y="128969"/>
                        <a:pt x="216887" y="159625"/>
                      </a:cubicBezTo>
                      <a:cubicBezTo>
                        <a:pt x="216887" y="176022"/>
                        <a:pt x="216887" y="289020"/>
                        <a:pt x="216887" y="300070"/>
                      </a:cubicBezTo>
                      <a:cubicBezTo>
                        <a:pt x="216887" y="310408"/>
                        <a:pt x="208683" y="319319"/>
                        <a:pt x="197981" y="319675"/>
                      </a:cubicBezTo>
                      <a:cubicBezTo>
                        <a:pt x="197624" y="319675"/>
                        <a:pt x="197268" y="319675"/>
                        <a:pt x="196911" y="319675"/>
                      </a:cubicBezTo>
                      <a:cubicBezTo>
                        <a:pt x="195127" y="319675"/>
                        <a:pt x="192987" y="319319"/>
                        <a:pt x="191560" y="318963"/>
                      </a:cubicBezTo>
                      <a:cubicBezTo>
                        <a:pt x="183355" y="316467"/>
                        <a:pt x="177291" y="308982"/>
                        <a:pt x="177291" y="300070"/>
                      </a:cubicBezTo>
                      <a:cubicBezTo>
                        <a:pt x="177291" y="298645"/>
                        <a:pt x="177648" y="173588"/>
                        <a:pt x="177648" y="173527"/>
                      </a:cubicBezTo>
                      <a:cubicBezTo>
                        <a:pt x="177648" y="173527"/>
                        <a:pt x="177648" y="173527"/>
                        <a:pt x="176355" y="173527"/>
                      </a:cubicBezTo>
                      <a:lnTo>
                        <a:pt x="167303" y="173527"/>
                      </a:lnTo>
                      <a:cubicBezTo>
                        <a:pt x="167303" y="173527"/>
                        <a:pt x="167303" y="501114"/>
                        <a:pt x="167303" y="523214"/>
                      </a:cubicBezTo>
                      <a:cubicBezTo>
                        <a:pt x="167303" y="537829"/>
                        <a:pt x="155174" y="549236"/>
                        <a:pt x="140549" y="549236"/>
                      </a:cubicBezTo>
                      <a:cubicBezTo>
                        <a:pt x="125566" y="549236"/>
                        <a:pt x="113438" y="537829"/>
                        <a:pt x="113438" y="523214"/>
                      </a:cubicBezTo>
                      <a:cubicBezTo>
                        <a:pt x="113438" y="501117"/>
                        <a:pt x="113438" y="320800"/>
                        <a:pt x="113438" y="320745"/>
                      </a:cubicBezTo>
                      <a:cubicBezTo>
                        <a:pt x="106660" y="320745"/>
                        <a:pt x="104520" y="320745"/>
                        <a:pt x="103450" y="320745"/>
                      </a:cubicBezTo>
                      <a:cubicBezTo>
                        <a:pt x="103450" y="320745"/>
                        <a:pt x="103450" y="501114"/>
                        <a:pt x="103450" y="523214"/>
                      </a:cubicBezTo>
                      <a:cubicBezTo>
                        <a:pt x="103450" y="537829"/>
                        <a:pt x="91678" y="549236"/>
                        <a:pt x="77052" y="549236"/>
                      </a:cubicBezTo>
                      <a:cubicBezTo>
                        <a:pt x="76731" y="549236"/>
                        <a:pt x="76699" y="549236"/>
                        <a:pt x="76695" y="549236"/>
                      </a:cubicBezTo>
                      <a:cubicBezTo>
                        <a:pt x="61713" y="549236"/>
                        <a:pt x="49584" y="537829"/>
                        <a:pt x="49584" y="523214"/>
                      </a:cubicBezTo>
                      <a:cubicBezTo>
                        <a:pt x="49584" y="501117"/>
                        <a:pt x="49584" y="173611"/>
                        <a:pt x="49584" y="173527"/>
                      </a:cubicBezTo>
                      <a:cubicBezTo>
                        <a:pt x="39531" y="173527"/>
                        <a:pt x="39247" y="173527"/>
                        <a:pt x="39239" y="173527"/>
                      </a:cubicBezTo>
                      <a:cubicBezTo>
                        <a:pt x="39239" y="173527"/>
                        <a:pt x="39953" y="298644"/>
                        <a:pt x="39953" y="300070"/>
                      </a:cubicBezTo>
                      <a:cubicBezTo>
                        <a:pt x="39953" y="308982"/>
                        <a:pt x="33888" y="316467"/>
                        <a:pt x="25684" y="318963"/>
                      </a:cubicBezTo>
                      <a:cubicBezTo>
                        <a:pt x="23900" y="319319"/>
                        <a:pt x="22117" y="319675"/>
                        <a:pt x="19976" y="319675"/>
                      </a:cubicBezTo>
                      <a:cubicBezTo>
                        <a:pt x="19619" y="319675"/>
                        <a:pt x="19263" y="319675"/>
                        <a:pt x="18906" y="319675"/>
                      </a:cubicBezTo>
                      <a:cubicBezTo>
                        <a:pt x="8561" y="319319"/>
                        <a:pt x="0" y="310408"/>
                        <a:pt x="0" y="300070"/>
                      </a:cubicBezTo>
                      <a:cubicBezTo>
                        <a:pt x="0" y="289020"/>
                        <a:pt x="0" y="176022"/>
                        <a:pt x="0" y="159625"/>
                      </a:cubicBezTo>
                      <a:cubicBezTo>
                        <a:pt x="0" y="128969"/>
                        <a:pt x="24257" y="103660"/>
                        <a:pt x="54935" y="101878"/>
                      </a:cubicBezTo>
                      <a:close/>
                      <a:moveTo>
                        <a:pt x="108061" y="0"/>
                      </a:moveTo>
                      <a:cubicBezTo>
                        <a:pt x="108382" y="0"/>
                        <a:pt x="108414" y="0"/>
                        <a:pt x="108417" y="0"/>
                      </a:cubicBezTo>
                      <a:cubicBezTo>
                        <a:pt x="133348" y="0"/>
                        <a:pt x="153648" y="20322"/>
                        <a:pt x="153648" y="45279"/>
                      </a:cubicBezTo>
                      <a:cubicBezTo>
                        <a:pt x="153648" y="70593"/>
                        <a:pt x="133348" y="90558"/>
                        <a:pt x="108773" y="90558"/>
                      </a:cubicBezTo>
                      <a:cubicBezTo>
                        <a:pt x="83487" y="90558"/>
                        <a:pt x="63542" y="70593"/>
                        <a:pt x="63542" y="45279"/>
                      </a:cubicBezTo>
                      <a:cubicBezTo>
                        <a:pt x="63542" y="20322"/>
                        <a:pt x="83487" y="0"/>
                        <a:pt x="1080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34" name="Freeform 16"/>
                <p:cNvSpPr>
                  <a:spLocks/>
                </p:cNvSpPr>
                <p:nvPr/>
              </p:nvSpPr>
              <p:spPr bwMode="auto">
                <a:xfrm>
                  <a:off x="5463003" y="2798763"/>
                  <a:ext cx="288798" cy="731334"/>
                </a:xfrm>
                <a:custGeom>
                  <a:avLst/>
                  <a:gdLst/>
                  <a:ahLst/>
                  <a:cxnLst/>
                  <a:rect l="l" t="t" r="r" b="b"/>
                  <a:pathLst>
                    <a:path w="216887" h="549236">
                      <a:moveTo>
                        <a:pt x="54935" y="101878"/>
                      </a:moveTo>
                      <a:cubicBezTo>
                        <a:pt x="55292" y="101878"/>
                        <a:pt x="55292" y="101878"/>
                        <a:pt x="55648" y="101878"/>
                      </a:cubicBezTo>
                      <a:cubicBezTo>
                        <a:pt x="55648" y="101878"/>
                        <a:pt x="161239" y="101878"/>
                        <a:pt x="161595" y="101878"/>
                      </a:cubicBezTo>
                      <a:cubicBezTo>
                        <a:pt x="192630" y="103660"/>
                        <a:pt x="216887" y="128969"/>
                        <a:pt x="216887" y="159625"/>
                      </a:cubicBezTo>
                      <a:cubicBezTo>
                        <a:pt x="216887" y="176022"/>
                        <a:pt x="216887" y="289020"/>
                        <a:pt x="216887" y="300070"/>
                      </a:cubicBezTo>
                      <a:cubicBezTo>
                        <a:pt x="216887" y="310408"/>
                        <a:pt x="208683" y="319319"/>
                        <a:pt x="197981" y="319675"/>
                      </a:cubicBezTo>
                      <a:cubicBezTo>
                        <a:pt x="197624" y="319675"/>
                        <a:pt x="197268" y="319675"/>
                        <a:pt x="196911" y="319675"/>
                      </a:cubicBezTo>
                      <a:cubicBezTo>
                        <a:pt x="195127" y="319675"/>
                        <a:pt x="192987" y="319319"/>
                        <a:pt x="191560" y="318963"/>
                      </a:cubicBezTo>
                      <a:cubicBezTo>
                        <a:pt x="183355" y="316467"/>
                        <a:pt x="177291" y="308982"/>
                        <a:pt x="177291" y="300070"/>
                      </a:cubicBezTo>
                      <a:cubicBezTo>
                        <a:pt x="177291" y="298645"/>
                        <a:pt x="177648" y="173588"/>
                        <a:pt x="177648" y="173527"/>
                      </a:cubicBezTo>
                      <a:cubicBezTo>
                        <a:pt x="177648" y="173527"/>
                        <a:pt x="177648" y="173527"/>
                        <a:pt x="176355" y="173527"/>
                      </a:cubicBezTo>
                      <a:lnTo>
                        <a:pt x="167303" y="173527"/>
                      </a:lnTo>
                      <a:cubicBezTo>
                        <a:pt x="167303" y="173527"/>
                        <a:pt x="167303" y="501114"/>
                        <a:pt x="167303" y="523214"/>
                      </a:cubicBezTo>
                      <a:cubicBezTo>
                        <a:pt x="167303" y="537829"/>
                        <a:pt x="155174" y="549236"/>
                        <a:pt x="140549" y="549236"/>
                      </a:cubicBezTo>
                      <a:cubicBezTo>
                        <a:pt x="125566" y="549236"/>
                        <a:pt x="113438" y="537829"/>
                        <a:pt x="113438" y="523214"/>
                      </a:cubicBezTo>
                      <a:cubicBezTo>
                        <a:pt x="113438" y="501117"/>
                        <a:pt x="113438" y="320800"/>
                        <a:pt x="113438" y="320745"/>
                      </a:cubicBezTo>
                      <a:cubicBezTo>
                        <a:pt x="106660" y="320745"/>
                        <a:pt x="104520" y="320745"/>
                        <a:pt x="103450" y="320745"/>
                      </a:cubicBezTo>
                      <a:cubicBezTo>
                        <a:pt x="103450" y="320745"/>
                        <a:pt x="103450" y="501114"/>
                        <a:pt x="103450" y="523214"/>
                      </a:cubicBezTo>
                      <a:cubicBezTo>
                        <a:pt x="103450" y="537829"/>
                        <a:pt x="91678" y="549236"/>
                        <a:pt x="77052" y="549236"/>
                      </a:cubicBezTo>
                      <a:cubicBezTo>
                        <a:pt x="76731" y="549236"/>
                        <a:pt x="76699" y="549236"/>
                        <a:pt x="76695" y="549236"/>
                      </a:cubicBezTo>
                      <a:cubicBezTo>
                        <a:pt x="61713" y="549236"/>
                        <a:pt x="49584" y="537829"/>
                        <a:pt x="49584" y="523214"/>
                      </a:cubicBezTo>
                      <a:cubicBezTo>
                        <a:pt x="49584" y="501117"/>
                        <a:pt x="49584" y="173611"/>
                        <a:pt x="49584" y="173527"/>
                      </a:cubicBezTo>
                      <a:cubicBezTo>
                        <a:pt x="39531" y="173527"/>
                        <a:pt x="39247" y="173527"/>
                        <a:pt x="39239" y="173527"/>
                      </a:cubicBezTo>
                      <a:cubicBezTo>
                        <a:pt x="39239" y="173527"/>
                        <a:pt x="39953" y="298644"/>
                        <a:pt x="39953" y="300070"/>
                      </a:cubicBezTo>
                      <a:cubicBezTo>
                        <a:pt x="39953" y="308982"/>
                        <a:pt x="33888" y="316467"/>
                        <a:pt x="25684" y="318963"/>
                      </a:cubicBezTo>
                      <a:cubicBezTo>
                        <a:pt x="23900" y="319319"/>
                        <a:pt x="22117" y="319675"/>
                        <a:pt x="19976" y="319675"/>
                      </a:cubicBezTo>
                      <a:cubicBezTo>
                        <a:pt x="19619" y="319675"/>
                        <a:pt x="19263" y="319675"/>
                        <a:pt x="18906" y="319675"/>
                      </a:cubicBezTo>
                      <a:cubicBezTo>
                        <a:pt x="8561" y="319319"/>
                        <a:pt x="0" y="310408"/>
                        <a:pt x="0" y="300070"/>
                      </a:cubicBezTo>
                      <a:cubicBezTo>
                        <a:pt x="0" y="289020"/>
                        <a:pt x="0" y="176022"/>
                        <a:pt x="0" y="159625"/>
                      </a:cubicBezTo>
                      <a:cubicBezTo>
                        <a:pt x="0" y="128969"/>
                        <a:pt x="24257" y="103660"/>
                        <a:pt x="54935" y="101878"/>
                      </a:cubicBezTo>
                      <a:close/>
                      <a:moveTo>
                        <a:pt x="108061" y="0"/>
                      </a:moveTo>
                      <a:cubicBezTo>
                        <a:pt x="108382" y="0"/>
                        <a:pt x="108414" y="0"/>
                        <a:pt x="108417" y="0"/>
                      </a:cubicBezTo>
                      <a:cubicBezTo>
                        <a:pt x="133348" y="0"/>
                        <a:pt x="153648" y="20322"/>
                        <a:pt x="153648" y="45279"/>
                      </a:cubicBezTo>
                      <a:cubicBezTo>
                        <a:pt x="153648" y="70593"/>
                        <a:pt x="133348" y="90558"/>
                        <a:pt x="108773" y="90558"/>
                      </a:cubicBezTo>
                      <a:cubicBezTo>
                        <a:pt x="83487" y="90558"/>
                        <a:pt x="63542" y="70593"/>
                        <a:pt x="63542" y="45279"/>
                      </a:cubicBezTo>
                      <a:cubicBezTo>
                        <a:pt x="63542" y="20322"/>
                        <a:pt x="83487" y="0"/>
                        <a:pt x="1080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35" name="Freeform 16"/>
                <p:cNvSpPr>
                  <a:spLocks/>
                </p:cNvSpPr>
                <p:nvPr/>
              </p:nvSpPr>
              <p:spPr bwMode="auto">
                <a:xfrm>
                  <a:off x="5485052" y="2032000"/>
                  <a:ext cx="288798" cy="731334"/>
                </a:xfrm>
                <a:custGeom>
                  <a:avLst/>
                  <a:gdLst/>
                  <a:ahLst/>
                  <a:cxnLst/>
                  <a:rect l="l" t="t" r="r" b="b"/>
                  <a:pathLst>
                    <a:path w="216887" h="549236">
                      <a:moveTo>
                        <a:pt x="54935" y="101878"/>
                      </a:moveTo>
                      <a:cubicBezTo>
                        <a:pt x="55292" y="101878"/>
                        <a:pt x="55292" y="101878"/>
                        <a:pt x="55648" y="101878"/>
                      </a:cubicBezTo>
                      <a:cubicBezTo>
                        <a:pt x="55648" y="101878"/>
                        <a:pt x="161239" y="101878"/>
                        <a:pt x="161595" y="101878"/>
                      </a:cubicBezTo>
                      <a:cubicBezTo>
                        <a:pt x="192630" y="103660"/>
                        <a:pt x="216887" y="128969"/>
                        <a:pt x="216887" y="159625"/>
                      </a:cubicBezTo>
                      <a:cubicBezTo>
                        <a:pt x="216887" y="176022"/>
                        <a:pt x="216887" y="289020"/>
                        <a:pt x="216887" y="300070"/>
                      </a:cubicBezTo>
                      <a:cubicBezTo>
                        <a:pt x="216887" y="310408"/>
                        <a:pt x="208683" y="319319"/>
                        <a:pt x="197981" y="319675"/>
                      </a:cubicBezTo>
                      <a:cubicBezTo>
                        <a:pt x="197624" y="319675"/>
                        <a:pt x="197268" y="319675"/>
                        <a:pt x="196911" y="319675"/>
                      </a:cubicBezTo>
                      <a:cubicBezTo>
                        <a:pt x="195127" y="319675"/>
                        <a:pt x="192987" y="319319"/>
                        <a:pt x="191560" y="318963"/>
                      </a:cubicBezTo>
                      <a:cubicBezTo>
                        <a:pt x="183355" y="316467"/>
                        <a:pt x="177291" y="308982"/>
                        <a:pt x="177291" y="300070"/>
                      </a:cubicBezTo>
                      <a:cubicBezTo>
                        <a:pt x="177291" y="298645"/>
                        <a:pt x="177648" y="173588"/>
                        <a:pt x="177648" y="173527"/>
                      </a:cubicBezTo>
                      <a:cubicBezTo>
                        <a:pt x="177648" y="173527"/>
                        <a:pt x="177648" y="173527"/>
                        <a:pt x="176355" y="173527"/>
                      </a:cubicBezTo>
                      <a:lnTo>
                        <a:pt x="167303" y="173527"/>
                      </a:lnTo>
                      <a:cubicBezTo>
                        <a:pt x="167303" y="173527"/>
                        <a:pt x="167303" y="501114"/>
                        <a:pt x="167303" y="523214"/>
                      </a:cubicBezTo>
                      <a:cubicBezTo>
                        <a:pt x="167303" y="537829"/>
                        <a:pt x="155174" y="549236"/>
                        <a:pt x="140549" y="549236"/>
                      </a:cubicBezTo>
                      <a:cubicBezTo>
                        <a:pt x="125566" y="549236"/>
                        <a:pt x="113438" y="537829"/>
                        <a:pt x="113438" y="523214"/>
                      </a:cubicBezTo>
                      <a:cubicBezTo>
                        <a:pt x="113438" y="501117"/>
                        <a:pt x="113438" y="320800"/>
                        <a:pt x="113438" y="320745"/>
                      </a:cubicBezTo>
                      <a:cubicBezTo>
                        <a:pt x="106660" y="320745"/>
                        <a:pt x="104520" y="320745"/>
                        <a:pt x="103450" y="320745"/>
                      </a:cubicBezTo>
                      <a:cubicBezTo>
                        <a:pt x="103450" y="320745"/>
                        <a:pt x="103450" y="501114"/>
                        <a:pt x="103450" y="523214"/>
                      </a:cubicBezTo>
                      <a:cubicBezTo>
                        <a:pt x="103450" y="537829"/>
                        <a:pt x="91678" y="549236"/>
                        <a:pt x="77052" y="549236"/>
                      </a:cubicBezTo>
                      <a:cubicBezTo>
                        <a:pt x="76731" y="549236"/>
                        <a:pt x="76699" y="549236"/>
                        <a:pt x="76695" y="549236"/>
                      </a:cubicBezTo>
                      <a:cubicBezTo>
                        <a:pt x="61713" y="549236"/>
                        <a:pt x="49584" y="537829"/>
                        <a:pt x="49584" y="523214"/>
                      </a:cubicBezTo>
                      <a:cubicBezTo>
                        <a:pt x="49584" y="501117"/>
                        <a:pt x="49584" y="173611"/>
                        <a:pt x="49584" y="173527"/>
                      </a:cubicBezTo>
                      <a:cubicBezTo>
                        <a:pt x="39531" y="173527"/>
                        <a:pt x="39247" y="173527"/>
                        <a:pt x="39239" y="173527"/>
                      </a:cubicBezTo>
                      <a:cubicBezTo>
                        <a:pt x="39239" y="173527"/>
                        <a:pt x="39953" y="298644"/>
                        <a:pt x="39953" y="300070"/>
                      </a:cubicBezTo>
                      <a:cubicBezTo>
                        <a:pt x="39953" y="308982"/>
                        <a:pt x="33888" y="316467"/>
                        <a:pt x="25684" y="318963"/>
                      </a:cubicBezTo>
                      <a:cubicBezTo>
                        <a:pt x="23900" y="319319"/>
                        <a:pt x="22117" y="319675"/>
                        <a:pt x="19976" y="319675"/>
                      </a:cubicBezTo>
                      <a:cubicBezTo>
                        <a:pt x="19619" y="319675"/>
                        <a:pt x="19263" y="319675"/>
                        <a:pt x="18906" y="319675"/>
                      </a:cubicBezTo>
                      <a:cubicBezTo>
                        <a:pt x="8561" y="319319"/>
                        <a:pt x="0" y="310408"/>
                        <a:pt x="0" y="300070"/>
                      </a:cubicBezTo>
                      <a:cubicBezTo>
                        <a:pt x="0" y="289020"/>
                        <a:pt x="0" y="176022"/>
                        <a:pt x="0" y="159625"/>
                      </a:cubicBezTo>
                      <a:cubicBezTo>
                        <a:pt x="0" y="128969"/>
                        <a:pt x="24257" y="103660"/>
                        <a:pt x="54935" y="101878"/>
                      </a:cubicBezTo>
                      <a:close/>
                      <a:moveTo>
                        <a:pt x="108061" y="0"/>
                      </a:moveTo>
                      <a:cubicBezTo>
                        <a:pt x="108382" y="0"/>
                        <a:pt x="108414" y="0"/>
                        <a:pt x="108417" y="0"/>
                      </a:cubicBezTo>
                      <a:cubicBezTo>
                        <a:pt x="133348" y="0"/>
                        <a:pt x="153648" y="20322"/>
                        <a:pt x="153648" y="45279"/>
                      </a:cubicBezTo>
                      <a:cubicBezTo>
                        <a:pt x="153648" y="70593"/>
                        <a:pt x="133348" y="90558"/>
                        <a:pt x="108773" y="90558"/>
                      </a:cubicBezTo>
                      <a:cubicBezTo>
                        <a:pt x="83487" y="90558"/>
                        <a:pt x="63542" y="70593"/>
                        <a:pt x="63542" y="45279"/>
                      </a:cubicBezTo>
                      <a:cubicBezTo>
                        <a:pt x="63542" y="20322"/>
                        <a:pt x="83487" y="0"/>
                        <a:pt x="1080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36" name="Freeform 16"/>
                <p:cNvSpPr>
                  <a:spLocks/>
                </p:cNvSpPr>
                <p:nvPr/>
              </p:nvSpPr>
              <p:spPr bwMode="auto">
                <a:xfrm>
                  <a:off x="7618652" y="3329491"/>
                  <a:ext cx="288798" cy="731334"/>
                </a:xfrm>
                <a:custGeom>
                  <a:avLst/>
                  <a:gdLst/>
                  <a:ahLst/>
                  <a:cxnLst/>
                  <a:rect l="l" t="t" r="r" b="b"/>
                  <a:pathLst>
                    <a:path w="216887" h="549236">
                      <a:moveTo>
                        <a:pt x="54935" y="101878"/>
                      </a:moveTo>
                      <a:cubicBezTo>
                        <a:pt x="55292" y="101878"/>
                        <a:pt x="55292" y="101878"/>
                        <a:pt x="55648" y="101878"/>
                      </a:cubicBezTo>
                      <a:cubicBezTo>
                        <a:pt x="55648" y="101878"/>
                        <a:pt x="161239" y="101878"/>
                        <a:pt x="161595" y="101878"/>
                      </a:cubicBezTo>
                      <a:cubicBezTo>
                        <a:pt x="192630" y="103660"/>
                        <a:pt x="216887" y="128969"/>
                        <a:pt x="216887" y="159625"/>
                      </a:cubicBezTo>
                      <a:cubicBezTo>
                        <a:pt x="216887" y="176022"/>
                        <a:pt x="216887" y="289020"/>
                        <a:pt x="216887" y="300070"/>
                      </a:cubicBezTo>
                      <a:cubicBezTo>
                        <a:pt x="216887" y="310408"/>
                        <a:pt x="208683" y="319319"/>
                        <a:pt x="197981" y="319675"/>
                      </a:cubicBezTo>
                      <a:cubicBezTo>
                        <a:pt x="197624" y="319675"/>
                        <a:pt x="197268" y="319675"/>
                        <a:pt x="196911" y="319675"/>
                      </a:cubicBezTo>
                      <a:cubicBezTo>
                        <a:pt x="195127" y="319675"/>
                        <a:pt x="192987" y="319319"/>
                        <a:pt x="191560" y="318963"/>
                      </a:cubicBezTo>
                      <a:cubicBezTo>
                        <a:pt x="183355" y="316467"/>
                        <a:pt x="177291" y="308982"/>
                        <a:pt x="177291" y="300070"/>
                      </a:cubicBezTo>
                      <a:cubicBezTo>
                        <a:pt x="177291" y="298645"/>
                        <a:pt x="177648" y="173588"/>
                        <a:pt x="177648" y="173527"/>
                      </a:cubicBezTo>
                      <a:cubicBezTo>
                        <a:pt x="177648" y="173527"/>
                        <a:pt x="177648" y="173527"/>
                        <a:pt x="176355" y="173527"/>
                      </a:cubicBezTo>
                      <a:lnTo>
                        <a:pt x="167303" y="173527"/>
                      </a:lnTo>
                      <a:cubicBezTo>
                        <a:pt x="167303" y="173527"/>
                        <a:pt x="167303" y="501114"/>
                        <a:pt x="167303" y="523214"/>
                      </a:cubicBezTo>
                      <a:cubicBezTo>
                        <a:pt x="167303" y="537829"/>
                        <a:pt x="155174" y="549236"/>
                        <a:pt x="140549" y="549236"/>
                      </a:cubicBezTo>
                      <a:cubicBezTo>
                        <a:pt x="125566" y="549236"/>
                        <a:pt x="113438" y="537829"/>
                        <a:pt x="113438" y="523214"/>
                      </a:cubicBezTo>
                      <a:cubicBezTo>
                        <a:pt x="113438" y="501117"/>
                        <a:pt x="113438" y="320800"/>
                        <a:pt x="113438" y="320745"/>
                      </a:cubicBezTo>
                      <a:cubicBezTo>
                        <a:pt x="106660" y="320745"/>
                        <a:pt x="104520" y="320745"/>
                        <a:pt x="103450" y="320745"/>
                      </a:cubicBezTo>
                      <a:cubicBezTo>
                        <a:pt x="103450" y="320745"/>
                        <a:pt x="103450" y="501114"/>
                        <a:pt x="103450" y="523214"/>
                      </a:cubicBezTo>
                      <a:cubicBezTo>
                        <a:pt x="103450" y="537829"/>
                        <a:pt x="91678" y="549236"/>
                        <a:pt x="77052" y="549236"/>
                      </a:cubicBezTo>
                      <a:cubicBezTo>
                        <a:pt x="76731" y="549236"/>
                        <a:pt x="76699" y="549236"/>
                        <a:pt x="76695" y="549236"/>
                      </a:cubicBezTo>
                      <a:cubicBezTo>
                        <a:pt x="61713" y="549236"/>
                        <a:pt x="49584" y="537829"/>
                        <a:pt x="49584" y="523214"/>
                      </a:cubicBezTo>
                      <a:cubicBezTo>
                        <a:pt x="49584" y="501117"/>
                        <a:pt x="49584" y="173611"/>
                        <a:pt x="49584" y="173527"/>
                      </a:cubicBezTo>
                      <a:cubicBezTo>
                        <a:pt x="39531" y="173527"/>
                        <a:pt x="39247" y="173527"/>
                        <a:pt x="39239" y="173527"/>
                      </a:cubicBezTo>
                      <a:cubicBezTo>
                        <a:pt x="39239" y="173527"/>
                        <a:pt x="39953" y="298644"/>
                        <a:pt x="39953" y="300070"/>
                      </a:cubicBezTo>
                      <a:cubicBezTo>
                        <a:pt x="39953" y="308982"/>
                        <a:pt x="33888" y="316467"/>
                        <a:pt x="25684" y="318963"/>
                      </a:cubicBezTo>
                      <a:cubicBezTo>
                        <a:pt x="23900" y="319319"/>
                        <a:pt x="22117" y="319675"/>
                        <a:pt x="19976" y="319675"/>
                      </a:cubicBezTo>
                      <a:cubicBezTo>
                        <a:pt x="19619" y="319675"/>
                        <a:pt x="19263" y="319675"/>
                        <a:pt x="18906" y="319675"/>
                      </a:cubicBezTo>
                      <a:cubicBezTo>
                        <a:pt x="8561" y="319319"/>
                        <a:pt x="0" y="310408"/>
                        <a:pt x="0" y="300070"/>
                      </a:cubicBezTo>
                      <a:cubicBezTo>
                        <a:pt x="0" y="289020"/>
                        <a:pt x="0" y="176022"/>
                        <a:pt x="0" y="159625"/>
                      </a:cubicBezTo>
                      <a:cubicBezTo>
                        <a:pt x="0" y="128969"/>
                        <a:pt x="24257" y="103660"/>
                        <a:pt x="54935" y="101878"/>
                      </a:cubicBezTo>
                      <a:close/>
                      <a:moveTo>
                        <a:pt x="108061" y="0"/>
                      </a:moveTo>
                      <a:cubicBezTo>
                        <a:pt x="108382" y="0"/>
                        <a:pt x="108414" y="0"/>
                        <a:pt x="108417" y="0"/>
                      </a:cubicBezTo>
                      <a:cubicBezTo>
                        <a:pt x="133348" y="0"/>
                        <a:pt x="153648" y="20322"/>
                        <a:pt x="153648" y="45279"/>
                      </a:cubicBezTo>
                      <a:cubicBezTo>
                        <a:pt x="153648" y="70593"/>
                        <a:pt x="133348" y="90558"/>
                        <a:pt x="108773" y="90558"/>
                      </a:cubicBezTo>
                      <a:cubicBezTo>
                        <a:pt x="83487" y="90558"/>
                        <a:pt x="63542" y="70593"/>
                        <a:pt x="63542" y="45279"/>
                      </a:cubicBezTo>
                      <a:cubicBezTo>
                        <a:pt x="63542" y="20322"/>
                        <a:pt x="83487" y="0"/>
                        <a:pt x="1080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37" name="Freeform 16"/>
                <p:cNvSpPr>
                  <a:spLocks/>
                </p:cNvSpPr>
                <p:nvPr/>
              </p:nvSpPr>
              <p:spPr bwMode="auto">
                <a:xfrm>
                  <a:off x="5999402" y="1454150"/>
                  <a:ext cx="288798" cy="731334"/>
                </a:xfrm>
                <a:custGeom>
                  <a:avLst/>
                  <a:gdLst/>
                  <a:ahLst/>
                  <a:cxnLst/>
                  <a:rect l="l" t="t" r="r" b="b"/>
                  <a:pathLst>
                    <a:path w="216887" h="549236">
                      <a:moveTo>
                        <a:pt x="54935" y="101878"/>
                      </a:moveTo>
                      <a:cubicBezTo>
                        <a:pt x="55292" y="101878"/>
                        <a:pt x="55292" y="101878"/>
                        <a:pt x="55648" y="101878"/>
                      </a:cubicBezTo>
                      <a:cubicBezTo>
                        <a:pt x="55648" y="101878"/>
                        <a:pt x="161239" y="101878"/>
                        <a:pt x="161595" y="101878"/>
                      </a:cubicBezTo>
                      <a:cubicBezTo>
                        <a:pt x="192630" y="103660"/>
                        <a:pt x="216887" y="128969"/>
                        <a:pt x="216887" y="159625"/>
                      </a:cubicBezTo>
                      <a:cubicBezTo>
                        <a:pt x="216887" y="176022"/>
                        <a:pt x="216887" y="289020"/>
                        <a:pt x="216887" y="300070"/>
                      </a:cubicBezTo>
                      <a:cubicBezTo>
                        <a:pt x="216887" y="310408"/>
                        <a:pt x="208683" y="319319"/>
                        <a:pt x="197981" y="319675"/>
                      </a:cubicBezTo>
                      <a:cubicBezTo>
                        <a:pt x="197624" y="319675"/>
                        <a:pt x="197268" y="319675"/>
                        <a:pt x="196911" y="319675"/>
                      </a:cubicBezTo>
                      <a:cubicBezTo>
                        <a:pt x="195127" y="319675"/>
                        <a:pt x="192987" y="319319"/>
                        <a:pt x="191560" y="318963"/>
                      </a:cubicBezTo>
                      <a:cubicBezTo>
                        <a:pt x="183355" y="316467"/>
                        <a:pt x="177291" y="308982"/>
                        <a:pt x="177291" y="300070"/>
                      </a:cubicBezTo>
                      <a:cubicBezTo>
                        <a:pt x="177291" y="298645"/>
                        <a:pt x="177648" y="173588"/>
                        <a:pt x="177648" y="173527"/>
                      </a:cubicBezTo>
                      <a:cubicBezTo>
                        <a:pt x="177648" y="173527"/>
                        <a:pt x="177648" y="173527"/>
                        <a:pt x="176355" y="173527"/>
                      </a:cubicBezTo>
                      <a:lnTo>
                        <a:pt x="167303" y="173527"/>
                      </a:lnTo>
                      <a:cubicBezTo>
                        <a:pt x="167303" y="173527"/>
                        <a:pt x="167303" y="501114"/>
                        <a:pt x="167303" y="523214"/>
                      </a:cubicBezTo>
                      <a:cubicBezTo>
                        <a:pt x="167303" y="537829"/>
                        <a:pt x="155174" y="549236"/>
                        <a:pt x="140549" y="549236"/>
                      </a:cubicBezTo>
                      <a:cubicBezTo>
                        <a:pt x="125566" y="549236"/>
                        <a:pt x="113438" y="537829"/>
                        <a:pt x="113438" y="523214"/>
                      </a:cubicBezTo>
                      <a:cubicBezTo>
                        <a:pt x="113438" y="501117"/>
                        <a:pt x="113438" y="320800"/>
                        <a:pt x="113438" y="320745"/>
                      </a:cubicBezTo>
                      <a:cubicBezTo>
                        <a:pt x="106660" y="320745"/>
                        <a:pt x="104520" y="320745"/>
                        <a:pt x="103450" y="320745"/>
                      </a:cubicBezTo>
                      <a:cubicBezTo>
                        <a:pt x="103450" y="320745"/>
                        <a:pt x="103450" y="501114"/>
                        <a:pt x="103450" y="523214"/>
                      </a:cubicBezTo>
                      <a:cubicBezTo>
                        <a:pt x="103450" y="537829"/>
                        <a:pt x="91678" y="549236"/>
                        <a:pt x="77052" y="549236"/>
                      </a:cubicBezTo>
                      <a:cubicBezTo>
                        <a:pt x="76731" y="549236"/>
                        <a:pt x="76699" y="549236"/>
                        <a:pt x="76695" y="549236"/>
                      </a:cubicBezTo>
                      <a:cubicBezTo>
                        <a:pt x="61713" y="549236"/>
                        <a:pt x="49584" y="537829"/>
                        <a:pt x="49584" y="523214"/>
                      </a:cubicBezTo>
                      <a:cubicBezTo>
                        <a:pt x="49584" y="501117"/>
                        <a:pt x="49584" y="173611"/>
                        <a:pt x="49584" y="173527"/>
                      </a:cubicBezTo>
                      <a:cubicBezTo>
                        <a:pt x="39531" y="173527"/>
                        <a:pt x="39247" y="173527"/>
                        <a:pt x="39239" y="173527"/>
                      </a:cubicBezTo>
                      <a:cubicBezTo>
                        <a:pt x="39239" y="173527"/>
                        <a:pt x="39953" y="298644"/>
                        <a:pt x="39953" y="300070"/>
                      </a:cubicBezTo>
                      <a:cubicBezTo>
                        <a:pt x="39953" y="308982"/>
                        <a:pt x="33888" y="316467"/>
                        <a:pt x="25684" y="318963"/>
                      </a:cubicBezTo>
                      <a:cubicBezTo>
                        <a:pt x="23900" y="319319"/>
                        <a:pt x="22117" y="319675"/>
                        <a:pt x="19976" y="319675"/>
                      </a:cubicBezTo>
                      <a:cubicBezTo>
                        <a:pt x="19619" y="319675"/>
                        <a:pt x="19263" y="319675"/>
                        <a:pt x="18906" y="319675"/>
                      </a:cubicBezTo>
                      <a:cubicBezTo>
                        <a:pt x="8561" y="319319"/>
                        <a:pt x="0" y="310408"/>
                        <a:pt x="0" y="300070"/>
                      </a:cubicBezTo>
                      <a:cubicBezTo>
                        <a:pt x="0" y="289020"/>
                        <a:pt x="0" y="176022"/>
                        <a:pt x="0" y="159625"/>
                      </a:cubicBezTo>
                      <a:cubicBezTo>
                        <a:pt x="0" y="128969"/>
                        <a:pt x="24257" y="103660"/>
                        <a:pt x="54935" y="101878"/>
                      </a:cubicBezTo>
                      <a:close/>
                      <a:moveTo>
                        <a:pt x="108061" y="0"/>
                      </a:moveTo>
                      <a:cubicBezTo>
                        <a:pt x="108382" y="0"/>
                        <a:pt x="108414" y="0"/>
                        <a:pt x="108417" y="0"/>
                      </a:cubicBezTo>
                      <a:cubicBezTo>
                        <a:pt x="133348" y="0"/>
                        <a:pt x="153648" y="20322"/>
                        <a:pt x="153648" y="45279"/>
                      </a:cubicBezTo>
                      <a:cubicBezTo>
                        <a:pt x="153648" y="70593"/>
                        <a:pt x="133348" y="90558"/>
                        <a:pt x="108773" y="90558"/>
                      </a:cubicBezTo>
                      <a:cubicBezTo>
                        <a:pt x="83487" y="90558"/>
                        <a:pt x="63542" y="70593"/>
                        <a:pt x="63542" y="45279"/>
                      </a:cubicBezTo>
                      <a:cubicBezTo>
                        <a:pt x="63542" y="20322"/>
                        <a:pt x="83487" y="0"/>
                        <a:pt x="1080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38" name="Freeform 16"/>
                <p:cNvSpPr>
                  <a:spLocks/>
                </p:cNvSpPr>
                <p:nvPr/>
              </p:nvSpPr>
              <p:spPr bwMode="auto">
                <a:xfrm>
                  <a:off x="6623353" y="1765300"/>
                  <a:ext cx="288798" cy="731334"/>
                </a:xfrm>
                <a:custGeom>
                  <a:avLst/>
                  <a:gdLst/>
                  <a:ahLst/>
                  <a:cxnLst/>
                  <a:rect l="l" t="t" r="r" b="b"/>
                  <a:pathLst>
                    <a:path w="216887" h="549236">
                      <a:moveTo>
                        <a:pt x="54935" y="101878"/>
                      </a:moveTo>
                      <a:cubicBezTo>
                        <a:pt x="55292" y="101878"/>
                        <a:pt x="55292" y="101878"/>
                        <a:pt x="55648" y="101878"/>
                      </a:cubicBezTo>
                      <a:cubicBezTo>
                        <a:pt x="55648" y="101878"/>
                        <a:pt x="161239" y="101878"/>
                        <a:pt x="161595" y="101878"/>
                      </a:cubicBezTo>
                      <a:cubicBezTo>
                        <a:pt x="192630" y="103660"/>
                        <a:pt x="216887" y="128969"/>
                        <a:pt x="216887" y="159625"/>
                      </a:cubicBezTo>
                      <a:cubicBezTo>
                        <a:pt x="216887" y="176022"/>
                        <a:pt x="216887" y="289020"/>
                        <a:pt x="216887" y="300070"/>
                      </a:cubicBezTo>
                      <a:cubicBezTo>
                        <a:pt x="216887" y="310408"/>
                        <a:pt x="208683" y="319319"/>
                        <a:pt x="197981" y="319675"/>
                      </a:cubicBezTo>
                      <a:cubicBezTo>
                        <a:pt x="197624" y="319675"/>
                        <a:pt x="197268" y="319675"/>
                        <a:pt x="196911" y="319675"/>
                      </a:cubicBezTo>
                      <a:cubicBezTo>
                        <a:pt x="195127" y="319675"/>
                        <a:pt x="192987" y="319319"/>
                        <a:pt x="191560" y="318963"/>
                      </a:cubicBezTo>
                      <a:cubicBezTo>
                        <a:pt x="183355" y="316467"/>
                        <a:pt x="177291" y="308982"/>
                        <a:pt x="177291" y="300070"/>
                      </a:cubicBezTo>
                      <a:cubicBezTo>
                        <a:pt x="177291" y="298645"/>
                        <a:pt x="177648" y="173588"/>
                        <a:pt x="177648" y="173527"/>
                      </a:cubicBezTo>
                      <a:cubicBezTo>
                        <a:pt x="177648" y="173527"/>
                        <a:pt x="177648" y="173527"/>
                        <a:pt x="176355" y="173527"/>
                      </a:cubicBezTo>
                      <a:lnTo>
                        <a:pt x="167303" y="173527"/>
                      </a:lnTo>
                      <a:cubicBezTo>
                        <a:pt x="167303" y="173527"/>
                        <a:pt x="167303" y="501114"/>
                        <a:pt x="167303" y="523214"/>
                      </a:cubicBezTo>
                      <a:cubicBezTo>
                        <a:pt x="167303" y="537829"/>
                        <a:pt x="155174" y="549236"/>
                        <a:pt x="140549" y="549236"/>
                      </a:cubicBezTo>
                      <a:cubicBezTo>
                        <a:pt x="125566" y="549236"/>
                        <a:pt x="113438" y="537829"/>
                        <a:pt x="113438" y="523214"/>
                      </a:cubicBezTo>
                      <a:cubicBezTo>
                        <a:pt x="113438" y="501117"/>
                        <a:pt x="113438" y="320800"/>
                        <a:pt x="113438" y="320745"/>
                      </a:cubicBezTo>
                      <a:cubicBezTo>
                        <a:pt x="106660" y="320745"/>
                        <a:pt x="104520" y="320745"/>
                        <a:pt x="103450" y="320745"/>
                      </a:cubicBezTo>
                      <a:cubicBezTo>
                        <a:pt x="103450" y="320745"/>
                        <a:pt x="103450" y="501114"/>
                        <a:pt x="103450" y="523214"/>
                      </a:cubicBezTo>
                      <a:cubicBezTo>
                        <a:pt x="103450" y="537829"/>
                        <a:pt x="91678" y="549236"/>
                        <a:pt x="77052" y="549236"/>
                      </a:cubicBezTo>
                      <a:cubicBezTo>
                        <a:pt x="76731" y="549236"/>
                        <a:pt x="76699" y="549236"/>
                        <a:pt x="76695" y="549236"/>
                      </a:cubicBezTo>
                      <a:cubicBezTo>
                        <a:pt x="61713" y="549236"/>
                        <a:pt x="49584" y="537829"/>
                        <a:pt x="49584" y="523214"/>
                      </a:cubicBezTo>
                      <a:cubicBezTo>
                        <a:pt x="49584" y="501117"/>
                        <a:pt x="49584" y="173611"/>
                        <a:pt x="49584" y="173527"/>
                      </a:cubicBezTo>
                      <a:cubicBezTo>
                        <a:pt x="39531" y="173527"/>
                        <a:pt x="39247" y="173527"/>
                        <a:pt x="39239" y="173527"/>
                      </a:cubicBezTo>
                      <a:cubicBezTo>
                        <a:pt x="39239" y="173527"/>
                        <a:pt x="39953" y="298644"/>
                        <a:pt x="39953" y="300070"/>
                      </a:cubicBezTo>
                      <a:cubicBezTo>
                        <a:pt x="39953" y="308982"/>
                        <a:pt x="33888" y="316467"/>
                        <a:pt x="25684" y="318963"/>
                      </a:cubicBezTo>
                      <a:cubicBezTo>
                        <a:pt x="23900" y="319319"/>
                        <a:pt x="22117" y="319675"/>
                        <a:pt x="19976" y="319675"/>
                      </a:cubicBezTo>
                      <a:cubicBezTo>
                        <a:pt x="19619" y="319675"/>
                        <a:pt x="19263" y="319675"/>
                        <a:pt x="18906" y="319675"/>
                      </a:cubicBezTo>
                      <a:cubicBezTo>
                        <a:pt x="8561" y="319319"/>
                        <a:pt x="0" y="310408"/>
                        <a:pt x="0" y="300070"/>
                      </a:cubicBezTo>
                      <a:cubicBezTo>
                        <a:pt x="0" y="289020"/>
                        <a:pt x="0" y="176022"/>
                        <a:pt x="0" y="159625"/>
                      </a:cubicBezTo>
                      <a:cubicBezTo>
                        <a:pt x="0" y="128969"/>
                        <a:pt x="24257" y="103660"/>
                        <a:pt x="54935" y="101878"/>
                      </a:cubicBezTo>
                      <a:close/>
                      <a:moveTo>
                        <a:pt x="108061" y="0"/>
                      </a:moveTo>
                      <a:cubicBezTo>
                        <a:pt x="108382" y="0"/>
                        <a:pt x="108414" y="0"/>
                        <a:pt x="108417" y="0"/>
                      </a:cubicBezTo>
                      <a:cubicBezTo>
                        <a:pt x="133348" y="0"/>
                        <a:pt x="153648" y="20322"/>
                        <a:pt x="153648" y="45279"/>
                      </a:cubicBezTo>
                      <a:cubicBezTo>
                        <a:pt x="153648" y="70593"/>
                        <a:pt x="133348" y="90558"/>
                        <a:pt x="108773" y="90558"/>
                      </a:cubicBezTo>
                      <a:cubicBezTo>
                        <a:pt x="83487" y="90558"/>
                        <a:pt x="63542" y="70593"/>
                        <a:pt x="63542" y="45279"/>
                      </a:cubicBezTo>
                      <a:cubicBezTo>
                        <a:pt x="63542" y="20322"/>
                        <a:pt x="83487" y="0"/>
                        <a:pt x="1080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39" name="Freeform 16"/>
                <p:cNvSpPr>
                  <a:spLocks/>
                </p:cNvSpPr>
                <p:nvPr/>
              </p:nvSpPr>
              <p:spPr bwMode="auto">
                <a:xfrm>
                  <a:off x="7958250" y="1612900"/>
                  <a:ext cx="288798" cy="731334"/>
                </a:xfrm>
                <a:custGeom>
                  <a:avLst/>
                  <a:gdLst/>
                  <a:ahLst/>
                  <a:cxnLst/>
                  <a:rect l="l" t="t" r="r" b="b"/>
                  <a:pathLst>
                    <a:path w="216887" h="549236">
                      <a:moveTo>
                        <a:pt x="54935" y="101878"/>
                      </a:moveTo>
                      <a:cubicBezTo>
                        <a:pt x="55292" y="101878"/>
                        <a:pt x="55292" y="101878"/>
                        <a:pt x="55648" y="101878"/>
                      </a:cubicBezTo>
                      <a:cubicBezTo>
                        <a:pt x="55648" y="101878"/>
                        <a:pt x="161239" y="101878"/>
                        <a:pt x="161595" y="101878"/>
                      </a:cubicBezTo>
                      <a:cubicBezTo>
                        <a:pt x="192630" y="103660"/>
                        <a:pt x="216887" y="128969"/>
                        <a:pt x="216887" y="159625"/>
                      </a:cubicBezTo>
                      <a:cubicBezTo>
                        <a:pt x="216887" y="176022"/>
                        <a:pt x="216887" y="289020"/>
                        <a:pt x="216887" y="300070"/>
                      </a:cubicBezTo>
                      <a:cubicBezTo>
                        <a:pt x="216887" y="310408"/>
                        <a:pt x="208683" y="319319"/>
                        <a:pt x="197981" y="319675"/>
                      </a:cubicBezTo>
                      <a:cubicBezTo>
                        <a:pt x="197624" y="319675"/>
                        <a:pt x="197268" y="319675"/>
                        <a:pt x="196911" y="319675"/>
                      </a:cubicBezTo>
                      <a:cubicBezTo>
                        <a:pt x="195127" y="319675"/>
                        <a:pt x="192987" y="319319"/>
                        <a:pt x="191560" y="318963"/>
                      </a:cubicBezTo>
                      <a:cubicBezTo>
                        <a:pt x="183355" y="316467"/>
                        <a:pt x="177291" y="308982"/>
                        <a:pt x="177291" y="300070"/>
                      </a:cubicBezTo>
                      <a:cubicBezTo>
                        <a:pt x="177291" y="298645"/>
                        <a:pt x="177648" y="173588"/>
                        <a:pt x="177648" y="173527"/>
                      </a:cubicBezTo>
                      <a:cubicBezTo>
                        <a:pt x="177648" y="173527"/>
                        <a:pt x="177648" y="173527"/>
                        <a:pt x="176355" y="173527"/>
                      </a:cubicBezTo>
                      <a:lnTo>
                        <a:pt x="167303" y="173527"/>
                      </a:lnTo>
                      <a:cubicBezTo>
                        <a:pt x="167303" y="173527"/>
                        <a:pt x="167303" y="501114"/>
                        <a:pt x="167303" y="523214"/>
                      </a:cubicBezTo>
                      <a:cubicBezTo>
                        <a:pt x="167303" y="537829"/>
                        <a:pt x="155174" y="549236"/>
                        <a:pt x="140549" y="549236"/>
                      </a:cubicBezTo>
                      <a:cubicBezTo>
                        <a:pt x="125566" y="549236"/>
                        <a:pt x="113438" y="537829"/>
                        <a:pt x="113438" y="523214"/>
                      </a:cubicBezTo>
                      <a:cubicBezTo>
                        <a:pt x="113438" y="501117"/>
                        <a:pt x="113438" y="320800"/>
                        <a:pt x="113438" y="320745"/>
                      </a:cubicBezTo>
                      <a:cubicBezTo>
                        <a:pt x="106660" y="320745"/>
                        <a:pt x="104520" y="320745"/>
                        <a:pt x="103450" y="320745"/>
                      </a:cubicBezTo>
                      <a:cubicBezTo>
                        <a:pt x="103450" y="320745"/>
                        <a:pt x="103450" y="501114"/>
                        <a:pt x="103450" y="523214"/>
                      </a:cubicBezTo>
                      <a:cubicBezTo>
                        <a:pt x="103450" y="537829"/>
                        <a:pt x="91678" y="549236"/>
                        <a:pt x="77052" y="549236"/>
                      </a:cubicBezTo>
                      <a:cubicBezTo>
                        <a:pt x="76731" y="549236"/>
                        <a:pt x="76699" y="549236"/>
                        <a:pt x="76695" y="549236"/>
                      </a:cubicBezTo>
                      <a:cubicBezTo>
                        <a:pt x="61713" y="549236"/>
                        <a:pt x="49584" y="537829"/>
                        <a:pt x="49584" y="523214"/>
                      </a:cubicBezTo>
                      <a:cubicBezTo>
                        <a:pt x="49584" y="501117"/>
                        <a:pt x="49584" y="173611"/>
                        <a:pt x="49584" y="173527"/>
                      </a:cubicBezTo>
                      <a:cubicBezTo>
                        <a:pt x="39531" y="173527"/>
                        <a:pt x="39247" y="173527"/>
                        <a:pt x="39239" y="173527"/>
                      </a:cubicBezTo>
                      <a:cubicBezTo>
                        <a:pt x="39239" y="173527"/>
                        <a:pt x="39953" y="298644"/>
                        <a:pt x="39953" y="300070"/>
                      </a:cubicBezTo>
                      <a:cubicBezTo>
                        <a:pt x="39953" y="308982"/>
                        <a:pt x="33888" y="316467"/>
                        <a:pt x="25684" y="318963"/>
                      </a:cubicBezTo>
                      <a:cubicBezTo>
                        <a:pt x="23900" y="319319"/>
                        <a:pt x="22117" y="319675"/>
                        <a:pt x="19976" y="319675"/>
                      </a:cubicBezTo>
                      <a:cubicBezTo>
                        <a:pt x="19619" y="319675"/>
                        <a:pt x="19263" y="319675"/>
                        <a:pt x="18906" y="319675"/>
                      </a:cubicBezTo>
                      <a:cubicBezTo>
                        <a:pt x="8561" y="319319"/>
                        <a:pt x="0" y="310408"/>
                        <a:pt x="0" y="300070"/>
                      </a:cubicBezTo>
                      <a:cubicBezTo>
                        <a:pt x="0" y="289020"/>
                        <a:pt x="0" y="176022"/>
                        <a:pt x="0" y="159625"/>
                      </a:cubicBezTo>
                      <a:cubicBezTo>
                        <a:pt x="0" y="128969"/>
                        <a:pt x="24257" y="103660"/>
                        <a:pt x="54935" y="101878"/>
                      </a:cubicBezTo>
                      <a:close/>
                      <a:moveTo>
                        <a:pt x="108061" y="0"/>
                      </a:moveTo>
                      <a:cubicBezTo>
                        <a:pt x="108382" y="0"/>
                        <a:pt x="108414" y="0"/>
                        <a:pt x="108417" y="0"/>
                      </a:cubicBezTo>
                      <a:cubicBezTo>
                        <a:pt x="133348" y="0"/>
                        <a:pt x="153648" y="20322"/>
                        <a:pt x="153648" y="45279"/>
                      </a:cubicBezTo>
                      <a:cubicBezTo>
                        <a:pt x="153648" y="70593"/>
                        <a:pt x="133348" y="90558"/>
                        <a:pt x="108773" y="90558"/>
                      </a:cubicBezTo>
                      <a:cubicBezTo>
                        <a:pt x="83487" y="90558"/>
                        <a:pt x="63542" y="70593"/>
                        <a:pt x="63542" y="45279"/>
                      </a:cubicBezTo>
                      <a:cubicBezTo>
                        <a:pt x="63542" y="20322"/>
                        <a:pt x="83487" y="0"/>
                        <a:pt x="1080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40" name="Freeform 16"/>
                <p:cNvSpPr>
                  <a:spLocks/>
                </p:cNvSpPr>
                <p:nvPr/>
              </p:nvSpPr>
              <p:spPr bwMode="auto">
                <a:xfrm>
                  <a:off x="10650650" y="2623557"/>
                  <a:ext cx="288798" cy="731334"/>
                </a:xfrm>
                <a:custGeom>
                  <a:avLst/>
                  <a:gdLst/>
                  <a:ahLst/>
                  <a:cxnLst/>
                  <a:rect l="l" t="t" r="r" b="b"/>
                  <a:pathLst>
                    <a:path w="216887" h="549236">
                      <a:moveTo>
                        <a:pt x="54935" y="101878"/>
                      </a:moveTo>
                      <a:cubicBezTo>
                        <a:pt x="55292" y="101878"/>
                        <a:pt x="55292" y="101878"/>
                        <a:pt x="55648" y="101878"/>
                      </a:cubicBezTo>
                      <a:cubicBezTo>
                        <a:pt x="55648" y="101878"/>
                        <a:pt x="161239" y="101878"/>
                        <a:pt x="161595" y="101878"/>
                      </a:cubicBezTo>
                      <a:cubicBezTo>
                        <a:pt x="192630" y="103660"/>
                        <a:pt x="216887" y="128969"/>
                        <a:pt x="216887" y="159625"/>
                      </a:cubicBezTo>
                      <a:cubicBezTo>
                        <a:pt x="216887" y="176022"/>
                        <a:pt x="216887" y="289020"/>
                        <a:pt x="216887" y="300070"/>
                      </a:cubicBezTo>
                      <a:cubicBezTo>
                        <a:pt x="216887" y="310408"/>
                        <a:pt x="208683" y="319319"/>
                        <a:pt x="197981" y="319675"/>
                      </a:cubicBezTo>
                      <a:cubicBezTo>
                        <a:pt x="197624" y="319675"/>
                        <a:pt x="197268" y="319675"/>
                        <a:pt x="196911" y="319675"/>
                      </a:cubicBezTo>
                      <a:cubicBezTo>
                        <a:pt x="195127" y="319675"/>
                        <a:pt x="192987" y="319319"/>
                        <a:pt x="191560" y="318963"/>
                      </a:cubicBezTo>
                      <a:cubicBezTo>
                        <a:pt x="183355" y="316467"/>
                        <a:pt x="177291" y="308982"/>
                        <a:pt x="177291" y="300070"/>
                      </a:cubicBezTo>
                      <a:cubicBezTo>
                        <a:pt x="177291" y="298645"/>
                        <a:pt x="177648" y="173588"/>
                        <a:pt x="177648" y="173527"/>
                      </a:cubicBezTo>
                      <a:cubicBezTo>
                        <a:pt x="177648" y="173527"/>
                        <a:pt x="177648" y="173527"/>
                        <a:pt x="176355" y="173527"/>
                      </a:cubicBezTo>
                      <a:lnTo>
                        <a:pt x="167303" y="173527"/>
                      </a:lnTo>
                      <a:cubicBezTo>
                        <a:pt x="167303" y="173527"/>
                        <a:pt x="167303" y="501114"/>
                        <a:pt x="167303" y="523214"/>
                      </a:cubicBezTo>
                      <a:cubicBezTo>
                        <a:pt x="167303" y="537829"/>
                        <a:pt x="155174" y="549236"/>
                        <a:pt x="140549" y="549236"/>
                      </a:cubicBezTo>
                      <a:cubicBezTo>
                        <a:pt x="125566" y="549236"/>
                        <a:pt x="113438" y="537829"/>
                        <a:pt x="113438" y="523214"/>
                      </a:cubicBezTo>
                      <a:cubicBezTo>
                        <a:pt x="113438" y="501117"/>
                        <a:pt x="113438" y="320800"/>
                        <a:pt x="113438" y="320745"/>
                      </a:cubicBezTo>
                      <a:cubicBezTo>
                        <a:pt x="106660" y="320745"/>
                        <a:pt x="104520" y="320745"/>
                        <a:pt x="103450" y="320745"/>
                      </a:cubicBezTo>
                      <a:cubicBezTo>
                        <a:pt x="103450" y="320745"/>
                        <a:pt x="103450" y="501114"/>
                        <a:pt x="103450" y="523214"/>
                      </a:cubicBezTo>
                      <a:cubicBezTo>
                        <a:pt x="103450" y="537829"/>
                        <a:pt x="91678" y="549236"/>
                        <a:pt x="77052" y="549236"/>
                      </a:cubicBezTo>
                      <a:cubicBezTo>
                        <a:pt x="76731" y="549236"/>
                        <a:pt x="76699" y="549236"/>
                        <a:pt x="76695" y="549236"/>
                      </a:cubicBezTo>
                      <a:cubicBezTo>
                        <a:pt x="61713" y="549236"/>
                        <a:pt x="49584" y="537829"/>
                        <a:pt x="49584" y="523214"/>
                      </a:cubicBezTo>
                      <a:cubicBezTo>
                        <a:pt x="49584" y="501117"/>
                        <a:pt x="49584" y="173611"/>
                        <a:pt x="49584" y="173527"/>
                      </a:cubicBezTo>
                      <a:cubicBezTo>
                        <a:pt x="39531" y="173527"/>
                        <a:pt x="39247" y="173527"/>
                        <a:pt x="39239" y="173527"/>
                      </a:cubicBezTo>
                      <a:cubicBezTo>
                        <a:pt x="39239" y="173527"/>
                        <a:pt x="39953" y="298644"/>
                        <a:pt x="39953" y="300070"/>
                      </a:cubicBezTo>
                      <a:cubicBezTo>
                        <a:pt x="39953" y="308982"/>
                        <a:pt x="33888" y="316467"/>
                        <a:pt x="25684" y="318963"/>
                      </a:cubicBezTo>
                      <a:cubicBezTo>
                        <a:pt x="23900" y="319319"/>
                        <a:pt x="22117" y="319675"/>
                        <a:pt x="19976" y="319675"/>
                      </a:cubicBezTo>
                      <a:cubicBezTo>
                        <a:pt x="19619" y="319675"/>
                        <a:pt x="19263" y="319675"/>
                        <a:pt x="18906" y="319675"/>
                      </a:cubicBezTo>
                      <a:cubicBezTo>
                        <a:pt x="8561" y="319319"/>
                        <a:pt x="0" y="310408"/>
                        <a:pt x="0" y="300070"/>
                      </a:cubicBezTo>
                      <a:cubicBezTo>
                        <a:pt x="0" y="289020"/>
                        <a:pt x="0" y="176022"/>
                        <a:pt x="0" y="159625"/>
                      </a:cubicBezTo>
                      <a:cubicBezTo>
                        <a:pt x="0" y="128969"/>
                        <a:pt x="24257" y="103660"/>
                        <a:pt x="54935" y="101878"/>
                      </a:cubicBezTo>
                      <a:close/>
                      <a:moveTo>
                        <a:pt x="108061" y="0"/>
                      </a:moveTo>
                      <a:cubicBezTo>
                        <a:pt x="108382" y="0"/>
                        <a:pt x="108414" y="0"/>
                        <a:pt x="108417" y="0"/>
                      </a:cubicBezTo>
                      <a:cubicBezTo>
                        <a:pt x="133348" y="0"/>
                        <a:pt x="153648" y="20322"/>
                        <a:pt x="153648" y="45279"/>
                      </a:cubicBezTo>
                      <a:cubicBezTo>
                        <a:pt x="153648" y="70593"/>
                        <a:pt x="133348" y="90558"/>
                        <a:pt x="108773" y="90558"/>
                      </a:cubicBezTo>
                      <a:cubicBezTo>
                        <a:pt x="83487" y="90558"/>
                        <a:pt x="63542" y="70593"/>
                        <a:pt x="63542" y="45279"/>
                      </a:cubicBezTo>
                      <a:cubicBezTo>
                        <a:pt x="63542" y="20322"/>
                        <a:pt x="83487" y="0"/>
                        <a:pt x="1080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41" name="Freeform 16"/>
                <p:cNvSpPr>
                  <a:spLocks/>
                </p:cNvSpPr>
                <p:nvPr/>
              </p:nvSpPr>
              <p:spPr bwMode="auto">
                <a:xfrm>
                  <a:off x="10741201" y="1862641"/>
                  <a:ext cx="288798" cy="731334"/>
                </a:xfrm>
                <a:custGeom>
                  <a:avLst/>
                  <a:gdLst/>
                  <a:ahLst/>
                  <a:cxnLst/>
                  <a:rect l="l" t="t" r="r" b="b"/>
                  <a:pathLst>
                    <a:path w="216887" h="549236">
                      <a:moveTo>
                        <a:pt x="54935" y="101878"/>
                      </a:moveTo>
                      <a:cubicBezTo>
                        <a:pt x="55292" y="101878"/>
                        <a:pt x="55292" y="101878"/>
                        <a:pt x="55648" y="101878"/>
                      </a:cubicBezTo>
                      <a:cubicBezTo>
                        <a:pt x="55648" y="101878"/>
                        <a:pt x="161239" y="101878"/>
                        <a:pt x="161595" y="101878"/>
                      </a:cubicBezTo>
                      <a:cubicBezTo>
                        <a:pt x="192630" y="103660"/>
                        <a:pt x="216887" y="128969"/>
                        <a:pt x="216887" y="159625"/>
                      </a:cubicBezTo>
                      <a:cubicBezTo>
                        <a:pt x="216887" y="176022"/>
                        <a:pt x="216887" y="289020"/>
                        <a:pt x="216887" y="300070"/>
                      </a:cubicBezTo>
                      <a:cubicBezTo>
                        <a:pt x="216887" y="310408"/>
                        <a:pt x="208683" y="319319"/>
                        <a:pt x="197981" y="319675"/>
                      </a:cubicBezTo>
                      <a:cubicBezTo>
                        <a:pt x="197624" y="319675"/>
                        <a:pt x="197268" y="319675"/>
                        <a:pt x="196911" y="319675"/>
                      </a:cubicBezTo>
                      <a:cubicBezTo>
                        <a:pt x="195127" y="319675"/>
                        <a:pt x="192987" y="319319"/>
                        <a:pt x="191560" y="318963"/>
                      </a:cubicBezTo>
                      <a:cubicBezTo>
                        <a:pt x="183355" y="316467"/>
                        <a:pt x="177291" y="308982"/>
                        <a:pt x="177291" y="300070"/>
                      </a:cubicBezTo>
                      <a:cubicBezTo>
                        <a:pt x="177291" y="298645"/>
                        <a:pt x="177648" y="173588"/>
                        <a:pt x="177648" y="173527"/>
                      </a:cubicBezTo>
                      <a:cubicBezTo>
                        <a:pt x="177648" y="173527"/>
                        <a:pt x="177648" y="173527"/>
                        <a:pt x="176355" y="173527"/>
                      </a:cubicBezTo>
                      <a:lnTo>
                        <a:pt x="167303" y="173527"/>
                      </a:lnTo>
                      <a:cubicBezTo>
                        <a:pt x="167303" y="173527"/>
                        <a:pt x="167303" y="501114"/>
                        <a:pt x="167303" y="523214"/>
                      </a:cubicBezTo>
                      <a:cubicBezTo>
                        <a:pt x="167303" y="537829"/>
                        <a:pt x="155174" y="549236"/>
                        <a:pt x="140549" y="549236"/>
                      </a:cubicBezTo>
                      <a:cubicBezTo>
                        <a:pt x="125566" y="549236"/>
                        <a:pt x="113438" y="537829"/>
                        <a:pt x="113438" y="523214"/>
                      </a:cubicBezTo>
                      <a:cubicBezTo>
                        <a:pt x="113438" y="501117"/>
                        <a:pt x="113438" y="320800"/>
                        <a:pt x="113438" y="320745"/>
                      </a:cubicBezTo>
                      <a:cubicBezTo>
                        <a:pt x="106660" y="320745"/>
                        <a:pt x="104520" y="320745"/>
                        <a:pt x="103450" y="320745"/>
                      </a:cubicBezTo>
                      <a:cubicBezTo>
                        <a:pt x="103450" y="320745"/>
                        <a:pt x="103450" y="501114"/>
                        <a:pt x="103450" y="523214"/>
                      </a:cubicBezTo>
                      <a:cubicBezTo>
                        <a:pt x="103450" y="537829"/>
                        <a:pt x="91678" y="549236"/>
                        <a:pt x="77052" y="549236"/>
                      </a:cubicBezTo>
                      <a:cubicBezTo>
                        <a:pt x="76731" y="549236"/>
                        <a:pt x="76699" y="549236"/>
                        <a:pt x="76695" y="549236"/>
                      </a:cubicBezTo>
                      <a:cubicBezTo>
                        <a:pt x="61713" y="549236"/>
                        <a:pt x="49584" y="537829"/>
                        <a:pt x="49584" y="523214"/>
                      </a:cubicBezTo>
                      <a:cubicBezTo>
                        <a:pt x="49584" y="501117"/>
                        <a:pt x="49584" y="173611"/>
                        <a:pt x="49584" y="173527"/>
                      </a:cubicBezTo>
                      <a:cubicBezTo>
                        <a:pt x="39531" y="173527"/>
                        <a:pt x="39247" y="173527"/>
                        <a:pt x="39239" y="173527"/>
                      </a:cubicBezTo>
                      <a:cubicBezTo>
                        <a:pt x="39239" y="173527"/>
                        <a:pt x="39953" y="298644"/>
                        <a:pt x="39953" y="300070"/>
                      </a:cubicBezTo>
                      <a:cubicBezTo>
                        <a:pt x="39953" y="308982"/>
                        <a:pt x="33888" y="316467"/>
                        <a:pt x="25684" y="318963"/>
                      </a:cubicBezTo>
                      <a:cubicBezTo>
                        <a:pt x="23900" y="319319"/>
                        <a:pt x="22117" y="319675"/>
                        <a:pt x="19976" y="319675"/>
                      </a:cubicBezTo>
                      <a:cubicBezTo>
                        <a:pt x="19619" y="319675"/>
                        <a:pt x="19263" y="319675"/>
                        <a:pt x="18906" y="319675"/>
                      </a:cubicBezTo>
                      <a:cubicBezTo>
                        <a:pt x="8561" y="319319"/>
                        <a:pt x="0" y="310408"/>
                        <a:pt x="0" y="300070"/>
                      </a:cubicBezTo>
                      <a:cubicBezTo>
                        <a:pt x="0" y="289020"/>
                        <a:pt x="0" y="176022"/>
                        <a:pt x="0" y="159625"/>
                      </a:cubicBezTo>
                      <a:cubicBezTo>
                        <a:pt x="0" y="128969"/>
                        <a:pt x="24257" y="103660"/>
                        <a:pt x="54935" y="101878"/>
                      </a:cubicBezTo>
                      <a:close/>
                      <a:moveTo>
                        <a:pt x="108061" y="0"/>
                      </a:moveTo>
                      <a:cubicBezTo>
                        <a:pt x="108382" y="0"/>
                        <a:pt x="108414" y="0"/>
                        <a:pt x="108417" y="0"/>
                      </a:cubicBezTo>
                      <a:cubicBezTo>
                        <a:pt x="133348" y="0"/>
                        <a:pt x="153648" y="20322"/>
                        <a:pt x="153648" y="45279"/>
                      </a:cubicBezTo>
                      <a:cubicBezTo>
                        <a:pt x="153648" y="70593"/>
                        <a:pt x="133348" y="90558"/>
                        <a:pt x="108773" y="90558"/>
                      </a:cubicBezTo>
                      <a:cubicBezTo>
                        <a:pt x="83487" y="90558"/>
                        <a:pt x="63542" y="70593"/>
                        <a:pt x="63542" y="45279"/>
                      </a:cubicBezTo>
                      <a:cubicBezTo>
                        <a:pt x="63542" y="20322"/>
                        <a:pt x="83487" y="0"/>
                        <a:pt x="1080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42" name="Freeform 16"/>
                <p:cNvSpPr>
                  <a:spLocks/>
                </p:cNvSpPr>
                <p:nvPr/>
              </p:nvSpPr>
              <p:spPr bwMode="auto">
                <a:xfrm>
                  <a:off x="11036447" y="3824791"/>
                  <a:ext cx="288798" cy="731334"/>
                </a:xfrm>
                <a:custGeom>
                  <a:avLst/>
                  <a:gdLst/>
                  <a:ahLst/>
                  <a:cxnLst/>
                  <a:rect l="l" t="t" r="r" b="b"/>
                  <a:pathLst>
                    <a:path w="216887" h="549236">
                      <a:moveTo>
                        <a:pt x="54935" y="101878"/>
                      </a:moveTo>
                      <a:cubicBezTo>
                        <a:pt x="55292" y="101878"/>
                        <a:pt x="55292" y="101878"/>
                        <a:pt x="55648" y="101878"/>
                      </a:cubicBezTo>
                      <a:cubicBezTo>
                        <a:pt x="55648" y="101878"/>
                        <a:pt x="161239" y="101878"/>
                        <a:pt x="161595" y="101878"/>
                      </a:cubicBezTo>
                      <a:cubicBezTo>
                        <a:pt x="192630" y="103660"/>
                        <a:pt x="216887" y="128969"/>
                        <a:pt x="216887" y="159625"/>
                      </a:cubicBezTo>
                      <a:cubicBezTo>
                        <a:pt x="216887" y="176022"/>
                        <a:pt x="216887" y="289020"/>
                        <a:pt x="216887" y="300070"/>
                      </a:cubicBezTo>
                      <a:cubicBezTo>
                        <a:pt x="216887" y="310408"/>
                        <a:pt x="208683" y="319319"/>
                        <a:pt x="197981" y="319675"/>
                      </a:cubicBezTo>
                      <a:cubicBezTo>
                        <a:pt x="197624" y="319675"/>
                        <a:pt x="197268" y="319675"/>
                        <a:pt x="196911" y="319675"/>
                      </a:cubicBezTo>
                      <a:cubicBezTo>
                        <a:pt x="195127" y="319675"/>
                        <a:pt x="192987" y="319319"/>
                        <a:pt x="191560" y="318963"/>
                      </a:cubicBezTo>
                      <a:cubicBezTo>
                        <a:pt x="183355" y="316467"/>
                        <a:pt x="177291" y="308982"/>
                        <a:pt x="177291" y="300070"/>
                      </a:cubicBezTo>
                      <a:cubicBezTo>
                        <a:pt x="177291" y="298645"/>
                        <a:pt x="177648" y="173588"/>
                        <a:pt x="177648" y="173527"/>
                      </a:cubicBezTo>
                      <a:cubicBezTo>
                        <a:pt x="177648" y="173527"/>
                        <a:pt x="177648" y="173527"/>
                        <a:pt x="176355" y="173527"/>
                      </a:cubicBezTo>
                      <a:lnTo>
                        <a:pt x="167303" y="173527"/>
                      </a:lnTo>
                      <a:cubicBezTo>
                        <a:pt x="167303" y="173527"/>
                        <a:pt x="167303" y="501114"/>
                        <a:pt x="167303" y="523214"/>
                      </a:cubicBezTo>
                      <a:cubicBezTo>
                        <a:pt x="167303" y="537829"/>
                        <a:pt x="155174" y="549236"/>
                        <a:pt x="140549" y="549236"/>
                      </a:cubicBezTo>
                      <a:cubicBezTo>
                        <a:pt x="125566" y="549236"/>
                        <a:pt x="113438" y="537829"/>
                        <a:pt x="113438" y="523214"/>
                      </a:cubicBezTo>
                      <a:cubicBezTo>
                        <a:pt x="113438" y="501117"/>
                        <a:pt x="113438" y="320800"/>
                        <a:pt x="113438" y="320745"/>
                      </a:cubicBezTo>
                      <a:cubicBezTo>
                        <a:pt x="106660" y="320745"/>
                        <a:pt x="104520" y="320745"/>
                        <a:pt x="103450" y="320745"/>
                      </a:cubicBezTo>
                      <a:cubicBezTo>
                        <a:pt x="103450" y="320745"/>
                        <a:pt x="103450" y="501114"/>
                        <a:pt x="103450" y="523214"/>
                      </a:cubicBezTo>
                      <a:cubicBezTo>
                        <a:pt x="103450" y="537829"/>
                        <a:pt x="91678" y="549236"/>
                        <a:pt x="77052" y="549236"/>
                      </a:cubicBezTo>
                      <a:cubicBezTo>
                        <a:pt x="76731" y="549236"/>
                        <a:pt x="76699" y="549236"/>
                        <a:pt x="76695" y="549236"/>
                      </a:cubicBezTo>
                      <a:cubicBezTo>
                        <a:pt x="61713" y="549236"/>
                        <a:pt x="49584" y="537829"/>
                        <a:pt x="49584" y="523214"/>
                      </a:cubicBezTo>
                      <a:cubicBezTo>
                        <a:pt x="49584" y="501117"/>
                        <a:pt x="49584" y="173611"/>
                        <a:pt x="49584" y="173527"/>
                      </a:cubicBezTo>
                      <a:cubicBezTo>
                        <a:pt x="39531" y="173527"/>
                        <a:pt x="39247" y="173527"/>
                        <a:pt x="39239" y="173527"/>
                      </a:cubicBezTo>
                      <a:cubicBezTo>
                        <a:pt x="39239" y="173527"/>
                        <a:pt x="39953" y="298644"/>
                        <a:pt x="39953" y="300070"/>
                      </a:cubicBezTo>
                      <a:cubicBezTo>
                        <a:pt x="39953" y="308982"/>
                        <a:pt x="33888" y="316467"/>
                        <a:pt x="25684" y="318963"/>
                      </a:cubicBezTo>
                      <a:cubicBezTo>
                        <a:pt x="23900" y="319319"/>
                        <a:pt x="22117" y="319675"/>
                        <a:pt x="19976" y="319675"/>
                      </a:cubicBezTo>
                      <a:cubicBezTo>
                        <a:pt x="19619" y="319675"/>
                        <a:pt x="19263" y="319675"/>
                        <a:pt x="18906" y="319675"/>
                      </a:cubicBezTo>
                      <a:cubicBezTo>
                        <a:pt x="8561" y="319319"/>
                        <a:pt x="0" y="310408"/>
                        <a:pt x="0" y="300070"/>
                      </a:cubicBezTo>
                      <a:cubicBezTo>
                        <a:pt x="0" y="289020"/>
                        <a:pt x="0" y="176022"/>
                        <a:pt x="0" y="159625"/>
                      </a:cubicBezTo>
                      <a:cubicBezTo>
                        <a:pt x="0" y="128969"/>
                        <a:pt x="24257" y="103660"/>
                        <a:pt x="54935" y="101878"/>
                      </a:cubicBezTo>
                      <a:close/>
                      <a:moveTo>
                        <a:pt x="108061" y="0"/>
                      </a:moveTo>
                      <a:cubicBezTo>
                        <a:pt x="108382" y="0"/>
                        <a:pt x="108414" y="0"/>
                        <a:pt x="108417" y="0"/>
                      </a:cubicBezTo>
                      <a:cubicBezTo>
                        <a:pt x="133348" y="0"/>
                        <a:pt x="153648" y="20322"/>
                        <a:pt x="153648" y="45279"/>
                      </a:cubicBezTo>
                      <a:cubicBezTo>
                        <a:pt x="153648" y="70593"/>
                        <a:pt x="133348" y="90558"/>
                        <a:pt x="108773" y="90558"/>
                      </a:cubicBezTo>
                      <a:cubicBezTo>
                        <a:pt x="83487" y="90558"/>
                        <a:pt x="63542" y="70593"/>
                        <a:pt x="63542" y="45279"/>
                      </a:cubicBezTo>
                      <a:cubicBezTo>
                        <a:pt x="63542" y="20322"/>
                        <a:pt x="83487" y="0"/>
                        <a:pt x="1080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sp>
              <p:nvSpPr>
                <p:cNvPr id="243" name="Freeform 16"/>
                <p:cNvSpPr>
                  <a:spLocks/>
                </p:cNvSpPr>
                <p:nvPr/>
              </p:nvSpPr>
              <p:spPr bwMode="auto">
                <a:xfrm>
                  <a:off x="8750603" y="3329491"/>
                  <a:ext cx="288798" cy="731334"/>
                </a:xfrm>
                <a:custGeom>
                  <a:avLst/>
                  <a:gdLst/>
                  <a:ahLst/>
                  <a:cxnLst/>
                  <a:rect l="l" t="t" r="r" b="b"/>
                  <a:pathLst>
                    <a:path w="216887" h="549236">
                      <a:moveTo>
                        <a:pt x="54935" y="101878"/>
                      </a:moveTo>
                      <a:cubicBezTo>
                        <a:pt x="55292" y="101878"/>
                        <a:pt x="55292" y="101878"/>
                        <a:pt x="55648" y="101878"/>
                      </a:cubicBezTo>
                      <a:cubicBezTo>
                        <a:pt x="55648" y="101878"/>
                        <a:pt x="161239" y="101878"/>
                        <a:pt x="161595" y="101878"/>
                      </a:cubicBezTo>
                      <a:cubicBezTo>
                        <a:pt x="192630" y="103660"/>
                        <a:pt x="216887" y="128969"/>
                        <a:pt x="216887" y="159625"/>
                      </a:cubicBezTo>
                      <a:cubicBezTo>
                        <a:pt x="216887" y="176022"/>
                        <a:pt x="216887" y="289020"/>
                        <a:pt x="216887" y="300070"/>
                      </a:cubicBezTo>
                      <a:cubicBezTo>
                        <a:pt x="216887" y="310408"/>
                        <a:pt x="208683" y="319319"/>
                        <a:pt x="197981" y="319675"/>
                      </a:cubicBezTo>
                      <a:cubicBezTo>
                        <a:pt x="197624" y="319675"/>
                        <a:pt x="197268" y="319675"/>
                        <a:pt x="196911" y="319675"/>
                      </a:cubicBezTo>
                      <a:cubicBezTo>
                        <a:pt x="195127" y="319675"/>
                        <a:pt x="192987" y="319319"/>
                        <a:pt x="191560" y="318963"/>
                      </a:cubicBezTo>
                      <a:cubicBezTo>
                        <a:pt x="183355" y="316467"/>
                        <a:pt x="177291" y="308982"/>
                        <a:pt x="177291" y="300070"/>
                      </a:cubicBezTo>
                      <a:cubicBezTo>
                        <a:pt x="177291" y="298645"/>
                        <a:pt x="177648" y="173588"/>
                        <a:pt x="177648" y="173527"/>
                      </a:cubicBezTo>
                      <a:cubicBezTo>
                        <a:pt x="177648" y="173527"/>
                        <a:pt x="177648" y="173527"/>
                        <a:pt x="176355" y="173527"/>
                      </a:cubicBezTo>
                      <a:lnTo>
                        <a:pt x="167303" y="173527"/>
                      </a:lnTo>
                      <a:cubicBezTo>
                        <a:pt x="167303" y="173527"/>
                        <a:pt x="167303" y="501114"/>
                        <a:pt x="167303" y="523214"/>
                      </a:cubicBezTo>
                      <a:cubicBezTo>
                        <a:pt x="167303" y="537829"/>
                        <a:pt x="155174" y="549236"/>
                        <a:pt x="140549" y="549236"/>
                      </a:cubicBezTo>
                      <a:cubicBezTo>
                        <a:pt x="125566" y="549236"/>
                        <a:pt x="113438" y="537829"/>
                        <a:pt x="113438" y="523214"/>
                      </a:cubicBezTo>
                      <a:cubicBezTo>
                        <a:pt x="113438" y="501117"/>
                        <a:pt x="113438" y="320800"/>
                        <a:pt x="113438" y="320745"/>
                      </a:cubicBezTo>
                      <a:cubicBezTo>
                        <a:pt x="106660" y="320745"/>
                        <a:pt x="104520" y="320745"/>
                        <a:pt x="103450" y="320745"/>
                      </a:cubicBezTo>
                      <a:cubicBezTo>
                        <a:pt x="103450" y="320745"/>
                        <a:pt x="103450" y="501114"/>
                        <a:pt x="103450" y="523214"/>
                      </a:cubicBezTo>
                      <a:cubicBezTo>
                        <a:pt x="103450" y="537829"/>
                        <a:pt x="91678" y="549236"/>
                        <a:pt x="77052" y="549236"/>
                      </a:cubicBezTo>
                      <a:cubicBezTo>
                        <a:pt x="76731" y="549236"/>
                        <a:pt x="76699" y="549236"/>
                        <a:pt x="76695" y="549236"/>
                      </a:cubicBezTo>
                      <a:cubicBezTo>
                        <a:pt x="61713" y="549236"/>
                        <a:pt x="49584" y="537829"/>
                        <a:pt x="49584" y="523214"/>
                      </a:cubicBezTo>
                      <a:cubicBezTo>
                        <a:pt x="49584" y="501117"/>
                        <a:pt x="49584" y="173611"/>
                        <a:pt x="49584" y="173527"/>
                      </a:cubicBezTo>
                      <a:cubicBezTo>
                        <a:pt x="39531" y="173527"/>
                        <a:pt x="39247" y="173527"/>
                        <a:pt x="39239" y="173527"/>
                      </a:cubicBezTo>
                      <a:cubicBezTo>
                        <a:pt x="39239" y="173527"/>
                        <a:pt x="39953" y="298644"/>
                        <a:pt x="39953" y="300070"/>
                      </a:cubicBezTo>
                      <a:cubicBezTo>
                        <a:pt x="39953" y="308982"/>
                        <a:pt x="33888" y="316467"/>
                        <a:pt x="25684" y="318963"/>
                      </a:cubicBezTo>
                      <a:cubicBezTo>
                        <a:pt x="23900" y="319319"/>
                        <a:pt x="22117" y="319675"/>
                        <a:pt x="19976" y="319675"/>
                      </a:cubicBezTo>
                      <a:cubicBezTo>
                        <a:pt x="19619" y="319675"/>
                        <a:pt x="19263" y="319675"/>
                        <a:pt x="18906" y="319675"/>
                      </a:cubicBezTo>
                      <a:cubicBezTo>
                        <a:pt x="8561" y="319319"/>
                        <a:pt x="0" y="310408"/>
                        <a:pt x="0" y="300070"/>
                      </a:cubicBezTo>
                      <a:cubicBezTo>
                        <a:pt x="0" y="289020"/>
                        <a:pt x="0" y="176022"/>
                        <a:pt x="0" y="159625"/>
                      </a:cubicBezTo>
                      <a:cubicBezTo>
                        <a:pt x="0" y="128969"/>
                        <a:pt x="24257" y="103660"/>
                        <a:pt x="54935" y="101878"/>
                      </a:cubicBezTo>
                      <a:close/>
                      <a:moveTo>
                        <a:pt x="108061" y="0"/>
                      </a:moveTo>
                      <a:cubicBezTo>
                        <a:pt x="108382" y="0"/>
                        <a:pt x="108414" y="0"/>
                        <a:pt x="108417" y="0"/>
                      </a:cubicBezTo>
                      <a:cubicBezTo>
                        <a:pt x="133348" y="0"/>
                        <a:pt x="153648" y="20322"/>
                        <a:pt x="153648" y="45279"/>
                      </a:cubicBezTo>
                      <a:cubicBezTo>
                        <a:pt x="153648" y="70593"/>
                        <a:pt x="133348" y="90558"/>
                        <a:pt x="108773" y="90558"/>
                      </a:cubicBezTo>
                      <a:cubicBezTo>
                        <a:pt x="83487" y="90558"/>
                        <a:pt x="63542" y="70593"/>
                        <a:pt x="63542" y="45279"/>
                      </a:cubicBezTo>
                      <a:cubicBezTo>
                        <a:pt x="63542" y="20322"/>
                        <a:pt x="83487" y="0"/>
                        <a:pt x="1080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a:p>
              </p:txBody>
            </p:sp>
          </p:grpSp>
        </p:grpSp>
      </p:grpSp>
      <p:sp>
        <p:nvSpPr>
          <p:cNvPr id="5" name="TextBox 4"/>
          <p:cNvSpPr txBox="1"/>
          <p:nvPr/>
        </p:nvSpPr>
        <p:spPr>
          <a:xfrm>
            <a:off x="6896533" y="6546857"/>
            <a:ext cx="5416261" cy="450675"/>
          </a:xfrm>
          <a:prstGeom prst="rect">
            <a:avLst/>
          </a:prstGeom>
          <a:noFill/>
        </p:spPr>
        <p:txBody>
          <a:bodyPr wrap="none" lIns="182854" tIns="146283" rIns="182854" bIns="146283" rtlCol="0">
            <a:spAutoFit/>
          </a:bodyPr>
          <a:lstStyle/>
          <a:p>
            <a:pPr>
              <a:lnSpc>
                <a:spcPct val="90000"/>
              </a:lnSpc>
              <a:spcAft>
                <a:spcPts val="600"/>
              </a:spcAft>
            </a:pPr>
            <a:r>
              <a:rPr lang="en-US" sz="1099" dirty="0"/>
              <a:t>Source: GE Industrial Internet, “Pushing the boundaries of Minds and Machines”</a:t>
            </a:r>
          </a:p>
        </p:txBody>
      </p:sp>
    </p:spTree>
    <p:extLst>
      <p:ext uri="{BB962C8B-B14F-4D97-AF65-F5344CB8AC3E}">
        <p14:creationId xmlns:p14="http://schemas.microsoft.com/office/powerpoint/2010/main" val="565133469"/>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Tile"/>
          <p:cNvSpPr/>
          <p:nvPr/>
        </p:nvSpPr>
        <p:spPr bwMode="gray">
          <a:xfrm>
            <a:off x="5997647" y="3946350"/>
            <a:ext cx="5481387" cy="1835295"/>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err="1"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msdn</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grpSp>
        <p:nvGrpSpPr>
          <p:cNvPr id="34" name="MSDN Link"/>
          <p:cNvGrpSpPr/>
          <p:nvPr/>
        </p:nvGrpSpPr>
        <p:grpSpPr>
          <a:xfrm>
            <a:off x="5980243" y="5766010"/>
            <a:ext cx="5498792" cy="914399"/>
            <a:chOff x="6158906" y="5021924"/>
            <a:chExt cx="4997786" cy="813384"/>
          </a:xfrm>
        </p:grpSpPr>
        <p:sp>
          <p:nvSpPr>
            <p:cNvPr id="35" name="Rectangle 34"/>
            <p:cNvSpPr/>
            <p:nvPr/>
          </p:nvSpPr>
          <p:spPr bwMode="auto">
            <a:xfrm>
              <a:off x="6165582"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Rectangle 35"/>
            <p:cNvSpPr/>
            <p:nvPr/>
          </p:nvSpPr>
          <p:spPr>
            <a:xfrm>
              <a:off x="6158906" y="5076615"/>
              <a:ext cx="2330654" cy="301153"/>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Resources for Developers</a:t>
              </a:r>
            </a:p>
          </p:txBody>
        </p:sp>
        <p:sp>
          <p:nvSpPr>
            <p:cNvPr id="37" name="Rectangle 36"/>
            <p:cNvSpPr/>
            <p:nvPr/>
          </p:nvSpPr>
          <p:spPr bwMode="white">
            <a:xfrm>
              <a:off x="6165582" y="5388275"/>
              <a:ext cx="4991109" cy="328531"/>
            </a:xfrm>
            <a:prstGeom prst="rect">
              <a:avLst/>
            </a:prstGeom>
          </p:spPr>
          <p:txBody>
            <a:bodyPr wrap="square" lIns="182880">
              <a:spAutoFit/>
            </a:bodyPr>
            <a:lstStyle/>
            <a:p>
              <a:r>
                <a:rPr lang="en-US" dirty="0">
                  <a:solidFill>
                    <a:srgbClr val="FFFFFF"/>
                  </a:solidFill>
                  <a:hlinkClick r:id="rId3"/>
                </a:rPr>
                <a:t>http://microsoft.com/msdn </a:t>
              </a:r>
              <a:endParaRPr lang="en-US" dirty="0">
                <a:solidFill>
                  <a:srgbClr val="FFFFFF"/>
                </a:solidFill>
              </a:endParaRPr>
            </a:p>
          </p:txBody>
        </p:sp>
      </p:grpSp>
      <p:sp>
        <p:nvSpPr>
          <p:cNvPr id="12" name="Arrow Bar"/>
          <p:cNvSpPr/>
          <p:nvPr/>
        </p:nvSpPr>
        <p:spPr bwMode="gray">
          <a:xfrm>
            <a:off x="5997647" y="1214472"/>
            <a:ext cx="5486400" cy="1841377"/>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Learning</a:t>
            </a:r>
          </a:p>
        </p:txBody>
      </p:sp>
      <p:grpSp>
        <p:nvGrpSpPr>
          <p:cNvPr id="17" name="MS Learning Link"/>
          <p:cNvGrpSpPr/>
          <p:nvPr/>
        </p:nvGrpSpPr>
        <p:grpSpPr>
          <a:xfrm>
            <a:off x="5982656" y="3040063"/>
            <a:ext cx="5501390" cy="916641"/>
            <a:chOff x="6161986" y="2595282"/>
            <a:chExt cx="5010840" cy="813384"/>
          </a:xfrm>
        </p:grpSpPr>
        <p:sp>
          <p:nvSpPr>
            <p:cNvPr id="18" name="Rectangle 17"/>
            <p:cNvSpPr/>
            <p:nvPr/>
          </p:nvSpPr>
          <p:spPr bwMode="auto">
            <a:xfrm>
              <a:off x="6175640" y="2595282"/>
              <a:ext cx="4992624"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9" name="Rectangle 18"/>
            <p:cNvSpPr/>
            <p:nvPr/>
          </p:nvSpPr>
          <p:spPr>
            <a:xfrm>
              <a:off x="6161986" y="2649973"/>
              <a:ext cx="3863978" cy="300417"/>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Microsoft Certification &amp; Training Resources</a:t>
              </a:r>
            </a:p>
          </p:txBody>
        </p:sp>
        <p:sp>
          <p:nvSpPr>
            <p:cNvPr id="20" name="Rectangle 19"/>
            <p:cNvSpPr/>
            <p:nvPr/>
          </p:nvSpPr>
          <p:spPr bwMode="white">
            <a:xfrm>
              <a:off x="6181717" y="2961633"/>
              <a:ext cx="4991109" cy="327728"/>
            </a:xfrm>
            <a:prstGeom prst="rect">
              <a:avLst/>
            </a:prstGeom>
          </p:spPr>
          <p:txBody>
            <a:bodyPr wrap="square" lIns="182880">
              <a:spAutoFit/>
            </a:bodyPr>
            <a:lstStyle/>
            <a:p>
              <a:r>
                <a:rPr lang="en-US" dirty="0">
                  <a:solidFill>
                    <a:srgbClr val="FFFFFF"/>
                  </a:solidFill>
                  <a:hlinkClick r:id="rId4"/>
                </a:rPr>
                <a:t>www.microsoft.com/learning </a:t>
              </a:r>
              <a:endParaRPr lang="en-US" sz="1600" dirty="0"/>
            </a:p>
          </p:txBody>
        </p:sp>
      </p:grpSp>
      <p:sp>
        <p:nvSpPr>
          <p:cNvPr id="5" name="TechEd Tile"/>
          <p:cNvSpPr/>
          <p:nvPr/>
        </p:nvSpPr>
        <p:spPr bwMode="ltGray">
          <a:xfrm>
            <a:off x="274638" y="1214472"/>
            <a:ext cx="5476342" cy="1841394"/>
          </a:xfrm>
          <a:prstGeom prst="rect">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TechEd Tile"/>
          <p:cNvSpPr/>
          <p:nvPr/>
        </p:nvSpPr>
        <p:spPr bwMode="gray">
          <a:xfrm>
            <a:off x="274639" y="3947146"/>
            <a:ext cx="5486399" cy="1834500"/>
          </a:xfrm>
          <a:prstGeom prst="rect">
            <a:avLst/>
          </a:prstGeom>
          <a:solidFill>
            <a:srgbClr val="DC3C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TechNet</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Resources</a:t>
            </a:r>
            <a:endParaRPr lang="en-US" dirty="0"/>
          </a:p>
        </p:txBody>
      </p:sp>
      <p:grpSp>
        <p:nvGrpSpPr>
          <p:cNvPr id="7" name="myTechEd Link"/>
          <p:cNvGrpSpPr/>
          <p:nvPr/>
        </p:nvGrpSpPr>
        <p:grpSpPr>
          <a:xfrm>
            <a:off x="272820" y="3040063"/>
            <a:ext cx="5478161" cy="916885"/>
            <a:chOff x="1020415" y="2595282"/>
            <a:chExt cx="4992768" cy="813384"/>
          </a:xfrm>
        </p:grpSpPr>
        <p:sp>
          <p:nvSpPr>
            <p:cNvPr id="8" name="Rectangle 7"/>
            <p:cNvSpPr/>
            <p:nvPr/>
          </p:nvSpPr>
          <p:spPr bwMode="auto">
            <a:xfrm>
              <a:off x="1022073" y="2595282"/>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Rectangle 8"/>
            <p:cNvSpPr/>
            <p:nvPr/>
          </p:nvSpPr>
          <p:spPr>
            <a:xfrm>
              <a:off x="1020415" y="2649973"/>
              <a:ext cx="1963250" cy="300337"/>
            </a:xfrm>
            <a:prstGeom prst="rect">
              <a:avLst/>
            </a:prstGeom>
          </p:spPr>
          <p:txBody>
            <a:bodyPr wrap="none" lIns="182880">
              <a:spAutoFit/>
            </a:bodyPr>
            <a:lstStyle/>
            <a:p>
              <a:pPr marL="0" lvl="1">
                <a:tabLst>
                  <a:tab pos="1828800" algn="l"/>
                </a:tabLst>
              </a:pPr>
              <a:r>
                <a:rPr lang="en-US" sz="1600" dirty="0" smtClean="0">
                  <a:gradFill>
                    <a:gsLst>
                      <a:gs pos="1250">
                        <a:schemeClr val="bg2"/>
                      </a:gs>
                      <a:gs pos="100000">
                        <a:schemeClr val="bg2"/>
                      </a:gs>
                    </a:gsLst>
                    <a:lin ang="5400000" scaled="0"/>
                  </a:gradFill>
                  <a:latin typeface="Segoe UI" pitchFamily="34" charset="0"/>
                  <a:ea typeface="Segoe UI" pitchFamily="34" charset="0"/>
                  <a:cs typeface="Segoe UI" pitchFamily="34" charset="0"/>
                </a:rPr>
                <a:t>Sessions on Demand</a:t>
              </a:r>
              <a:endPar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endParaRPr>
            </a:p>
          </p:txBody>
        </p:sp>
        <p:sp>
          <p:nvSpPr>
            <p:cNvPr id="10" name="Rectangle 9"/>
            <p:cNvSpPr/>
            <p:nvPr/>
          </p:nvSpPr>
          <p:spPr bwMode="white">
            <a:xfrm>
              <a:off x="1022073" y="2961633"/>
              <a:ext cx="4991109" cy="327641"/>
            </a:xfrm>
            <a:prstGeom prst="rect">
              <a:avLst/>
            </a:prstGeom>
          </p:spPr>
          <p:txBody>
            <a:bodyPr wrap="square" lIns="182880">
              <a:spAutoFit/>
            </a:bodyPr>
            <a:lstStyle/>
            <a:p>
              <a:r>
                <a:rPr lang="en-US" u="sng" dirty="0">
                  <a:hlinkClick r:id="rId5"/>
                </a:rPr>
                <a:t>http://channel9.msdn.com/Events/TechEd</a:t>
              </a:r>
              <a:endParaRPr lang="en-US" dirty="0"/>
            </a:p>
          </p:txBody>
        </p:sp>
      </p:grpSp>
      <p:grpSp>
        <p:nvGrpSpPr>
          <p:cNvPr id="27" name="MS TechNet Link"/>
          <p:cNvGrpSpPr/>
          <p:nvPr/>
        </p:nvGrpSpPr>
        <p:grpSpPr>
          <a:xfrm>
            <a:off x="274639" y="5766010"/>
            <a:ext cx="5476339" cy="914399"/>
            <a:chOff x="1022074" y="5021924"/>
            <a:chExt cx="4991110" cy="813384"/>
          </a:xfrm>
        </p:grpSpPr>
        <p:sp>
          <p:nvSpPr>
            <p:cNvPr id="28" name="Rectangle 27"/>
            <p:cNvSpPr/>
            <p:nvPr/>
          </p:nvSpPr>
          <p:spPr bwMode="auto">
            <a:xfrm>
              <a:off x="1022074"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9" name="Rectangle 28"/>
            <p:cNvSpPr/>
            <p:nvPr/>
          </p:nvSpPr>
          <p:spPr>
            <a:xfrm>
              <a:off x="1027759" y="5076615"/>
              <a:ext cx="2680236" cy="301153"/>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Resources for IT Professionals</a:t>
              </a:r>
            </a:p>
          </p:txBody>
        </p:sp>
        <p:sp>
          <p:nvSpPr>
            <p:cNvPr id="30" name="Rectangle 29"/>
            <p:cNvSpPr/>
            <p:nvPr/>
          </p:nvSpPr>
          <p:spPr bwMode="white">
            <a:xfrm>
              <a:off x="1022074" y="5388275"/>
              <a:ext cx="4991109" cy="328531"/>
            </a:xfrm>
            <a:prstGeom prst="rect">
              <a:avLst/>
            </a:prstGeom>
          </p:spPr>
          <p:txBody>
            <a:bodyPr wrap="square" lIns="182880">
              <a:spAutoFit/>
            </a:bodyPr>
            <a:lstStyle/>
            <a:p>
              <a:pPr lvl="0">
                <a:spcBef>
                  <a:spcPts val="600"/>
                </a:spcBef>
                <a:buSzPct val="120000"/>
                <a:tabLst>
                  <a:tab pos="1828800" algn="l"/>
                </a:tabLst>
                <a:defRPr/>
              </a:pPr>
              <a:r>
                <a:rPr lang="en-US" dirty="0">
                  <a:solidFill>
                    <a:srgbClr val="FFFFFF"/>
                  </a:solidFill>
                  <a:hlinkClick r:id="rId6"/>
                </a:rPr>
                <a:t>http://microsoft.com/technet  </a:t>
              </a:r>
              <a:endParaRPr lang="en-US" dirty="0">
                <a:solidFill>
                  <a:srgbClr val="FFFFFF"/>
                </a:solidFill>
              </a:endParaRPr>
            </a:p>
          </p:txBody>
        </p:sp>
      </p:grpSp>
      <p:sp>
        <p:nvSpPr>
          <p:cNvPr id="43" name="Rectangle 42"/>
          <p:cNvSpPr/>
          <p:nvPr/>
        </p:nvSpPr>
        <p:spPr bwMode="auto">
          <a:xfrm>
            <a:off x="5750977" y="-1"/>
            <a:ext cx="273890"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rotWithShape="1">
          <a:blip r:embed="rId7">
            <a:extLst>
              <a:ext uri="{28A0092B-C50C-407E-A947-70E740481C1C}">
                <a14:useLocalDpi xmlns:a14="http://schemas.microsoft.com/office/drawing/2010/main" val="0"/>
              </a:ext>
            </a:extLst>
          </a:blip>
          <a:srcRect b="50120"/>
          <a:stretch/>
        </p:blipFill>
        <p:spPr>
          <a:xfrm>
            <a:off x="526107" y="1485017"/>
            <a:ext cx="2695575" cy="1273289"/>
          </a:xfrm>
          <a:prstGeom prst="rect">
            <a:avLst/>
          </a:prstGeom>
        </p:spPr>
      </p:pic>
      <p:sp useBgFill="1">
        <p:nvSpPr>
          <p:cNvPr id="39" name="Freeform 38"/>
          <p:cNvSpPr/>
          <p:nvPr/>
        </p:nvSpPr>
        <p:spPr bwMode="auto">
          <a:xfrm>
            <a:off x="0" y="0"/>
            <a:ext cx="12436475" cy="6994525"/>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521562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0-#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25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750" fill="hold"/>
                                        <p:tgtEl>
                                          <p:spTgt spid="3"/>
                                        </p:tgtEl>
                                        <p:attrNameLst>
                                          <p:attrName>ppt_x</p:attrName>
                                        </p:attrNameLst>
                                      </p:cBhvr>
                                      <p:tavLst>
                                        <p:tav tm="0">
                                          <p:val>
                                            <p:strVal val="0-#ppt_w/2"/>
                                          </p:val>
                                        </p:tav>
                                        <p:tav tm="100000">
                                          <p:val>
                                            <p:strVal val="#ppt_x"/>
                                          </p:val>
                                        </p:tav>
                                      </p:tavLst>
                                    </p:anim>
                                    <p:anim calcmode="lin" valueType="num">
                                      <p:cBhvr additive="base">
                                        <p:cTn id="12" dur="750" fill="hold"/>
                                        <p:tgtEl>
                                          <p:spTgt spid="3"/>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75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1000" fill="hold"/>
                                        <p:tgtEl>
                                          <p:spTgt spid="7"/>
                                        </p:tgtEl>
                                        <p:attrNameLst>
                                          <p:attrName>ppt_x</p:attrName>
                                        </p:attrNameLst>
                                      </p:cBhvr>
                                      <p:tavLst>
                                        <p:tav tm="0">
                                          <p:val>
                                            <p:strVal val="0-#ppt_w/2"/>
                                          </p:val>
                                        </p:tav>
                                        <p:tav tm="100000">
                                          <p:val>
                                            <p:strVal val="#ppt_x"/>
                                          </p:val>
                                        </p:tav>
                                      </p:tavLst>
                                    </p:anim>
                                    <p:anim calcmode="lin" valueType="num">
                                      <p:cBhvr additive="base">
                                        <p:cTn id="16" dur="1000" fill="hold"/>
                                        <p:tgtEl>
                                          <p:spTgt spid="7"/>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125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1000" fill="hold"/>
                                        <p:tgtEl>
                                          <p:spTgt spid="12"/>
                                        </p:tgtEl>
                                        <p:attrNameLst>
                                          <p:attrName>ppt_x</p:attrName>
                                        </p:attrNameLst>
                                      </p:cBhvr>
                                      <p:tavLst>
                                        <p:tav tm="0">
                                          <p:val>
                                            <p:strVal val="0-#ppt_w/2"/>
                                          </p:val>
                                        </p:tav>
                                        <p:tav tm="100000">
                                          <p:val>
                                            <p:strVal val="#ppt_x"/>
                                          </p:val>
                                        </p:tav>
                                      </p:tavLst>
                                    </p:anim>
                                    <p:anim calcmode="lin" valueType="num">
                                      <p:cBhvr additive="base">
                                        <p:cTn id="20" dur="1000" fill="hold"/>
                                        <p:tgtEl>
                                          <p:spTgt spid="12"/>
                                        </p:tgtEl>
                                        <p:attrNameLst>
                                          <p:attrName>ppt_y</p:attrName>
                                        </p:attrNameLst>
                                      </p:cBhvr>
                                      <p:tavLst>
                                        <p:tav tm="0">
                                          <p:val>
                                            <p:strVal val="#ppt_y"/>
                                          </p:val>
                                        </p:tav>
                                        <p:tav tm="100000">
                                          <p:val>
                                            <p:strVal val="#ppt_y"/>
                                          </p:val>
                                        </p:tav>
                                      </p:tavLst>
                                    </p:anim>
                                  </p:childTnLst>
                                </p:cTn>
                              </p:par>
                              <p:par>
                                <p:cTn id="21" presetID="2" presetClass="entr" presetSubtype="8" decel="100000" fill="hold" nodeType="withEffect">
                                  <p:stCondLst>
                                    <p:cond delay="2000"/>
                                  </p:stCondLst>
                                  <p:childTnLst>
                                    <p:set>
                                      <p:cBhvr>
                                        <p:cTn id="22" dur="1" fill="hold">
                                          <p:stCondLst>
                                            <p:cond delay="0"/>
                                          </p:stCondLst>
                                        </p:cTn>
                                        <p:tgtEl>
                                          <p:spTgt spid="17"/>
                                        </p:tgtEl>
                                        <p:attrNameLst>
                                          <p:attrName>style.visibility</p:attrName>
                                        </p:attrNameLst>
                                      </p:cBhvr>
                                      <p:to>
                                        <p:strVal val="visible"/>
                                      </p:to>
                                    </p:set>
                                    <p:anim calcmode="lin" valueType="num">
                                      <p:cBhvr additive="base">
                                        <p:cTn id="23" dur="1000" fill="hold"/>
                                        <p:tgtEl>
                                          <p:spTgt spid="17"/>
                                        </p:tgtEl>
                                        <p:attrNameLst>
                                          <p:attrName>ppt_x</p:attrName>
                                        </p:attrNameLst>
                                      </p:cBhvr>
                                      <p:tavLst>
                                        <p:tav tm="0">
                                          <p:val>
                                            <p:strVal val="0-#ppt_w/2"/>
                                          </p:val>
                                        </p:tav>
                                        <p:tav tm="100000">
                                          <p:val>
                                            <p:strVal val="#ppt_x"/>
                                          </p:val>
                                        </p:tav>
                                      </p:tavLst>
                                    </p:anim>
                                    <p:anim calcmode="lin" valueType="num">
                                      <p:cBhvr additive="base">
                                        <p:cTn id="24" dur="1000" fill="hold"/>
                                        <p:tgtEl>
                                          <p:spTgt spid="17"/>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0"/>
                                  </p:stCondLst>
                                  <p:childTnLst>
                                    <p:set>
                                      <p:cBhvr>
                                        <p:cTn id="26" dur="1" fill="hold">
                                          <p:stCondLst>
                                            <p:cond delay="0"/>
                                          </p:stCondLst>
                                        </p:cTn>
                                        <p:tgtEl>
                                          <p:spTgt spid="22"/>
                                        </p:tgtEl>
                                        <p:attrNameLst>
                                          <p:attrName>style.visibility</p:attrName>
                                        </p:attrNameLst>
                                      </p:cBhvr>
                                      <p:to>
                                        <p:strVal val="visible"/>
                                      </p:to>
                                    </p:set>
                                    <p:anim calcmode="lin" valueType="num">
                                      <p:cBhvr additive="base">
                                        <p:cTn id="27" dur="1000" fill="hold"/>
                                        <p:tgtEl>
                                          <p:spTgt spid="22"/>
                                        </p:tgtEl>
                                        <p:attrNameLst>
                                          <p:attrName>ppt_x</p:attrName>
                                        </p:attrNameLst>
                                      </p:cBhvr>
                                      <p:tavLst>
                                        <p:tav tm="0">
                                          <p:val>
                                            <p:strVal val="0-#ppt_w/2"/>
                                          </p:val>
                                        </p:tav>
                                        <p:tav tm="100000">
                                          <p:val>
                                            <p:strVal val="#ppt_x"/>
                                          </p:val>
                                        </p:tav>
                                      </p:tavLst>
                                    </p:anim>
                                    <p:anim calcmode="lin" valueType="num">
                                      <p:cBhvr additive="base">
                                        <p:cTn id="28" dur="1000" fill="hold"/>
                                        <p:tgtEl>
                                          <p:spTgt spid="22"/>
                                        </p:tgtEl>
                                        <p:attrNameLst>
                                          <p:attrName>ppt_y</p:attrName>
                                        </p:attrNameLst>
                                      </p:cBhvr>
                                      <p:tavLst>
                                        <p:tav tm="0">
                                          <p:val>
                                            <p:strVal val="#ppt_y"/>
                                          </p:val>
                                        </p:tav>
                                        <p:tav tm="100000">
                                          <p:val>
                                            <p:strVal val="#ppt_y"/>
                                          </p:val>
                                        </p:tav>
                                      </p:tavLst>
                                    </p:anim>
                                  </p:childTnLst>
                                </p:cTn>
                              </p:par>
                              <p:par>
                                <p:cTn id="29" presetID="2" presetClass="entr" presetSubtype="8" decel="100000" fill="hold" nodeType="withEffect">
                                  <p:stCondLst>
                                    <p:cond delay="750"/>
                                  </p:stCondLst>
                                  <p:childTnLst>
                                    <p:set>
                                      <p:cBhvr>
                                        <p:cTn id="30" dur="1" fill="hold">
                                          <p:stCondLst>
                                            <p:cond delay="0"/>
                                          </p:stCondLst>
                                        </p:cTn>
                                        <p:tgtEl>
                                          <p:spTgt spid="27"/>
                                        </p:tgtEl>
                                        <p:attrNameLst>
                                          <p:attrName>style.visibility</p:attrName>
                                        </p:attrNameLst>
                                      </p:cBhvr>
                                      <p:to>
                                        <p:strVal val="visible"/>
                                      </p:to>
                                    </p:set>
                                    <p:anim calcmode="lin" valueType="num">
                                      <p:cBhvr additive="base">
                                        <p:cTn id="31" dur="1000" fill="hold"/>
                                        <p:tgtEl>
                                          <p:spTgt spid="27"/>
                                        </p:tgtEl>
                                        <p:attrNameLst>
                                          <p:attrName>ppt_x</p:attrName>
                                        </p:attrNameLst>
                                      </p:cBhvr>
                                      <p:tavLst>
                                        <p:tav tm="0">
                                          <p:val>
                                            <p:strVal val="0-#ppt_w/2"/>
                                          </p:val>
                                        </p:tav>
                                        <p:tav tm="100000">
                                          <p:val>
                                            <p:strVal val="#ppt_x"/>
                                          </p:val>
                                        </p:tav>
                                      </p:tavLst>
                                    </p:anim>
                                    <p:anim calcmode="lin" valueType="num">
                                      <p:cBhvr additive="base">
                                        <p:cTn id="32" dur="1000" fill="hold"/>
                                        <p:tgtEl>
                                          <p:spTgt spid="27"/>
                                        </p:tgtEl>
                                        <p:attrNameLst>
                                          <p:attrName>ppt_y</p:attrName>
                                        </p:attrNameLst>
                                      </p:cBhvr>
                                      <p:tavLst>
                                        <p:tav tm="0">
                                          <p:val>
                                            <p:strVal val="#ppt_y"/>
                                          </p:val>
                                        </p:tav>
                                        <p:tav tm="100000">
                                          <p:val>
                                            <p:strVal val="#ppt_y"/>
                                          </p:val>
                                        </p:tav>
                                      </p:tavLst>
                                    </p:anim>
                                  </p:childTnLst>
                                </p:cTn>
                              </p:par>
                              <p:par>
                                <p:cTn id="33" presetID="2" presetClass="entr" presetSubtype="8" decel="100000" fill="hold" grpId="0" nodeType="withEffect">
                                  <p:stCondLst>
                                    <p:cond delay="1250"/>
                                  </p:stCondLst>
                                  <p:childTnLst>
                                    <p:set>
                                      <p:cBhvr>
                                        <p:cTn id="34" dur="1" fill="hold">
                                          <p:stCondLst>
                                            <p:cond delay="0"/>
                                          </p:stCondLst>
                                        </p:cTn>
                                        <p:tgtEl>
                                          <p:spTgt spid="32"/>
                                        </p:tgtEl>
                                        <p:attrNameLst>
                                          <p:attrName>style.visibility</p:attrName>
                                        </p:attrNameLst>
                                      </p:cBhvr>
                                      <p:to>
                                        <p:strVal val="visible"/>
                                      </p:to>
                                    </p:set>
                                    <p:anim calcmode="lin" valueType="num">
                                      <p:cBhvr additive="base">
                                        <p:cTn id="35" dur="1000" fill="hold"/>
                                        <p:tgtEl>
                                          <p:spTgt spid="32"/>
                                        </p:tgtEl>
                                        <p:attrNameLst>
                                          <p:attrName>ppt_x</p:attrName>
                                        </p:attrNameLst>
                                      </p:cBhvr>
                                      <p:tavLst>
                                        <p:tav tm="0">
                                          <p:val>
                                            <p:strVal val="0-#ppt_w/2"/>
                                          </p:val>
                                        </p:tav>
                                        <p:tav tm="100000">
                                          <p:val>
                                            <p:strVal val="#ppt_x"/>
                                          </p:val>
                                        </p:tav>
                                      </p:tavLst>
                                    </p:anim>
                                    <p:anim calcmode="lin" valueType="num">
                                      <p:cBhvr additive="base">
                                        <p:cTn id="36" dur="1000" fill="hold"/>
                                        <p:tgtEl>
                                          <p:spTgt spid="32"/>
                                        </p:tgtEl>
                                        <p:attrNameLst>
                                          <p:attrName>ppt_y</p:attrName>
                                        </p:attrNameLst>
                                      </p:cBhvr>
                                      <p:tavLst>
                                        <p:tav tm="0">
                                          <p:val>
                                            <p:strVal val="#ppt_y"/>
                                          </p:val>
                                        </p:tav>
                                        <p:tav tm="100000">
                                          <p:val>
                                            <p:strVal val="#ppt_y"/>
                                          </p:val>
                                        </p:tav>
                                      </p:tavLst>
                                    </p:anim>
                                  </p:childTnLst>
                                </p:cTn>
                              </p:par>
                              <p:par>
                                <p:cTn id="37" presetID="2" presetClass="entr" presetSubtype="8" decel="100000" fill="hold" nodeType="withEffect">
                                  <p:stCondLst>
                                    <p:cond delay="2000"/>
                                  </p:stCondLst>
                                  <p:childTnLst>
                                    <p:set>
                                      <p:cBhvr>
                                        <p:cTn id="38" dur="1" fill="hold">
                                          <p:stCondLst>
                                            <p:cond delay="0"/>
                                          </p:stCondLst>
                                        </p:cTn>
                                        <p:tgtEl>
                                          <p:spTgt spid="34"/>
                                        </p:tgtEl>
                                        <p:attrNameLst>
                                          <p:attrName>style.visibility</p:attrName>
                                        </p:attrNameLst>
                                      </p:cBhvr>
                                      <p:to>
                                        <p:strVal val="visible"/>
                                      </p:to>
                                    </p:set>
                                    <p:anim calcmode="lin" valueType="num">
                                      <p:cBhvr additive="base">
                                        <p:cTn id="39" dur="1000" fill="hold"/>
                                        <p:tgtEl>
                                          <p:spTgt spid="34"/>
                                        </p:tgtEl>
                                        <p:attrNameLst>
                                          <p:attrName>ppt_x</p:attrName>
                                        </p:attrNameLst>
                                      </p:cBhvr>
                                      <p:tavLst>
                                        <p:tav tm="0">
                                          <p:val>
                                            <p:strVal val="0-#ppt_w/2"/>
                                          </p:val>
                                        </p:tav>
                                        <p:tav tm="100000">
                                          <p:val>
                                            <p:strVal val="#ppt_x"/>
                                          </p:val>
                                        </p:tav>
                                      </p:tavLst>
                                    </p:anim>
                                    <p:anim calcmode="lin" valueType="num">
                                      <p:cBhvr additive="base">
                                        <p:cTn id="40" dur="1000" fill="hold"/>
                                        <p:tgtEl>
                                          <p:spTgt spid="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12" grpId="0" animBg="1"/>
      <p:bldP spid="5" grpId="0" animBg="1"/>
      <p:bldP spid="22"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lete an evaluation on CommNet and enter to win!</a:t>
            </a:r>
            <a:endParaRPr lang="en-US" dirty="0"/>
          </a:p>
        </p:txBody>
      </p:sp>
      <p:sp>
        <p:nvSpPr>
          <p:cNvPr id="5" name="Rectangle 4"/>
          <p:cNvSpPr/>
          <p:nvPr/>
        </p:nvSpPr>
        <p:spPr bwMode="auto">
          <a:xfrm>
            <a:off x="4459854" y="2125662"/>
            <a:ext cx="7701983" cy="4585903"/>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6" name="Best Buy gc" descr="\\192.168.1.51\Shared\ADI_Projects\Microsoft\MS_11-01457_TechEd_2012_Template\Working_Art\Eval-prizes\bestbuy-gc.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177148" y="2607703"/>
            <a:ext cx="1881043" cy="1224763"/>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bwMode="auto">
          <a:xfrm>
            <a:off x="274638" y="2125663"/>
            <a:ext cx="4032817" cy="4585903"/>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8" name="Xbox kinect" descr="\\192.168.1.51\Shared\ADI_Projects\Microsoft\MS_11-01457_TechEd_2012_Template\Working_Art\Eval-prizes\Xbox360_Matte_Sensor_7-8View.png"/>
          <p:cNvPicPr>
            <a:picLocks noChangeAspect="1" noChangeArrowheads="1"/>
          </p:cNvPicPr>
          <p:nvPr/>
        </p:nvPicPr>
        <p:blipFill rotWithShape="1">
          <a:blip r:embed="rId4" cstate="email">
            <a:extLst>
              <a:ext uri="{28A0092B-C50C-407E-A947-70E740481C1C}">
                <a14:useLocalDpi xmlns:a14="http://schemas.microsoft.com/office/drawing/2010/main"/>
              </a:ext>
            </a:extLst>
          </a:blip>
          <a:stretch/>
        </p:blipFill>
        <p:spPr bwMode="auto">
          <a:xfrm>
            <a:off x="483655" y="2529186"/>
            <a:ext cx="3620005" cy="3896269"/>
          </a:xfrm>
          <a:prstGeom prst="rect">
            <a:avLst/>
          </a:prstGeom>
          <a:noFill/>
          <a:extLst>
            <a:ext uri="{909E8E84-426E-40DD-AFC4-6F175D3DCCD1}">
              <a14:hiddenFill xmlns:a14="http://schemas.microsoft.com/office/drawing/2010/main">
                <a:solidFill>
                  <a:srgbClr val="FFFFFF"/>
                </a:solidFill>
              </a14:hiddenFill>
            </a:ext>
          </a:extLst>
        </p:spPr>
      </p:pic>
      <p:pic>
        <p:nvPicPr>
          <p:cNvPr id="9" name="hat" descr="\\192.168.1.51\Shared\ADI_Projects\Microsoft\MS_11-01457_TechEd_2012_Template\Working_Art\Eval-prizes\Geek-military-hat.jpg"/>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5412535" y="4750235"/>
            <a:ext cx="1355377" cy="1694221"/>
          </a:xfrm>
          <a:prstGeom prst="rect">
            <a:avLst/>
          </a:prstGeom>
          <a:noFill/>
          <a:extLst>
            <a:ext uri="{909E8E84-426E-40DD-AFC4-6F175D3DCCD1}">
              <a14:hiddenFill xmlns:a14="http://schemas.microsoft.com/office/drawing/2010/main">
                <a:solidFill>
                  <a:srgbClr val="FFFFFF"/>
                </a:solidFill>
              </a14:hiddenFill>
            </a:ext>
          </a:extLst>
        </p:spPr>
      </p:pic>
      <p:pic>
        <p:nvPicPr>
          <p:cNvPr id="10" name="usb hub" descr="\\192.168.1.51\Shared\ADI_Projects\Microsoft\MS_11-01457_TechEd_2012_Template\Working_Art\Eval-prizes\Geek-usb-hub.jp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9892060" y="4750234"/>
            <a:ext cx="1355378" cy="1694222"/>
          </a:xfrm>
          <a:prstGeom prst="rect">
            <a:avLst/>
          </a:prstGeom>
          <a:noFill/>
          <a:extLst>
            <a:ext uri="{909E8E84-426E-40DD-AFC4-6F175D3DCCD1}">
              <a14:hiddenFill xmlns:a14="http://schemas.microsoft.com/office/drawing/2010/main">
                <a:solidFill>
                  <a:srgbClr val="FFFFFF"/>
                </a:solidFill>
              </a14:hiddenFill>
            </a:ext>
          </a:extLst>
        </p:spPr>
      </p:pic>
      <p:pic>
        <p:nvPicPr>
          <p:cNvPr id="11" name="flashlight" descr="\\192.168.1.51\Shared\ADI_Projects\Microsoft\MS_11-01457_TechEd_2012_Template\Working_Art\Eval-prizes\LED-flashlight.jpg"/>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7683123" y="4766996"/>
            <a:ext cx="1341968" cy="1677460"/>
          </a:xfrm>
          <a:prstGeom prst="rect">
            <a:avLst/>
          </a:prstGeom>
          <a:noFill/>
          <a:extLst>
            <a:ext uri="{909E8E84-426E-40DD-AFC4-6F175D3DCCD1}">
              <a14:hiddenFill xmlns:a14="http://schemas.microsoft.com/office/drawing/2010/main">
                <a:solidFill>
                  <a:srgbClr val="FFFFFF"/>
                </a:solidFill>
              </a14:hiddenFill>
            </a:ext>
          </a:extLst>
        </p:spPr>
      </p:pic>
      <p:pic>
        <p:nvPicPr>
          <p:cNvPr id="12" name="Accessory bag" descr="\\192.168.1.51\Shared\ADI_Projects\Microsoft\MS_11-01457_TechEd_2012_Template\Working_Art\Eval-prizes\Neoprene-accessory-case.jpg"/>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7683123" y="2372973"/>
            <a:ext cx="1355378" cy="1694222"/>
          </a:xfrm>
          <a:prstGeom prst="rect">
            <a:avLst/>
          </a:prstGeom>
          <a:noFill/>
          <a:extLst>
            <a:ext uri="{909E8E84-426E-40DD-AFC4-6F175D3DCCD1}">
              <a14:hiddenFill xmlns:a14="http://schemas.microsoft.com/office/drawing/2010/main">
                <a:solidFill>
                  <a:srgbClr val="FFFFFF"/>
                </a:solidFill>
              </a14:hiddenFill>
            </a:ext>
          </a:extLst>
        </p:spPr>
      </p:pic>
      <p:pic>
        <p:nvPicPr>
          <p:cNvPr id="13" name="shirt" descr="\\192.168.1.51\Shared\ADI_Projects\Microsoft\MS_11-01457_TechEd_2012_Template\Working_Art\Eval-prizes\Cloud-power-shirt.jpg"/>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9986190" y="2372974"/>
            <a:ext cx="1355377" cy="1694222"/>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8"/>
          <p:cNvSpPr/>
          <p:nvPr/>
        </p:nvSpPr>
        <p:spPr bwMode="auto">
          <a:xfrm>
            <a:off x="0" y="0"/>
            <a:ext cx="12436475" cy="6994525"/>
          </a:xfrm>
          <a:custGeom>
            <a:avLst/>
            <a:gdLst>
              <a:gd name="connsiteX0" fmla="*/ 4459854 w 12436475"/>
              <a:gd name="connsiteY0" fmla="*/ 4500064 h 6994525"/>
              <a:gd name="connsiteX1" fmla="*/ 4459854 w 12436475"/>
              <a:gd name="connsiteY1" fmla="*/ 6697663 h 6994525"/>
              <a:gd name="connsiteX2" fmla="*/ 12161837 w 12436475"/>
              <a:gd name="connsiteY2" fmla="*/ 6697663 h 6994525"/>
              <a:gd name="connsiteX3" fmla="*/ 12161837 w 12436475"/>
              <a:gd name="connsiteY3" fmla="*/ 4500064 h 6994525"/>
              <a:gd name="connsiteX4" fmla="*/ 0 w 12436475"/>
              <a:gd name="connsiteY4" fmla="*/ 0 h 6994525"/>
              <a:gd name="connsiteX5" fmla="*/ 274638 w 12436475"/>
              <a:gd name="connsiteY5" fmla="*/ 0 h 6994525"/>
              <a:gd name="connsiteX6" fmla="*/ 274638 w 12436475"/>
              <a:gd name="connsiteY6" fmla="*/ 6697663 h 6994525"/>
              <a:gd name="connsiteX7" fmla="*/ 4307455 w 12436475"/>
              <a:gd name="connsiteY7" fmla="*/ 6697663 h 6994525"/>
              <a:gd name="connsiteX8" fmla="*/ 4307455 w 12436475"/>
              <a:gd name="connsiteY8" fmla="*/ 4500064 h 6994525"/>
              <a:gd name="connsiteX9" fmla="*/ 4307455 w 12436475"/>
              <a:gd name="connsiteY9" fmla="*/ 4320223 h 6994525"/>
              <a:gd name="connsiteX10" fmla="*/ 4307455 w 12436475"/>
              <a:gd name="connsiteY10" fmla="*/ 2125663 h 6994525"/>
              <a:gd name="connsiteX11" fmla="*/ 4459854 w 12436475"/>
              <a:gd name="connsiteY11" fmla="*/ 2125663 h 6994525"/>
              <a:gd name="connsiteX12" fmla="*/ 4459854 w 12436475"/>
              <a:gd name="connsiteY12" fmla="*/ 4320223 h 6994525"/>
              <a:gd name="connsiteX13" fmla="*/ 12161837 w 12436475"/>
              <a:gd name="connsiteY13" fmla="*/ 4320223 h 6994525"/>
              <a:gd name="connsiteX14" fmla="*/ 12161837 w 12436475"/>
              <a:gd name="connsiteY14" fmla="*/ 0 h 6994525"/>
              <a:gd name="connsiteX15" fmla="*/ 12436475 w 12436475"/>
              <a:gd name="connsiteY15" fmla="*/ 0 h 6994525"/>
              <a:gd name="connsiteX16" fmla="*/ 12436475 w 12436475"/>
              <a:gd name="connsiteY16" fmla="*/ 4320223 h 6994525"/>
              <a:gd name="connsiteX17" fmla="*/ 12436475 w 12436475"/>
              <a:gd name="connsiteY17" fmla="*/ 4500064 h 6994525"/>
              <a:gd name="connsiteX18" fmla="*/ 12436475 w 12436475"/>
              <a:gd name="connsiteY18" fmla="*/ 6697663 h 6994525"/>
              <a:gd name="connsiteX19" fmla="*/ 12436475 w 12436475"/>
              <a:gd name="connsiteY19" fmla="*/ 6994525 h 6994525"/>
              <a:gd name="connsiteX20" fmla="*/ 12161837 w 12436475"/>
              <a:gd name="connsiteY20" fmla="*/ 6994525 h 6994525"/>
              <a:gd name="connsiteX21" fmla="*/ 4459854 w 12436475"/>
              <a:gd name="connsiteY21" fmla="*/ 6994525 h 6994525"/>
              <a:gd name="connsiteX22" fmla="*/ 4307455 w 12436475"/>
              <a:gd name="connsiteY22" fmla="*/ 6994525 h 6994525"/>
              <a:gd name="connsiteX23" fmla="*/ 274638 w 12436475"/>
              <a:gd name="connsiteY23" fmla="*/ 6994525 h 6994525"/>
              <a:gd name="connsiteX24" fmla="*/ 1 w 12436475"/>
              <a:gd name="connsiteY24" fmla="*/ 6994525 h 6994525"/>
              <a:gd name="connsiteX25" fmla="*/ 0 w 12436475"/>
              <a:gd name="connsiteY25"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36475" h="6994525">
                <a:moveTo>
                  <a:pt x="4459854" y="4500064"/>
                </a:moveTo>
                <a:lnTo>
                  <a:pt x="4459854" y="6697663"/>
                </a:lnTo>
                <a:lnTo>
                  <a:pt x="12161837" y="6697663"/>
                </a:lnTo>
                <a:lnTo>
                  <a:pt x="12161837" y="4500064"/>
                </a:lnTo>
                <a:close/>
                <a:moveTo>
                  <a:pt x="0" y="0"/>
                </a:moveTo>
                <a:lnTo>
                  <a:pt x="274638" y="0"/>
                </a:lnTo>
                <a:lnTo>
                  <a:pt x="274638" y="6697663"/>
                </a:lnTo>
                <a:lnTo>
                  <a:pt x="4307455" y="6697663"/>
                </a:lnTo>
                <a:lnTo>
                  <a:pt x="4307455" y="4500064"/>
                </a:lnTo>
                <a:lnTo>
                  <a:pt x="4307455" y="4320223"/>
                </a:lnTo>
                <a:lnTo>
                  <a:pt x="4307455" y="2125663"/>
                </a:lnTo>
                <a:lnTo>
                  <a:pt x="4459854" y="2125663"/>
                </a:lnTo>
                <a:lnTo>
                  <a:pt x="4459854" y="4320223"/>
                </a:lnTo>
                <a:lnTo>
                  <a:pt x="12161837" y="4320223"/>
                </a:lnTo>
                <a:lnTo>
                  <a:pt x="12161837" y="0"/>
                </a:lnTo>
                <a:lnTo>
                  <a:pt x="12436475" y="0"/>
                </a:lnTo>
                <a:lnTo>
                  <a:pt x="12436475" y="4320223"/>
                </a:lnTo>
                <a:lnTo>
                  <a:pt x="12436475" y="4500064"/>
                </a:lnTo>
                <a:lnTo>
                  <a:pt x="12436475" y="6697663"/>
                </a:lnTo>
                <a:lnTo>
                  <a:pt x="12436475" y="6994525"/>
                </a:lnTo>
                <a:lnTo>
                  <a:pt x="12161837" y="6994525"/>
                </a:lnTo>
                <a:lnTo>
                  <a:pt x="4459854" y="6994525"/>
                </a:lnTo>
                <a:lnTo>
                  <a:pt x="4307455" y="6994525"/>
                </a:lnTo>
                <a:lnTo>
                  <a:pt x="274638" y="6994525"/>
                </a:lnTo>
                <a:lnTo>
                  <a:pt x="1" y="6994525"/>
                </a:lnTo>
                <a:lnTo>
                  <a:pt x="0" y="6994525"/>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835485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withEffect">
                                  <p:stCondLst>
                                    <p:cond delay="75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10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1000" fill="hold"/>
                                        <p:tgtEl>
                                          <p:spTgt spid="8"/>
                                        </p:tgtEl>
                                        <p:attrNameLst>
                                          <p:attrName>ppt_x</p:attrName>
                                        </p:attrNameLst>
                                      </p:cBhvr>
                                      <p:tavLst>
                                        <p:tav tm="0">
                                          <p:val>
                                            <p:strVal val="#ppt_x"/>
                                          </p:val>
                                        </p:tav>
                                        <p:tav tm="100000">
                                          <p:val>
                                            <p:strVal val="#ppt_x"/>
                                          </p:val>
                                        </p:tav>
                                      </p:tavLst>
                                    </p:anim>
                                    <p:anim calcmode="lin" valueType="num">
                                      <p:cBhvr additive="base">
                                        <p:cTn id="12" dur="1000" fill="hold"/>
                                        <p:tgtEl>
                                          <p:spTgt spid="8"/>
                                        </p:tgtEl>
                                        <p:attrNameLst>
                                          <p:attrName>ppt_y</p:attrName>
                                        </p:attrNameLst>
                                      </p:cBhvr>
                                      <p:tavLst>
                                        <p:tav tm="0">
                                          <p:val>
                                            <p:strVal val="1+#ppt_h/2"/>
                                          </p:val>
                                        </p:tav>
                                        <p:tav tm="100000">
                                          <p:val>
                                            <p:strVal val="#ppt_y"/>
                                          </p:val>
                                        </p:tav>
                                      </p:tavLst>
                                    </p:anim>
                                  </p:childTnLst>
                                </p:cTn>
                              </p:par>
                              <p:par>
                                <p:cTn id="13" presetID="2" presetClass="entr" presetSubtype="6" decel="100000" fill="hold" grpId="0" nodeType="withEffect">
                                  <p:stCondLst>
                                    <p:cond delay="125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1000" fill="hold"/>
                                        <p:tgtEl>
                                          <p:spTgt spid="5"/>
                                        </p:tgtEl>
                                        <p:attrNameLst>
                                          <p:attrName>ppt_x</p:attrName>
                                        </p:attrNameLst>
                                      </p:cBhvr>
                                      <p:tavLst>
                                        <p:tav tm="0">
                                          <p:val>
                                            <p:strVal val="1+#ppt_w/2"/>
                                          </p:val>
                                        </p:tav>
                                        <p:tav tm="100000">
                                          <p:val>
                                            <p:strVal val="#ppt_x"/>
                                          </p:val>
                                        </p:tav>
                                      </p:tavLst>
                                    </p:anim>
                                    <p:anim calcmode="lin" valueType="num">
                                      <p:cBhvr additive="base">
                                        <p:cTn id="16" dur="1000" fill="hold"/>
                                        <p:tgtEl>
                                          <p:spTgt spid="5"/>
                                        </p:tgtEl>
                                        <p:attrNameLst>
                                          <p:attrName>ppt_y</p:attrName>
                                        </p:attrNameLst>
                                      </p:cBhvr>
                                      <p:tavLst>
                                        <p:tav tm="0">
                                          <p:val>
                                            <p:strVal val="1+#ppt_h/2"/>
                                          </p:val>
                                        </p:tav>
                                        <p:tav tm="100000">
                                          <p:val>
                                            <p:strVal val="#ppt_y"/>
                                          </p:val>
                                        </p:tav>
                                      </p:tavLst>
                                    </p:anim>
                                  </p:childTnLst>
                                </p:cTn>
                              </p:par>
                              <p:par>
                                <p:cTn id="17" presetID="2" presetClass="entr" presetSubtype="2" decel="100000" fill="hold" nodeType="withEffect">
                                  <p:stCondLst>
                                    <p:cond delay="150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1000" fill="hold"/>
                                        <p:tgtEl>
                                          <p:spTgt spid="6"/>
                                        </p:tgtEl>
                                        <p:attrNameLst>
                                          <p:attrName>ppt_x</p:attrName>
                                        </p:attrNameLst>
                                      </p:cBhvr>
                                      <p:tavLst>
                                        <p:tav tm="0">
                                          <p:val>
                                            <p:strVal val="1+#ppt_w/2"/>
                                          </p:val>
                                        </p:tav>
                                        <p:tav tm="100000">
                                          <p:val>
                                            <p:strVal val="#ppt_x"/>
                                          </p:val>
                                        </p:tav>
                                      </p:tavLst>
                                    </p:anim>
                                    <p:anim calcmode="lin" valueType="num">
                                      <p:cBhvr additive="base">
                                        <p:cTn id="20" dur="1000" fill="hold"/>
                                        <p:tgtEl>
                                          <p:spTgt spid="6"/>
                                        </p:tgtEl>
                                        <p:attrNameLst>
                                          <p:attrName>ppt_y</p:attrName>
                                        </p:attrNameLst>
                                      </p:cBhvr>
                                      <p:tavLst>
                                        <p:tav tm="0">
                                          <p:val>
                                            <p:strVal val="#ppt_y"/>
                                          </p:val>
                                        </p:tav>
                                        <p:tav tm="100000">
                                          <p:val>
                                            <p:strVal val="#ppt_y"/>
                                          </p:val>
                                        </p:tav>
                                      </p:tavLst>
                                    </p:anim>
                                  </p:childTnLst>
                                </p:cTn>
                              </p:par>
                              <p:par>
                                <p:cTn id="21" presetID="2" presetClass="entr" presetSubtype="4" decel="100000" fill="hold" nodeType="withEffect">
                                  <p:stCondLst>
                                    <p:cond delay="1500"/>
                                  </p:stCondLst>
                                  <p:childTnLst>
                                    <p:set>
                                      <p:cBhvr>
                                        <p:cTn id="22" dur="1" fill="hold">
                                          <p:stCondLst>
                                            <p:cond delay="0"/>
                                          </p:stCondLst>
                                        </p:cTn>
                                        <p:tgtEl>
                                          <p:spTgt spid="9"/>
                                        </p:tgtEl>
                                        <p:attrNameLst>
                                          <p:attrName>style.visibility</p:attrName>
                                        </p:attrNameLst>
                                      </p:cBhvr>
                                      <p:to>
                                        <p:strVal val="visible"/>
                                      </p:to>
                                    </p:set>
                                    <p:anim calcmode="lin" valueType="num">
                                      <p:cBhvr additive="base">
                                        <p:cTn id="23" dur="1000" fill="hold"/>
                                        <p:tgtEl>
                                          <p:spTgt spid="9"/>
                                        </p:tgtEl>
                                        <p:attrNameLst>
                                          <p:attrName>ppt_x</p:attrName>
                                        </p:attrNameLst>
                                      </p:cBhvr>
                                      <p:tavLst>
                                        <p:tav tm="0">
                                          <p:val>
                                            <p:strVal val="#ppt_x"/>
                                          </p:val>
                                        </p:tav>
                                        <p:tav tm="100000">
                                          <p:val>
                                            <p:strVal val="#ppt_x"/>
                                          </p:val>
                                        </p:tav>
                                      </p:tavLst>
                                    </p:anim>
                                    <p:anim calcmode="lin" valueType="num">
                                      <p:cBhvr additive="base">
                                        <p:cTn id="24" dur="1000" fill="hold"/>
                                        <p:tgtEl>
                                          <p:spTgt spid="9"/>
                                        </p:tgtEl>
                                        <p:attrNameLst>
                                          <p:attrName>ppt_y</p:attrName>
                                        </p:attrNameLst>
                                      </p:cBhvr>
                                      <p:tavLst>
                                        <p:tav tm="0">
                                          <p:val>
                                            <p:strVal val="1+#ppt_h/2"/>
                                          </p:val>
                                        </p:tav>
                                        <p:tav tm="100000">
                                          <p:val>
                                            <p:strVal val="#ppt_y"/>
                                          </p:val>
                                        </p:tav>
                                      </p:tavLst>
                                    </p:anim>
                                  </p:childTnLst>
                                </p:cTn>
                              </p:par>
                              <p:par>
                                <p:cTn id="25" presetID="2" presetClass="entr" presetSubtype="2" decel="100000" fill="hold" nodeType="withEffect">
                                  <p:stCondLst>
                                    <p:cond delay="175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1000" fill="hold"/>
                                        <p:tgtEl>
                                          <p:spTgt spid="12"/>
                                        </p:tgtEl>
                                        <p:attrNameLst>
                                          <p:attrName>ppt_x</p:attrName>
                                        </p:attrNameLst>
                                      </p:cBhvr>
                                      <p:tavLst>
                                        <p:tav tm="0">
                                          <p:val>
                                            <p:strVal val="1+#ppt_w/2"/>
                                          </p:val>
                                        </p:tav>
                                        <p:tav tm="100000">
                                          <p:val>
                                            <p:strVal val="#ppt_x"/>
                                          </p:val>
                                        </p:tav>
                                      </p:tavLst>
                                    </p:anim>
                                    <p:anim calcmode="lin" valueType="num">
                                      <p:cBhvr additive="base">
                                        <p:cTn id="28" dur="1000" fill="hold"/>
                                        <p:tgtEl>
                                          <p:spTgt spid="12"/>
                                        </p:tgtEl>
                                        <p:attrNameLst>
                                          <p:attrName>ppt_y</p:attrName>
                                        </p:attrNameLst>
                                      </p:cBhvr>
                                      <p:tavLst>
                                        <p:tav tm="0">
                                          <p:val>
                                            <p:strVal val="#ppt_y"/>
                                          </p:val>
                                        </p:tav>
                                        <p:tav tm="100000">
                                          <p:val>
                                            <p:strVal val="#ppt_y"/>
                                          </p:val>
                                        </p:tav>
                                      </p:tavLst>
                                    </p:anim>
                                  </p:childTnLst>
                                </p:cTn>
                              </p:par>
                              <p:par>
                                <p:cTn id="29" presetID="2" presetClass="entr" presetSubtype="4" decel="100000" fill="hold" nodeType="withEffect">
                                  <p:stCondLst>
                                    <p:cond delay="1750"/>
                                  </p:stCondLst>
                                  <p:childTnLst>
                                    <p:set>
                                      <p:cBhvr>
                                        <p:cTn id="30" dur="1" fill="hold">
                                          <p:stCondLst>
                                            <p:cond delay="0"/>
                                          </p:stCondLst>
                                        </p:cTn>
                                        <p:tgtEl>
                                          <p:spTgt spid="11"/>
                                        </p:tgtEl>
                                        <p:attrNameLst>
                                          <p:attrName>style.visibility</p:attrName>
                                        </p:attrNameLst>
                                      </p:cBhvr>
                                      <p:to>
                                        <p:strVal val="visible"/>
                                      </p:to>
                                    </p:set>
                                    <p:anim calcmode="lin" valueType="num">
                                      <p:cBhvr additive="base">
                                        <p:cTn id="31" dur="1000" fill="hold"/>
                                        <p:tgtEl>
                                          <p:spTgt spid="11"/>
                                        </p:tgtEl>
                                        <p:attrNameLst>
                                          <p:attrName>ppt_x</p:attrName>
                                        </p:attrNameLst>
                                      </p:cBhvr>
                                      <p:tavLst>
                                        <p:tav tm="0">
                                          <p:val>
                                            <p:strVal val="#ppt_x"/>
                                          </p:val>
                                        </p:tav>
                                        <p:tav tm="100000">
                                          <p:val>
                                            <p:strVal val="#ppt_x"/>
                                          </p:val>
                                        </p:tav>
                                      </p:tavLst>
                                    </p:anim>
                                    <p:anim calcmode="lin" valueType="num">
                                      <p:cBhvr additive="base">
                                        <p:cTn id="32" dur="1000" fill="hold"/>
                                        <p:tgtEl>
                                          <p:spTgt spid="11"/>
                                        </p:tgtEl>
                                        <p:attrNameLst>
                                          <p:attrName>ppt_y</p:attrName>
                                        </p:attrNameLst>
                                      </p:cBhvr>
                                      <p:tavLst>
                                        <p:tav tm="0">
                                          <p:val>
                                            <p:strVal val="1+#ppt_h/2"/>
                                          </p:val>
                                        </p:tav>
                                        <p:tav tm="100000">
                                          <p:val>
                                            <p:strVal val="#ppt_y"/>
                                          </p:val>
                                        </p:tav>
                                      </p:tavLst>
                                    </p:anim>
                                  </p:childTnLst>
                                </p:cTn>
                              </p:par>
                              <p:par>
                                <p:cTn id="33" presetID="2" presetClass="entr" presetSubtype="2" decel="100000" fill="hold" nodeType="withEffect">
                                  <p:stCondLst>
                                    <p:cond delay="2000"/>
                                  </p:stCondLst>
                                  <p:childTnLst>
                                    <p:set>
                                      <p:cBhvr>
                                        <p:cTn id="34" dur="1" fill="hold">
                                          <p:stCondLst>
                                            <p:cond delay="0"/>
                                          </p:stCondLst>
                                        </p:cTn>
                                        <p:tgtEl>
                                          <p:spTgt spid="13"/>
                                        </p:tgtEl>
                                        <p:attrNameLst>
                                          <p:attrName>style.visibility</p:attrName>
                                        </p:attrNameLst>
                                      </p:cBhvr>
                                      <p:to>
                                        <p:strVal val="visible"/>
                                      </p:to>
                                    </p:set>
                                    <p:anim calcmode="lin" valueType="num">
                                      <p:cBhvr additive="base">
                                        <p:cTn id="35" dur="1000" fill="hold"/>
                                        <p:tgtEl>
                                          <p:spTgt spid="13"/>
                                        </p:tgtEl>
                                        <p:attrNameLst>
                                          <p:attrName>ppt_x</p:attrName>
                                        </p:attrNameLst>
                                      </p:cBhvr>
                                      <p:tavLst>
                                        <p:tav tm="0">
                                          <p:val>
                                            <p:strVal val="1+#ppt_w/2"/>
                                          </p:val>
                                        </p:tav>
                                        <p:tav tm="100000">
                                          <p:val>
                                            <p:strVal val="#ppt_x"/>
                                          </p:val>
                                        </p:tav>
                                      </p:tavLst>
                                    </p:anim>
                                    <p:anim calcmode="lin" valueType="num">
                                      <p:cBhvr additive="base">
                                        <p:cTn id="36" dur="1000" fill="hold"/>
                                        <p:tgtEl>
                                          <p:spTgt spid="13"/>
                                        </p:tgtEl>
                                        <p:attrNameLst>
                                          <p:attrName>ppt_y</p:attrName>
                                        </p:attrNameLst>
                                      </p:cBhvr>
                                      <p:tavLst>
                                        <p:tav tm="0">
                                          <p:val>
                                            <p:strVal val="#ppt_y"/>
                                          </p:val>
                                        </p:tav>
                                        <p:tav tm="100000">
                                          <p:val>
                                            <p:strVal val="#ppt_y"/>
                                          </p:val>
                                        </p:tav>
                                      </p:tavLst>
                                    </p:anim>
                                  </p:childTnLst>
                                </p:cTn>
                              </p:par>
                              <p:par>
                                <p:cTn id="37" presetID="2" presetClass="entr" presetSubtype="4" decel="100000" fill="hold" nodeType="withEffect">
                                  <p:stCondLst>
                                    <p:cond delay="2000"/>
                                  </p:stCondLst>
                                  <p:childTnLst>
                                    <p:set>
                                      <p:cBhvr>
                                        <p:cTn id="38" dur="1" fill="hold">
                                          <p:stCondLst>
                                            <p:cond delay="0"/>
                                          </p:stCondLst>
                                        </p:cTn>
                                        <p:tgtEl>
                                          <p:spTgt spid="10"/>
                                        </p:tgtEl>
                                        <p:attrNameLst>
                                          <p:attrName>style.visibility</p:attrName>
                                        </p:attrNameLst>
                                      </p:cBhvr>
                                      <p:to>
                                        <p:strVal val="visible"/>
                                      </p:to>
                                    </p:set>
                                    <p:anim calcmode="lin" valueType="num">
                                      <p:cBhvr additive="base">
                                        <p:cTn id="39" dur="1000" fill="hold"/>
                                        <p:tgtEl>
                                          <p:spTgt spid="10"/>
                                        </p:tgtEl>
                                        <p:attrNameLst>
                                          <p:attrName>ppt_x</p:attrName>
                                        </p:attrNameLst>
                                      </p:cBhvr>
                                      <p:tavLst>
                                        <p:tav tm="0">
                                          <p:val>
                                            <p:strVal val="#ppt_x"/>
                                          </p:val>
                                        </p:tav>
                                        <p:tav tm="100000">
                                          <p:val>
                                            <p:strVal val="#ppt_x"/>
                                          </p:val>
                                        </p:tav>
                                      </p:tavLst>
                                    </p:anim>
                                    <p:anim calcmode="lin" valueType="num">
                                      <p:cBhvr additive="base">
                                        <p:cTn id="40" dur="10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Isosceles Triangle 11"/>
          <p:cNvSpPr/>
          <p:nvPr/>
        </p:nvSpPr>
        <p:spPr bwMode="auto">
          <a:xfrm rot="5400000">
            <a:off x="7586389" y="3040002"/>
            <a:ext cx="4554072" cy="903013"/>
          </a:xfrm>
          <a:prstGeom prst="triangle">
            <a:avLst/>
          </a:prstGeom>
          <a:gradFill flip="none" rotWithShape="1">
            <a:gsLst>
              <a:gs pos="0">
                <a:srgbClr val="FFFFFF"/>
              </a:gs>
              <a:gs pos="100000">
                <a:srgbClr val="FFFFFF">
                  <a:alpha val="0"/>
                </a:srgbClr>
              </a:gs>
            </a:gsLst>
            <a:lin ang="5400000" scaled="1"/>
            <a:tileRect/>
          </a:gra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err="1">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Evaluate this session</a:t>
            </a:r>
            <a:endParaRPr lang="en-US" dirty="0"/>
          </a:p>
        </p:txBody>
      </p:sp>
      <p:sp>
        <p:nvSpPr>
          <p:cNvPr id="7" name="TextBox 6"/>
          <p:cNvSpPr txBox="1"/>
          <p:nvPr/>
        </p:nvSpPr>
        <p:spPr>
          <a:xfrm>
            <a:off x="292249" y="2143592"/>
            <a:ext cx="4572318" cy="4561249"/>
          </a:xfrm>
          <a:prstGeom prst="rect">
            <a:avLst/>
          </a:prstGeom>
          <a:noFill/>
        </p:spPr>
        <p:txBody>
          <a:bodyPr wrap="square" lIns="182880" tIns="146304" rIns="182880" bIns="146304" rtlCol="0">
            <a:spAutoFit/>
          </a:bodyPr>
          <a:lstStyle/>
          <a:p>
            <a:pPr>
              <a:lnSpc>
                <a:spcPct val="90000"/>
              </a:lnSpc>
              <a:spcAft>
                <a:spcPts val="600"/>
              </a:spcAft>
            </a:pPr>
            <a:r>
              <a:rPr lang="en-US" sz="4400" b="1" dirty="0" smtClean="0">
                <a:gradFill>
                  <a:gsLst>
                    <a:gs pos="1250">
                      <a:srgbClr val="FFFFFF"/>
                    </a:gs>
                    <a:gs pos="100000">
                      <a:srgbClr val="FFFFFF"/>
                    </a:gs>
                  </a:gsLst>
                  <a:lin ang="5400000" scaled="0"/>
                </a:gradFill>
              </a:rPr>
              <a:t>Scan this QR code </a:t>
            </a:r>
            <a:r>
              <a:rPr lang="en-US" sz="4400" dirty="0" smtClean="0">
                <a:gradFill>
                  <a:gsLst>
                    <a:gs pos="1250">
                      <a:srgbClr val="FFFFFF"/>
                    </a:gs>
                    <a:gs pos="100000">
                      <a:srgbClr val="FFFFFF"/>
                    </a:gs>
                  </a:gsLst>
                  <a:lin ang="5400000" scaled="0"/>
                </a:gradFill>
              </a:rPr>
              <a:t>to evaluate this session and be automatically entered in a drawing to </a:t>
            </a:r>
            <a:br>
              <a:rPr lang="en-US" sz="4400" dirty="0" smtClean="0">
                <a:gradFill>
                  <a:gsLst>
                    <a:gs pos="1250">
                      <a:srgbClr val="FFFFFF"/>
                    </a:gs>
                    <a:gs pos="100000">
                      <a:srgbClr val="FFFFFF"/>
                    </a:gs>
                  </a:gsLst>
                  <a:lin ang="5400000" scaled="0"/>
                </a:gradFill>
              </a:rPr>
            </a:br>
            <a:r>
              <a:rPr lang="en-US" sz="4400" dirty="0" smtClean="0">
                <a:gradFill>
                  <a:gsLst>
                    <a:gs pos="1250">
                      <a:srgbClr val="FFFFFF"/>
                    </a:gs>
                    <a:gs pos="100000">
                      <a:srgbClr val="FFFFFF"/>
                    </a:gs>
                  </a:gsLst>
                  <a:lin ang="5400000" scaled="0"/>
                </a:gradFill>
              </a:rPr>
              <a:t>win a prize</a:t>
            </a:r>
            <a:endParaRPr lang="en-US" sz="4400" b="1" dirty="0" smtClean="0">
              <a:gradFill>
                <a:gsLst>
                  <a:gs pos="1250">
                    <a:srgbClr val="FFFFFF"/>
                  </a:gs>
                  <a:gs pos="100000">
                    <a:srgbClr val="FFFFFF"/>
                  </a:gs>
                </a:gsLst>
                <a:lin ang="5400000" scaled="0"/>
              </a:gradFill>
            </a:endParaRPr>
          </a:p>
        </p:txBody>
      </p:sp>
      <p:grpSp>
        <p:nvGrpSpPr>
          <p:cNvPr id="10" name="Group 9"/>
          <p:cNvGrpSpPr/>
          <p:nvPr/>
        </p:nvGrpSpPr>
        <p:grpSpPr>
          <a:xfrm>
            <a:off x="9943129" y="1559114"/>
            <a:ext cx="1915773" cy="4209429"/>
            <a:chOff x="9835555" y="1393220"/>
            <a:chExt cx="2076450" cy="4562475"/>
          </a:xfrm>
        </p:grpSpPr>
        <p:pic>
          <p:nvPicPr>
            <p:cNvPr id="9" name="Pictur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967237" y="1892483"/>
              <a:ext cx="1807824" cy="3237981"/>
            </a:xfrm>
            <a:prstGeom prst="rect">
              <a:avLst/>
            </a:prstGeom>
          </p:spPr>
        </p:pic>
        <p:pic>
          <p:nvPicPr>
            <p:cNvPr id="8" name="Picture 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835555" y="1393220"/>
              <a:ext cx="2076450" cy="4562475"/>
            </a:xfrm>
            <a:prstGeom prst="rect">
              <a:avLst/>
            </a:prstGeom>
          </p:spPr>
        </p:pic>
      </p:grpSp>
      <p:sp>
        <p:nvSpPr>
          <p:cNvPr id="5" name="Rectangle 4" hidden="1"/>
          <p:cNvSpPr/>
          <p:nvPr/>
        </p:nvSpPr>
        <p:spPr bwMode="auto">
          <a:xfrm>
            <a:off x="9218612" y="115512"/>
            <a:ext cx="2854754" cy="2185214"/>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defTabSz="914099" fontAlgn="base">
              <a:spcBef>
                <a:spcPct val="0"/>
              </a:spcBef>
              <a:spcAft>
                <a:spcPct val="0"/>
              </a:spcAft>
            </a:pPr>
            <a:r>
              <a:rPr lang="en-US" sz="2800" b="1" dirty="0">
                <a:solidFill>
                  <a:srgbClr val="FFFFFF">
                    <a:alpha val="99000"/>
                  </a:srgbClr>
                </a:solidFill>
              </a:rPr>
              <a:t>Required Slide </a:t>
            </a:r>
            <a:endParaRPr lang="en-US" sz="2800" b="1" dirty="0" smtClean="0">
              <a:solidFill>
                <a:srgbClr val="FFFFFF">
                  <a:alpha val="99000"/>
                </a:srgbClr>
              </a:solidFill>
            </a:endParaRPr>
          </a:p>
          <a:p>
            <a:pPr defTabSz="914099" fontAlgn="base">
              <a:spcBef>
                <a:spcPct val="0"/>
              </a:spcBef>
              <a:spcAft>
                <a:spcPct val="0"/>
              </a:spcAft>
            </a:pPr>
            <a:r>
              <a:rPr lang="en-US" sz="1200" dirty="0">
                <a:solidFill>
                  <a:srgbClr val="FFFFFF">
                    <a:alpha val="99000"/>
                  </a:srgbClr>
                </a:solidFill>
              </a:rPr>
              <a:t>*delete this box when your slide is finalized</a:t>
            </a:r>
          </a:p>
          <a:p>
            <a:pPr defTabSz="914099" fontAlgn="base">
              <a:spcBef>
                <a:spcPct val="0"/>
              </a:spcBef>
              <a:spcAft>
                <a:spcPct val="0"/>
              </a:spcAft>
            </a:pPr>
            <a:endParaRPr lang="en-US" dirty="0">
              <a:solidFill>
                <a:srgbClr val="FFFFFF">
                  <a:alpha val="99000"/>
                </a:srgbClr>
              </a:solidFill>
            </a:endParaRPr>
          </a:p>
          <a:p>
            <a:r>
              <a:rPr lang="en-US" dirty="0">
                <a:solidFill>
                  <a:srgbClr val="FFFFFF">
                    <a:alpha val="99000"/>
                  </a:srgbClr>
                </a:solidFill>
              </a:rPr>
              <a:t>Your MS Tag will be inserted here during the final scrub. </a:t>
            </a:r>
          </a:p>
        </p:txBody>
      </p:sp>
      <p:pic>
        <p:nvPicPr>
          <p:cNvPr id="11" name="Picture 2"/>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4846638" y="1214472"/>
            <a:ext cx="4572000" cy="457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81317338"/>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273051" y="6079032"/>
            <a:ext cx="10974388"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3 Microsoft Corporation. All rights reserved. Microsoft, Windows and other product names are or may be registered trademarks and/or trademarks in the U.S. and/or other countries.</a:t>
            </a:r>
          </a:p>
          <a:p>
            <a:pPr defTabSz="932290" eaLnBrk="0" hangingPunct="0"/>
            <a:r>
              <a:rPr lang="en-US" sz="7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2492700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9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4" name="Rectangle 43"/>
          <p:cNvSpPr/>
          <p:nvPr/>
        </p:nvSpPr>
        <p:spPr bwMode="auto">
          <a:xfrm>
            <a:off x="274639" y="1216470"/>
            <a:ext cx="11887200" cy="5454045"/>
          </a:xfrm>
          <a:prstGeom prst="rect">
            <a:avLst/>
          </a:prstGeom>
          <a:solidFill>
            <a:schemeClr val="tx1">
              <a:lumMod val="95000"/>
            </a:schemeClr>
          </a:solidFill>
          <a:ln w="9525" cap="flat" cmpd="sng" algn="ctr">
            <a:noFill/>
            <a:prstDash val="solid"/>
            <a:headEnd type="none" w="med" len="med"/>
            <a:tailEnd type="none" w="med" len="med"/>
          </a:ln>
          <a:effectLst/>
        </p:spPr>
        <p:txBody>
          <a:bodyPr vert="horz" wrap="square" lIns="182880" tIns="54864" rIns="91440" bIns="54864" numCol="1" rtlCol="0" anchor="t" anchorCtr="0" compatLnSpc="1">
            <a:prstTxWarp prst="textNoShape">
              <a:avLst/>
            </a:prstTxWarp>
            <a:noAutofit/>
          </a:bodyPr>
          <a:lstStyle/>
          <a:p>
            <a:pPr defTabSz="748588" fontAlgn="base">
              <a:spcBef>
                <a:spcPct val="0"/>
              </a:spcBef>
              <a:spcAft>
                <a:spcPct val="0"/>
              </a:spcAft>
            </a:pPr>
            <a:endParaRPr lang="en-US" sz="2000" kern="0" dirty="0">
              <a:gradFill>
                <a:gsLst>
                  <a:gs pos="0">
                    <a:schemeClr val="bg1"/>
                  </a:gs>
                  <a:gs pos="100000">
                    <a:schemeClr val="bg1"/>
                  </a:gs>
                </a:gsLst>
                <a:lin ang="5400000" scaled="0"/>
              </a:gradFill>
            </a:endParaRPr>
          </a:p>
        </p:txBody>
      </p:sp>
      <p:sp>
        <p:nvSpPr>
          <p:cNvPr id="2" name="Title 1"/>
          <p:cNvSpPr>
            <a:spLocks noGrp="1"/>
          </p:cNvSpPr>
          <p:nvPr>
            <p:ph type="title"/>
          </p:nvPr>
        </p:nvSpPr>
        <p:spPr/>
        <p:txBody>
          <a:bodyPr/>
          <a:lstStyle/>
          <a:p>
            <a:r>
              <a:rPr lang="en-US" dirty="0" smtClean="0"/>
              <a:t>Long term opportunity </a:t>
            </a:r>
            <a:endParaRPr lang="en-US" dirty="0"/>
          </a:p>
        </p:txBody>
      </p:sp>
      <p:sp>
        <p:nvSpPr>
          <p:cNvPr id="9" name="TextBox 8"/>
          <p:cNvSpPr txBox="1"/>
          <p:nvPr/>
        </p:nvSpPr>
        <p:spPr>
          <a:xfrm>
            <a:off x="274639" y="5993407"/>
            <a:ext cx="11887200" cy="677108"/>
          </a:xfrm>
          <a:prstGeom prst="rect">
            <a:avLst/>
          </a:prstGeom>
          <a:noFill/>
        </p:spPr>
        <p:txBody>
          <a:bodyPr wrap="square" lIns="182880" tIns="91440" rIns="182880" bIns="91440" rtlCol="0">
            <a:spAutoFit/>
          </a:bodyPr>
          <a:lstStyle/>
          <a:p>
            <a:r>
              <a:rPr lang="en-US" sz="1600" dirty="0" smtClean="0">
                <a:gradFill>
                  <a:gsLst>
                    <a:gs pos="0">
                      <a:schemeClr val="bg1"/>
                    </a:gs>
                    <a:gs pos="100000">
                      <a:schemeClr val="bg1"/>
                    </a:gs>
                  </a:gsLst>
                  <a:lin ang="5400000" scaled="0"/>
                </a:gradFill>
              </a:rPr>
              <a:t>Note: Illustrative based on potential one percent savings applied across specific global industry sectors.</a:t>
            </a:r>
          </a:p>
          <a:p>
            <a:r>
              <a:rPr lang="en-US" sz="1600" dirty="0" smtClean="0">
                <a:gradFill>
                  <a:gsLst>
                    <a:gs pos="0">
                      <a:schemeClr val="bg1"/>
                    </a:gs>
                    <a:gs pos="100000">
                      <a:schemeClr val="bg1"/>
                    </a:gs>
                  </a:gsLst>
                  <a:lin ang="5400000" scaled="0"/>
                </a:gradFill>
              </a:rPr>
              <a:t>Source: GE estimates</a:t>
            </a:r>
          </a:p>
        </p:txBody>
      </p:sp>
      <p:sp>
        <p:nvSpPr>
          <p:cNvPr id="13" name="Rectangle 12"/>
          <p:cNvSpPr/>
          <p:nvPr/>
        </p:nvSpPr>
        <p:spPr bwMode="auto">
          <a:xfrm>
            <a:off x="366079" y="1666876"/>
            <a:ext cx="11704320" cy="608403"/>
          </a:xfrm>
          <a:prstGeom prst="rect">
            <a:avLst/>
          </a:prstGeom>
          <a:solidFill>
            <a:schemeClr val="accent1"/>
          </a:solidFill>
          <a:ln w="9525" cap="flat" cmpd="sng" algn="ctr">
            <a:noFill/>
            <a:prstDash val="solid"/>
            <a:headEnd type="none" w="med" len="med"/>
            <a:tailEnd type="none" w="med" len="med"/>
          </a:ln>
          <a:effectLst/>
        </p:spPr>
        <p:txBody>
          <a:bodyPr vert="horz" wrap="square" lIns="182880" tIns="146304" rIns="182880" bIns="146304" numCol="1" rtlCol="0" anchor="ctr" anchorCtr="0" compatLnSpc="1">
            <a:prstTxWarp prst="textNoShape">
              <a:avLst/>
            </a:prstTxWarp>
            <a:noAutofit/>
          </a:bodyPr>
          <a:lstStyle/>
          <a:p>
            <a:pPr algn="ctr" defTabSz="748588" fontAlgn="base">
              <a:spcBef>
                <a:spcPct val="0"/>
              </a:spcBef>
              <a:spcAft>
                <a:spcPct val="0"/>
              </a:spcAft>
            </a:pPr>
            <a:r>
              <a:rPr lang="en-US" sz="2800" kern="0" dirty="0" smtClean="0">
                <a:gradFill>
                  <a:gsLst>
                    <a:gs pos="0">
                      <a:srgbClr val="FFFFFF"/>
                    </a:gs>
                    <a:gs pos="100000">
                      <a:srgbClr val="FFFFFF"/>
                    </a:gs>
                  </a:gsLst>
                  <a:lin ang="5400000" scaled="0"/>
                </a:gradFill>
                <a:latin typeface="+mj-lt"/>
              </a:rPr>
              <a:t>What if… Potential Performance Gains in Key Sectors</a:t>
            </a:r>
            <a:endParaRPr lang="en-US" sz="2800" kern="0" dirty="0">
              <a:gradFill>
                <a:gsLst>
                  <a:gs pos="0">
                    <a:srgbClr val="FFFFFF"/>
                  </a:gs>
                  <a:gs pos="100000">
                    <a:srgbClr val="FFFFFF"/>
                  </a:gs>
                </a:gsLst>
                <a:lin ang="5400000" scaled="0"/>
              </a:gradFill>
              <a:latin typeface="+mj-lt"/>
            </a:endParaRPr>
          </a:p>
        </p:txBody>
      </p:sp>
      <p:sp>
        <p:nvSpPr>
          <p:cNvPr id="14" name="Rectangle 13"/>
          <p:cNvSpPr/>
          <p:nvPr/>
        </p:nvSpPr>
        <p:spPr bwMode="auto">
          <a:xfrm>
            <a:off x="366079" y="2333353"/>
            <a:ext cx="11704320" cy="3665111"/>
          </a:xfrm>
          <a:prstGeom prst="rect">
            <a:avLst/>
          </a:prstGeom>
          <a:solidFill>
            <a:schemeClr val="accent2">
              <a:lumMod val="20000"/>
              <a:lumOff val="80000"/>
            </a:schemeClr>
          </a:solidFill>
          <a:ln w="9525" cap="flat" cmpd="sng" algn="ctr">
            <a:noFill/>
            <a:prstDash val="solid"/>
            <a:headEnd type="none" w="med" len="med"/>
            <a:tailEnd type="none" w="med" len="med"/>
          </a:ln>
          <a:effectLst/>
        </p:spPr>
        <p:txBody>
          <a:bodyPr vert="horz" wrap="square" lIns="274320" tIns="91440" rIns="91440" bIns="54864" numCol="1" rtlCol="0" anchor="t" anchorCtr="0" compatLnSpc="1">
            <a:prstTxWarp prst="textNoShape">
              <a:avLst/>
            </a:prstTxWarp>
            <a:noAutofit/>
          </a:bodyPr>
          <a:lstStyle/>
          <a:p>
            <a:pPr defTabSz="748588" fontAlgn="base">
              <a:spcBef>
                <a:spcPct val="0"/>
              </a:spcBef>
              <a:spcAft>
                <a:spcPct val="0"/>
              </a:spcAft>
            </a:pPr>
            <a:r>
              <a:rPr lang="en-US" sz="2000" kern="0" dirty="0" smtClean="0">
                <a:gradFill>
                  <a:gsLst>
                    <a:gs pos="0">
                      <a:schemeClr val="bg1"/>
                    </a:gs>
                    <a:gs pos="100000">
                      <a:schemeClr val="bg1"/>
                    </a:gs>
                  </a:gsLst>
                  <a:lin ang="5400000" scaled="0"/>
                </a:gradFill>
              </a:rPr>
              <a:t>Industry</a:t>
            </a:r>
            <a:endParaRPr lang="en-US" sz="2000" kern="0" dirty="0">
              <a:gradFill>
                <a:gsLst>
                  <a:gs pos="0">
                    <a:schemeClr val="bg1"/>
                  </a:gs>
                  <a:gs pos="100000">
                    <a:schemeClr val="bg1"/>
                  </a:gs>
                </a:gsLst>
                <a:lin ang="5400000" scaled="0"/>
              </a:gradFill>
            </a:endParaRPr>
          </a:p>
        </p:txBody>
      </p:sp>
      <p:sp>
        <p:nvSpPr>
          <p:cNvPr id="15" name="Rectangle 14"/>
          <p:cNvSpPr/>
          <p:nvPr/>
        </p:nvSpPr>
        <p:spPr bwMode="auto">
          <a:xfrm>
            <a:off x="545831" y="2963685"/>
            <a:ext cx="11371197" cy="534291"/>
          </a:xfrm>
          <a:prstGeom prst="rect">
            <a:avLst/>
          </a:prstGeom>
          <a:solidFill>
            <a:schemeClr val="accent2"/>
          </a:solidFill>
          <a:ln w="9525" cap="flat" cmpd="sng" algn="ctr">
            <a:noFill/>
            <a:prstDash val="solid"/>
            <a:headEnd type="none" w="med" len="med"/>
            <a:tailEnd type="none" w="med" len="med"/>
          </a:ln>
          <a:effectLst/>
        </p:spPr>
        <p:txBody>
          <a:bodyPr vert="horz" wrap="square" lIns="91440" tIns="54864" rIns="91440" bIns="54864" numCol="1" rtlCol="0" anchor="ctr" anchorCtr="0" compatLnSpc="1">
            <a:prstTxWarp prst="textNoShape">
              <a:avLst/>
            </a:prstTxWarp>
            <a:noAutofit/>
          </a:bodyPr>
          <a:lstStyle/>
          <a:p>
            <a:pPr defTabSz="748588" fontAlgn="base">
              <a:spcBef>
                <a:spcPct val="0"/>
              </a:spcBef>
              <a:spcAft>
                <a:spcPct val="0"/>
              </a:spcAft>
            </a:pPr>
            <a:r>
              <a:rPr lang="en-US" kern="0" dirty="0" smtClean="0">
                <a:gradFill>
                  <a:gsLst>
                    <a:gs pos="0">
                      <a:schemeClr val="tx1"/>
                    </a:gs>
                    <a:gs pos="100000">
                      <a:schemeClr val="tx1"/>
                    </a:gs>
                  </a:gsLst>
                  <a:lin ang="5400000" scaled="0"/>
                </a:gradFill>
              </a:rPr>
              <a:t>Aviation</a:t>
            </a:r>
            <a:endParaRPr lang="en-US" kern="0" dirty="0">
              <a:gradFill>
                <a:gsLst>
                  <a:gs pos="0">
                    <a:schemeClr val="tx1"/>
                  </a:gs>
                  <a:gs pos="100000">
                    <a:schemeClr val="tx1"/>
                  </a:gs>
                </a:gsLst>
                <a:lin ang="5400000" scaled="0"/>
              </a:gradFill>
            </a:endParaRPr>
          </a:p>
        </p:txBody>
      </p:sp>
      <p:sp>
        <p:nvSpPr>
          <p:cNvPr id="16" name="Rectangle 15"/>
          <p:cNvSpPr/>
          <p:nvPr/>
        </p:nvSpPr>
        <p:spPr bwMode="auto">
          <a:xfrm>
            <a:off x="545831" y="5242146"/>
            <a:ext cx="11371197" cy="534291"/>
          </a:xfrm>
          <a:prstGeom prst="rect">
            <a:avLst/>
          </a:prstGeom>
          <a:solidFill>
            <a:schemeClr val="accent2"/>
          </a:solidFill>
          <a:ln w="9525" cap="flat" cmpd="sng" algn="ctr">
            <a:noFill/>
            <a:prstDash val="solid"/>
            <a:headEnd type="none" w="med" len="med"/>
            <a:tailEnd type="none" w="med" len="med"/>
          </a:ln>
          <a:effectLst/>
        </p:spPr>
        <p:txBody>
          <a:bodyPr vert="horz" wrap="square" lIns="91440" tIns="54864" rIns="91440" bIns="54864" numCol="1" rtlCol="0" anchor="ctr" anchorCtr="0" compatLnSpc="1">
            <a:prstTxWarp prst="textNoShape">
              <a:avLst/>
            </a:prstTxWarp>
            <a:noAutofit/>
          </a:bodyPr>
          <a:lstStyle/>
          <a:p>
            <a:pPr defTabSz="748588" fontAlgn="base">
              <a:spcBef>
                <a:spcPct val="0"/>
              </a:spcBef>
              <a:spcAft>
                <a:spcPct val="0"/>
              </a:spcAft>
            </a:pPr>
            <a:r>
              <a:rPr lang="en-US" kern="0" dirty="0" smtClean="0">
                <a:gradFill>
                  <a:gsLst>
                    <a:gs pos="0">
                      <a:schemeClr val="tx1"/>
                    </a:gs>
                    <a:gs pos="100000">
                      <a:schemeClr val="tx1"/>
                    </a:gs>
                  </a:gsLst>
                  <a:lin ang="5400000" scaled="0"/>
                </a:gradFill>
              </a:rPr>
              <a:t>Oil &amp; Gas</a:t>
            </a:r>
            <a:endParaRPr lang="en-US" kern="0" dirty="0">
              <a:gradFill>
                <a:gsLst>
                  <a:gs pos="0">
                    <a:schemeClr val="tx1"/>
                  </a:gs>
                  <a:gs pos="100000">
                    <a:schemeClr val="tx1"/>
                  </a:gs>
                </a:gsLst>
                <a:lin ang="5400000" scaled="0"/>
              </a:gradFill>
            </a:endParaRPr>
          </a:p>
        </p:txBody>
      </p:sp>
      <p:sp>
        <p:nvSpPr>
          <p:cNvPr id="17" name="Rectangle 16"/>
          <p:cNvSpPr/>
          <p:nvPr/>
        </p:nvSpPr>
        <p:spPr bwMode="auto">
          <a:xfrm>
            <a:off x="545831" y="4672530"/>
            <a:ext cx="11371197" cy="534291"/>
          </a:xfrm>
          <a:prstGeom prst="rect">
            <a:avLst/>
          </a:prstGeom>
          <a:solidFill>
            <a:schemeClr val="accent2"/>
          </a:solidFill>
          <a:ln w="9525" cap="flat" cmpd="sng" algn="ctr">
            <a:noFill/>
            <a:prstDash val="solid"/>
            <a:headEnd type="none" w="med" len="med"/>
            <a:tailEnd type="none" w="med" len="med"/>
          </a:ln>
          <a:effectLst/>
        </p:spPr>
        <p:txBody>
          <a:bodyPr vert="horz" wrap="square" lIns="91440" tIns="54864" rIns="91440" bIns="54864" numCol="1" rtlCol="0" anchor="ctr" anchorCtr="0" compatLnSpc="1">
            <a:prstTxWarp prst="textNoShape">
              <a:avLst/>
            </a:prstTxWarp>
            <a:noAutofit/>
          </a:bodyPr>
          <a:lstStyle/>
          <a:p>
            <a:pPr defTabSz="748588" fontAlgn="base">
              <a:spcBef>
                <a:spcPct val="0"/>
              </a:spcBef>
              <a:spcAft>
                <a:spcPct val="0"/>
              </a:spcAft>
            </a:pPr>
            <a:r>
              <a:rPr lang="en-US" sz="2000" kern="0" dirty="0" smtClean="0">
                <a:gradFill>
                  <a:gsLst>
                    <a:gs pos="0">
                      <a:schemeClr val="tx1"/>
                    </a:gs>
                    <a:gs pos="100000">
                      <a:schemeClr val="tx1"/>
                    </a:gs>
                  </a:gsLst>
                  <a:lin ang="5400000" scaled="0"/>
                </a:gradFill>
              </a:rPr>
              <a:t>Rail</a:t>
            </a:r>
            <a:endParaRPr lang="en-US" sz="2000" kern="0" dirty="0">
              <a:gradFill>
                <a:gsLst>
                  <a:gs pos="0">
                    <a:schemeClr val="tx1"/>
                  </a:gs>
                  <a:gs pos="100000">
                    <a:schemeClr val="tx1"/>
                  </a:gs>
                </a:gsLst>
                <a:lin ang="5400000" scaled="0"/>
              </a:gradFill>
            </a:endParaRPr>
          </a:p>
        </p:txBody>
      </p:sp>
      <p:sp>
        <p:nvSpPr>
          <p:cNvPr id="18" name="Rectangle 17"/>
          <p:cNvSpPr/>
          <p:nvPr/>
        </p:nvSpPr>
        <p:spPr bwMode="auto">
          <a:xfrm>
            <a:off x="545831" y="4102915"/>
            <a:ext cx="11371197" cy="534291"/>
          </a:xfrm>
          <a:prstGeom prst="rect">
            <a:avLst/>
          </a:prstGeom>
          <a:solidFill>
            <a:schemeClr val="accent2"/>
          </a:solidFill>
          <a:ln w="9525" cap="flat" cmpd="sng" algn="ctr">
            <a:noFill/>
            <a:prstDash val="solid"/>
            <a:headEnd type="none" w="med" len="med"/>
            <a:tailEnd type="none" w="med" len="med"/>
          </a:ln>
          <a:effectLst/>
        </p:spPr>
        <p:txBody>
          <a:bodyPr vert="horz" wrap="square" lIns="91440" tIns="54864" rIns="91440" bIns="54864" numCol="1" rtlCol="0" anchor="ctr" anchorCtr="0" compatLnSpc="1">
            <a:prstTxWarp prst="textNoShape">
              <a:avLst/>
            </a:prstTxWarp>
            <a:noAutofit/>
          </a:bodyPr>
          <a:lstStyle/>
          <a:p>
            <a:pPr defTabSz="748588" fontAlgn="base">
              <a:spcBef>
                <a:spcPct val="0"/>
              </a:spcBef>
              <a:spcAft>
                <a:spcPct val="0"/>
              </a:spcAft>
            </a:pPr>
            <a:r>
              <a:rPr lang="en-US" kern="0" dirty="0">
                <a:gradFill>
                  <a:gsLst>
                    <a:gs pos="0">
                      <a:schemeClr val="tx1"/>
                    </a:gs>
                    <a:gs pos="100000">
                      <a:schemeClr val="tx1"/>
                    </a:gs>
                  </a:gsLst>
                  <a:lin ang="5400000" scaled="0"/>
                </a:gradFill>
              </a:rPr>
              <a:t>H</a:t>
            </a:r>
            <a:r>
              <a:rPr lang="en-US" kern="0" dirty="0" smtClean="0">
                <a:gradFill>
                  <a:gsLst>
                    <a:gs pos="0">
                      <a:schemeClr val="tx1"/>
                    </a:gs>
                    <a:gs pos="100000">
                      <a:schemeClr val="tx1"/>
                    </a:gs>
                  </a:gsLst>
                  <a:lin ang="5400000" scaled="0"/>
                </a:gradFill>
              </a:rPr>
              <a:t>ealthcare</a:t>
            </a:r>
            <a:endParaRPr lang="en-US" kern="0" dirty="0">
              <a:gradFill>
                <a:gsLst>
                  <a:gs pos="0">
                    <a:schemeClr val="tx1"/>
                  </a:gs>
                  <a:gs pos="100000">
                    <a:schemeClr val="tx1"/>
                  </a:gs>
                </a:gsLst>
                <a:lin ang="5400000" scaled="0"/>
              </a:gradFill>
            </a:endParaRPr>
          </a:p>
        </p:txBody>
      </p:sp>
      <p:sp>
        <p:nvSpPr>
          <p:cNvPr id="19" name="Rectangle 18"/>
          <p:cNvSpPr/>
          <p:nvPr/>
        </p:nvSpPr>
        <p:spPr bwMode="auto">
          <a:xfrm>
            <a:off x="545831" y="3533300"/>
            <a:ext cx="11371197" cy="534291"/>
          </a:xfrm>
          <a:prstGeom prst="rect">
            <a:avLst/>
          </a:prstGeom>
          <a:solidFill>
            <a:schemeClr val="accent2"/>
          </a:solidFill>
          <a:ln w="9525" cap="flat" cmpd="sng" algn="ctr">
            <a:noFill/>
            <a:prstDash val="solid"/>
            <a:headEnd type="none" w="med" len="med"/>
            <a:tailEnd type="none" w="med" len="med"/>
          </a:ln>
          <a:effectLst/>
        </p:spPr>
        <p:txBody>
          <a:bodyPr vert="horz" wrap="square" lIns="91440" tIns="54864" rIns="91440" bIns="54864" numCol="1" rtlCol="0" anchor="ctr" anchorCtr="0" compatLnSpc="1">
            <a:prstTxWarp prst="textNoShape">
              <a:avLst/>
            </a:prstTxWarp>
            <a:noAutofit/>
          </a:bodyPr>
          <a:lstStyle/>
          <a:p>
            <a:pPr defTabSz="748588" fontAlgn="base">
              <a:spcBef>
                <a:spcPct val="0"/>
              </a:spcBef>
              <a:spcAft>
                <a:spcPct val="0"/>
              </a:spcAft>
            </a:pPr>
            <a:r>
              <a:rPr lang="en-US" kern="0" dirty="0" smtClean="0">
                <a:gradFill>
                  <a:gsLst>
                    <a:gs pos="0">
                      <a:schemeClr val="tx1"/>
                    </a:gs>
                    <a:gs pos="100000">
                      <a:schemeClr val="tx1"/>
                    </a:gs>
                  </a:gsLst>
                  <a:lin ang="5400000" scaled="0"/>
                </a:gradFill>
              </a:rPr>
              <a:t>Power</a:t>
            </a:r>
            <a:endParaRPr lang="en-US" kern="0" dirty="0">
              <a:gradFill>
                <a:gsLst>
                  <a:gs pos="0">
                    <a:schemeClr val="tx1"/>
                  </a:gs>
                  <a:gs pos="100000">
                    <a:schemeClr val="tx1"/>
                  </a:gs>
                </a:gsLst>
                <a:lin ang="5400000" scaled="0"/>
              </a:gradFill>
            </a:endParaRPr>
          </a:p>
        </p:txBody>
      </p:sp>
      <p:sp>
        <p:nvSpPr>
          <p:cNvPr id="20" name="Rectangle 19"/>
          <p:cNvSpPr/>
          <p:nvPr/>
        </p:nvSpPr>
        <p:spPr bwMode="auto">
          <a:xfrm>
            <a:off x="8578047" y="2408692"/>
            <a:ext cx="3169170" cy="3474720"/>
          </a:xfrm>
          <a:prstGeom prst="rect">
            <a:avLst/>
          </a:prstGeom>
          <a:solidFill>
            <a:schemeClr val="accent2">
              <a:alpha val="50000"/>
            </a:schemeClr>
          </a:solidFill>
          <a:ln w="9525" cap="flat" cmpd="sng" algn="ctr">
            <a:noFill/>
            <a:prstDash val="solid"/>
            <a:headEnd type="none" w="med" len="med"/>
            <a:tailEnd type="none" w="med" len="med"/>
          </a:ln>
          <a:effectLst/>
        </p:spPr>
        <p:txBody>
          <a:bodyPr vert="horz" wrap="square" lIns="91440" tIns="91440" rIns="91440" bIns="54864" numCol="1" rtlCol="0" anchor="t" anchorCtr="0" compatLnSpc="1">
            <a:prstTxWarp prst="textNoShape">
              <a:avLst/>
            </a:prstTxWarp>
            <a:noAutofit/>
          </a:bodyPr>
          <a:lstStyle/>
          <a:p>
            <a:pPr algn="ctr" defTabSz="748588" fontAlgn="base">
              <a:spcBef>
                <a:spcPct val="0"/>
              </a:spcBef>
              <a:spcAft>
                <a:spcPct val="0"/>
              </a:spcAft>
            </a:pPr>
            <a:r>
              <a:rPr lang="en-US" sz="1600" kern="0" dirty="0" smtClean="0">
                <a:gradFill>
                  <a:gsLst>
                    <a:gs pos="0">
                      <a:schemeClr val="bg1"/>
                    </a:gs>
                    <a:gs pos="100000">
                      <a:schemeClr val="bg1"/>
                    </a:gs>
                  </a:gsLst>
                  <a:lin ang="5400000" scaled="0"/>
                </a:gradFill>
              </a:rPr>
              <a:t>Estimated Value Over 15 Years </a:t>
            </a:r>
            <a:r>
              <a:rPr lang="en-US" sz="1200" kern="0" dirty="0" smtClean="0">
                <a:gradFill>
                  <a:gsLst>
                    <a:gs pos="0">
                      <a:schemeClr val="bg1"/>
                    </a:gs>
                    <a:gs pos="100000">
                      <a:schemeClr val="bg1"/>
                    </a:gs>
                  </a:gsLst>
                  <a:lin ang="5400000" scaled="0"/>
                </a:gradFill>
              </a:rPr>
              <a:t>(Billion nominal US dollars)</a:t>
            </a:r>
            <a:endParaRPr lang="en-US" sz="1200" kern="0" dirty="0">
              <a:gradFill>
                <a:gsLst>
                  <a:gs pos="0">
                    <a:schemeClr val="bg1"/>
                  </a:gs>
                  <a:gs pos="100000">
                    <a:schemeClr val="bg1"/>
                  </a:gs>
                </a:gsLst>
                <a:lin ang="5400000" scaled="0"/>
              </a:gradFill>
            </a:endParaRPr>
          </a:p>
        </p:txBody>
      </p:sp>
      <p:sp>
        <p:nvSpPr>
          <p:cNvPr id="21" name="Rectangle 20"/>
          <p:cNvSpPr/>
          <p:nvPr/>
        </p:nvSpPr>
        <p:spPr bwMode="auto">
          <a:xfrm>
            <a:off x="2166744" y="2408692"/>
            <a:ext cx="3169170" cy="3474720"/>
          </a:xfrm>
          <a:prstGeom prst="rect">
            <a:avLst/>
          </a:prstGeom>
          <a:solidFill>
            <a:schemeClr val="accent2">
              <a:alpha val="50000"/>
            </a:schemeClr>
          </a:solidFill>
          <a:ln w="9525" cap="flat" cmpd="sng" algn="ctr">
            <a:noFill/>
            <a:prstDash val="solid"/>
            <a:headEnd type="none" w="med" len="med"/>
            <a:tailEnd type="none" w="med" len="med"/>
          </a:ln>
          <a:effectLst/>
        </p:spPr>
        <p:txBody>
          <a:bodyPr vert="horz" wrap="square" lIns="91440" tIns="137160" rIns="91440" bIns="54864" numCol="1" rtlCol="0" anchor="t" anchorCtr="0" compatLnSpc="1">
            <a:prstTxWarp prst="textNoShape">
              <a:avLst/>
            </a:prstTxWarp>
            <a:noAutofit/>
          </a:bodyPr>
          <a:lstStyle/>
          <a:p>
            <a:pPr algn="ctr" defTabSz="748588" fontAlgn="base">
              <a:spcBef>
                <a:spcPct val="0"/>
              </a:spcBef>
              <a:spcAft>
                <a:spcPct val="0"/>
              </a:spcAft>
            </a:pPr>
            <a:r>
              <a:rPr lang="en-US" sz="1600" kern="0" dirty="0" smtClean="0">
                <a:gradFill>
                  <a:gsLst>
                    <a:gs pos="0">
                      <a:schemeClr val="bg1"/>
                    </a:gs>
                    <a:gs pos="100000">
                      <a:schemeClr val="bg1"/>
                    </a:gs>
                  </a:gsLst>
                  <a:lin ang="5400000" scaled="0"/>
                </a:gradFill>
              </a:rPr>
              <a:t>Segment</a:t>
            </a:r>
            <a:endParaRPr lang="en-US" sz="1600" kern="0" dirty="0">
              <a:gradFill>
                <a:gsLst>
                  <a:gs pos="0">
                    <a:schemeClr val="bg1"/>
                  </a:gs>
                  <a:gs pos="100000">
                    <a:schemeClr val="bg1"/>
                  </a:gs>
                </a:gsLst>
                <a:lin ang="5400000" scaled="0"/>
              </a:gradFill>
            </a:endParaRPr>
          </a:p>
        </p:txBody>
      </p:sp>
      <p:sp>
        <p:nvSpPr>
          <p:cNvPr id="22" name="Rectangle 21"/>
          <p:cNvSpPr/>
          <p:nvPr/>
        </p:nvSpPr>
        <p:spPr bwMode="auto">
          <a:xfrm>
            <a:off x="5372395" y="2408692"/>
            <a:ext cx="3169170" cy="3474720"/>
          </a:xfrm>
          <a:prstGeom prst="rect">
            <a:avLst/>
          </a:prstGeom>
          <a:solidFill>
            <a:schemeClr val="accent2">
              <a:alpha val="50000"/>
            </a:schemeClr>
          </a:solidFill>
          <a:ln w="9525" cap="flat" cmpd="sng" algn="ctr">
            <a:noFill/>
            <a:prstDash val="solid"/>
            <a:headEnd type="none" w="med" len="med"/>
            <a:tailEnd type="none" w="med" len="med"/>
          </a:ln>
          <a:effectLst/>
        </p:spPr>
        <p:txBody>
          <a:bodyPr vert="horz" wrap="square" lIns="91440" tIns="137160" rIns="91440" bIns="54864" numCol="1" rtlCol="0" anchor="t" anchorCtr="0" compatLnSpc="1">
            <a:prstTxWarp prst="textNoShape">
              <a:avLst/>
            </a:prstTxWarp>
            <a:noAutofit/>
          </a:bodyPr>
          <a:lstStyle/>
          <a:p>
            <a:pPr algn="ctr" defTabSz="748588" fontAlgn="base">
              <a:spcBef>
                <a:spcPct val="0"/>
              </a:spcBef>
              <a:spcAft>
                <a:spcPct val="0"/>
              </a:spcAft>
            </a:pPr>
            <a:r>
              <a:rPr lang="en-US" sz="1600" kern="0" dirty="0" smtClean="0">
                <a:gradFill>
                  <a:gsLst>
                    <a:gs pos="0">
                      <a:schemeClr val="bg1"/>
                    </a:gs>
                    <a:gs pos="100000">
                      <a:schemeClr val="bg1"/>
                    </a:gs>
                  </a:gsLst>
                  <a:lin ang="5400000" scaled="0"/>
                </a:gradFill>
              </a:rPr>
              <a:t>Type of Savings</a:t>
            </a:r>
            <a:endParaRPr lang="en-US" sz="1600" kern="0" dirty="0">
              <a:gradFill>
                <a:gsLst>
                  <a:gs pos="0">
                    <a:schemeClr val="bg1"/>
                  </a:gs>
                  <a:gs pos="100000">
                    <a:schemeClr val="bg1"/>
                  </a:gs>
                </a:gsLst>
                <a:lin ang="5400000" scaled="0"/>
              </a:gradFill>
            </a:endParaRPr>
          </a:p>
        </p:txBody>
      </p:sp>
      <p:sp>
        <p:nvSpPr>
          <p:cNvPr id="23" name="Rectangle 22"/>
          <p:cNvSpPr/>
          <p:nvPr/>
        </p:nvSpPr>
        <p:spPr bwMode="auto">
          <a:xfrm>
            <a:off x="2166744" y="2963685"/>
            <a:ext cx="3169170" cy="534291"/>
          </a:xfrm>
          <a:prstGeom prst="rect">
            <a:avLst/>
          </a:prstGeom>
          <a:noFill/>
          <a:ln w="9525" cap="flat" cmpd="sng" algn="ctr">
            <a:noFill/>
            <a:prstDash val="solid"/>
            <a:headEnd type="none" w="med" len="med"/>
            <a:tailEnd type="none" w="med" len="med"/>
          </a:ln>
          <a:effectLst/>
        </p:spPr>
        <p:txBody>
          <a:bodyPr vert="horz" wrap="square" lIns="91440" tIns="54864" rIns="91440" bIns="54864" numCol="1" rtlCol="0" anchor="ctr" anchorCtr="0" compatLnSpc="1">
            <a:prstTxWarp prst="textNoShape">
              <a:avLst/>
            </a:prstTxWarp>
            <a:noAutofit/>
          </a:bodyPr>
          <a:lstStyle/>
          <a:p>
            <a:pPr algn="ctr" defTabSz="748588" fontAlgn="base">
              <a:spcBef>
                <a:spcPct val="0"/>
              </a:spcBef>
              <a:spcAft>
                <a:spcPct val="0"/>
              </a:spcAft>
            </a:pPr>
            <a:r>
              <a:rPr lang="en-US" sz="1400" kern="0" dirty="0" smtClean="0">
                <a:gradFill>
                  <a:gsLst>
                    <a:gs pos="0">
                      <a:schemeClr val="tx1"/>
                    </a:gs>
                    <a:gs pos="100000">
                      <a:schemeClr val="tx1"/>
                    </a:gs>
                  </a:gsLst>
                  <a:lin ang="5400000" scaled="0"/>
                </a:gradFill>
              </a:rPr>
              <a:t>Commercial</a:t>
            </a:r>
            <a:endParaRPr lang="en-US" sz="1400" kern="0" dirty="0">
              <a:gradFill>
                <a:gsLst>
                  <a:gs pos="0">
                    <a:schemeClr val="tx1"/>
                  </a:gs>
                  <a:gs pos="100000">
                    <a:schemeClr val="tx1"/>
                  </a:gs>
                </a:gsLst>
                <a:lin ang="5400000" scaled="0"/>
              </a:gradFill>
            </a:endParaRPr>
          </a:p>
        </p:txBody>
      </p:sp>
      <p:sp>
        <p:nvSpPr>
          <p:cNvPr id="29" name="Rectangle 28"/>
          <p:cNvSpPr/>
          <p:nvPr/>
        </p:nvSpPr>
        <p:spPr bwMode="auto">
          <a:xfrm>
            <a:off x="2166744" y="3533300"/>
            <a:ext cx="3169170" cy="534291"/>
          </a:xfrm>
          <a:prstGeom prst="rect">
            <a:avLst/>
          </a:prstGeom>
          <a:noFill/>
          <a:ln w="9525" cap="flat" cmpd="sng" algn="ctr">
            <a:noFill/>
            <a:prstDash val="solid"/>
            <a:headEnd type="none" w="med" len="med"/>
            <a:tailEnd type="none" w="med" len="med"/>
          </a:ln>
          <a:effectLst/>
        </p:spPr>
        <p:txBody>
          <a:bodyPr vert="horz" wrap="square" lIns="91440" tIns="54864" rIns="91440" bIns="54864" numCol="1" rtlCol="0" anchor="ctr" anchorCtr="0" compatLnSpc="1">
            <a:prstTxWarp prst="textNoShape">
              <a:avLst/>
            </a:prstTxWarp>
            <a:noAutofit/>
          </a:bodyPr>
          <a:lstStyle/>
          <a:p>
            <a:pPr algn="ctr" defTabSz="748588" fontAlgn="base">
              <a:spcBef>
                <a:spcPct val="0"/>
              </a:spcBef>
              <a:spcAft>
                <a:spcPct val="0"/>
              </a:spcAft>
            </a:pPr>
            <a:r>
              <a:rPr lang="en-US" sz="1400" kern="0" dirty="0">
                <a:gradFill>
                  <a:gsLst>
                    <a:gs pos="0">
                      <a:schemeClr val="tx1"/>
                    </a:gs>
                    <a:gs pos="100000">
                      <a:schemeClr val="tx1"/>
                    </a:gs>
                  </a:gsLst>
                  <a:lin ang="5400000" scaled="0"/>
                </a:gradFill>
              </a:rPr>
              <a:t>Gas-fired Generation</a:t>
            </a:r>
          </a:p>
        </p:txBody>
      </p:sp>
      <p:sp>
        <p:nvSpPr>
          <p:cNvPr id="30" name="Rectangle 29"/>
          <p:cNvSpPr/>
          <p:nvPr/>
        </p:nvSpPr>
        <p:spPr bwMode="auto">
          <a:xfrm>
            <a:off x="2166744" y="4102915"/>
            <a:ext cx="3169170" cy="534291"/>
          </a:xfrm>
          <a:prstGeom prst="rect">
            <a:avLst/>
          </a:prstGeom>
          <a:noFill/>
          <a:ln w="9525" cap="flat" cmpd="sng" algn="ctr">
            <a:noFill/>
            <a:prstDash val="solid"/>
            <a:headEnd type="none" w="med" len="med"/>
            <a:tailEnd type="none" w="med" len="med"/>
          </a:ln>
          <a:effectLst/>
        </p:spPr>
        <p:txBody>
          <a:bodyPr vert="horz" wrap="square" lIns="91440" tIns="54864" rIns="91440" bIns="54864" numCol="1" rtlCol="0" anchor="ctr" anchorCtr="0" compatLnSpc="1">
            <a:prstTxWarp prst="textNoShape">
              <a:avLst/>
            </a:prstTxWarp>
            <a:noAutofit/>
          </a:bodyPr>
          <a:lstStyle/>
          <a:p>
            <a:pPr algn="ctr" defTabSz="748588" fontAlgn="base">
              <a:spcBef>
                <a:spcPct val="0"/>
              </a:spcBef>
              <a:spcAft>
                <a:spcPct val="0"/>
              </a:spcAft>
            </a:pPr>
            <a:r>
              <a:rPr lang="en-US" sz="1400" kern="0" dirty="0">
                <a:gradFill>
                  <a:gsLst>
                    <a:gs pos="0">
                      <a:schemeClr val="tx1"/>
                    </a:gs>
                    <a:gs pos="100000">
                      <a:schemeClr val="tx1"/>
                    </a:gs>
                  </a:gsLst>
                  <a:lin ang="5400000" scaled="0"/>
                </a:gradFill>
              </a:rPr>
              <a:t>System-wide</a:t>
            </a:r>
          </a:p>
        </p:txBody>
      </p:sp>
      <p:sp>
        <p:nvSpPr>
          <p:cNvPr id="31" name="Rectangle 30"/>
          <p:cNvSpPr/>
          <p:nvPr/>
        </p:nvSpPr>
        <p:spPr bwMode="auto">
          <a:xfrm>
            <a:off x="2166744" y="4672530"/>
            <a:ext cx="3169170" cy="534291"/>
          </a:xfrm>
          <a:prstGeom prst="rect">
            <a:avLst/>
          </a:prstGeom>
          <a:noFill/>
          <a:ln w="9525" cap="flat" cmpd="sng" algn="ctr">
            <a:noFill/>
            <a:prstDash val="solid"/>
            <a:headEnd type="none" w="med" len="med"/>
            <a:tailEnd type="none" w="med" len="med"/>
          </a:ln>
          <a:effectLst/>
        </p:spPr>
        <p:txBody>
          <a:bodyPr vert="horz" wrap="square" lIns="91440" tIns="54864" rIns="91440" bIns="54864" numCol="1" rtlCol="0" anchor="ctr" anchorCtr="0" compatLnSpc="1">
            <a:prstTxWarp prst="textNoShape">
              <a:avLst/>
            </a:prstTxWarp>
            <a:noAutofit/>
          </a:bodyPr>
          <a:lstStyle/>
          <a:p>
            <a:pPr algn="ctr" defTabSz="748588" fontAlgn="base">
              <a:spcBef>
                <a:spcPct val="0"/>
              </a:spcBef>
              <a:spcAft>
                <a:spcPct val="0"/>
              </a:spcAft>
            </a:pPr>
            <a:r>
              <a:rPr lang="en-US" sz="1400" kern="0" dirty="0">
                <a:gradFill>
                  <a:gsLst>
                    <a:gs pos="0">
                      <a:schemeClr val="tx1"/>
                    </a:gs>
                    <a:gs pos="100000">
                      <a:schemeClr val="tx1"/>
                    </a:gs>
                  </a:gsLst>
                  <a:lin ang="5400000" scaled="0"/>
                </a:gradFill>
              </a:rPr>
              <a:t>Freight</a:t>
            </a:r>
          </a:p>
        </p:txBody>
      </p:sp>
      <p:sp>
        <p:nvSpPr>
          <p:cNvPr id="32" name="Rectangle 31"/>
          <p:cNvSpPr/>
          <p:nvPr/>
        </p:nvSpPr>
        <p:spPr bwMode="auto">
          <a:xfrm>
            <a:off x="2166744" y="5242146"/>
            <a:ext cx="3169170" cy="534291"/>
          </a:xfrm>
          <a:prstGeom prst="rect">
            <a:avLst/>
          </a:prstGeom>
          <a:noFill/>
          <a:ln w="9525" cap="flat" cmpd="sng" algn="ctr">
            <a:noFill/>
            <a:prstDash val="solid"/>
            <a:headEnd type="none" w="med" len="med"/>
            <a:tailEnd type="none" w="med" len="med"/>
          </a:ln>
          <a:effectLst/>
        </p:spPr>
        <p:txBody>
          <a:bodyPr vert="horz" wrap="square" lIns="91440" tIns="54864" rIns="91440" bIns="54864" numCol="1" rtlCol="0" anchor="ctr" anchorCtr="0" compatLnSpc="1">
            <a:prstTxWarp prst="textNoShape">
              <a:avLst/>
            </a:prstTxWarp>
            <a:noAutofit/>
          </a:bodyPr>
          <a:lstStyle/>
          <a:p>
            <a:pPr algn="ctr" defTabSz="748588" fontAlgn="base">
              <a:spcBef>
                <a:spcPct val="0"/>
              </a:spcBef>
              <a:spcAft>
                <a:spcPct val="0"/>
              </a:spcAft>
            </a:pPr>
            <a:r>
              <a:rPr lang="en-US" sz="1400" kern="0" dirty="0" smtClean="0">
                <a:gradFill>
                  <a:gsLst>
                    <a:gs pos="0">
                      <a:schemeClr val="tx1"/>
                    </a:gs>
                    <a:gs pos="100000">
                      <a:schemeClr val="tx1"/>
                    </a:gs>
                  </a:gsLst>
                  <a:lin ang="5400000" scaled="0"/>
                </a:gradFill>
              </a:rPr>
              <a:t>Exploration </a:t>
            </a:r>
            <a:r>
              <a:rPr lang="en-US" sz="1400" kern="0" dirty="0">
                <a:gradFill>
                  <a:gsLst>
                    <a:gs pos="0">
                      <a:schemeClr val="tx1"/>
                    </a:gs>
                    <a:gs pos="100000">
                      <a:schemeClr val="tx1"/>
                    </a:gs>
                  </a:gsLst>
                  <a:lin ang="5400000" scaled="0"/>
                </a:gradFill>
              </a:rPr>
              <a:t>&amp; Development</a:t>
            </a:r>
          </a:p>
        </p:txBody>
      </p:sp>
      <p:sp>
        <p:nvSpPr>
          <p:cNvPr id="33" name="Rectangle 32"/>
          <p:cNvSpPr/>
          <p:nvPr/>
        </p:nvSpPr>
        <p:spPr bwMode="auto">
          <a:xfrm>
            <a:off x="5372395" y="2963685"/>
            <a:ext cx="3169170" cy="534291"/>
          </a:xfrm>
          <a:prstGeom prst="rect">
            <a:avLst/>
          </a:prstGeom>
          <a:noFill/>
          <a:ln w="9525" cap="flat" cmpd="sng" algn="ctr">
            <a:noFill/>
            <a:prstDash val="solid"/>
            <a:headEnd type="none" w="med" len="med"/>
            <a:tailEnd type="none" w="med" len="med"/>
          </a:ln>
          <a:effectLst/>
        </p:spPr>
        <p:txBody>
          <a:bodyPr vert="horz" wrap="square" lIns="91440" tIns="54864" rIns="91440" bIns="54864" numCol="1" rtlCol="0" anchor="ctr" anchorCtr="0" compatLnSpc="1">
            <a:prstTxWarp prst="textNoShape">
              <a:avLst/>
            </a:prstTxWarp>
            <a:noAutofit/>
          </a:bodyPr>
          <a:lstStyle/>
          <a:p>
            <a:pPr algn="ctr" defTabSz="748588" fontAlgn="base">
              <a:spcBef>
                <a:spcPct val="0"/>
              </a:spcBef>
              <a:spcAft>
                <a:spcPct val="0"/>
              </a:spcAft>
            </a:pPr>
            <a:r>
              <a:rPr lang="en-US" sz="1400" kern="0" dirty="0" smtClean="0">
                <a:gradFill>
                  <a:gsLst>
                    <a:gs pos="0">
                      <a:schemeClr val="tx1"/>
                    </a:gs>
                    <a:gs pos="100000">
                      <a:schemeClr val="tx1"/>
                    </a:gs>
                  </a:gsLst>
                  <a:lin ang="5400000" scaled="0"/>
                </a:gradFill>
              </a:rPr>
              <a:t>1% Fuel Savings</a:t>
            </a:r>
            <a:endParaRPr lang="en-US" sz="1400" kern="0" dirty="0">
              <a:gradFill>
                <a:gsLst>
                  <a:gs pos="0">
                    <a:schemeClr val="tx1"/>
                  </a:gs>
                  <a:gs pos="100000">
                    <a:schemeClr val="tx1"/>
                  </a:gs>
                </a:gsLst>
                <a:lin ang="5400000" scaled="0"/>
              </a:gradFill>
            </a:endParaRPr>
          </a:p>
        </p:txBody>
      </p:sp>
      <p:sp>
        <p:nvSpPr>
          <p:cNvPr id="34" name="Rectangle 33"/>
          <p:cNvSpPr/>
          <p:nvPr/>
        </p:nvSpPr>
        <p:spPr bwMode="auto">
          <a:xfrm>
            <a:off x="5372395" y="3533300"/>
            <a:ext cx="3169170" cy="534291"/>
          </a:xfrm>
          <a:prstGeom prst="rect">
            <a:avLst/>
          </a:prstGeom>
          <a:noFill/>
          <a:ln w="9525" cap="flat" cmpd="sng" algn="ctr">
            <a:noFill/>
            <a:prstDash val="solid"/>
            <a:headEnd type="none" w="med" len="med"/>
            <a:tailEnd type="none" w="med" len="med"/>
          </a:ln>
          <a:effectLst/>
        </p:spPr>
        <p:txBody>
          <a:bodyPr vert="horz" wrap="square" lIns="91440" tIns="54864" rIns="91440" bIns="54864" numCol="1" rtlCol="0" anchor="ctr" anchorCtr="0" compatLnSpc="1">
            <a:prstTxWarp prst="textNoShape">
              <a:avLst/>
            </a:prstTxWarp>
            <a:noAutofit/>
          </a:bodyPr>
          <a:lstStyle/>
          <a:p>
            <a:pPr algn="ctr" defTabSz="748588" fontAlgn="base">
              <a:spcBef>
                <a:spcPct val="0"/>
              </a:spcBef>
              <a:spcAft>
                <a:spcPct val="0"/>
              </a:spcAft>
            </a:pPr>
            <a:r>
              <a:rPr lang="en-US" sz="1400" kern="0" dirty="0" smtClean="0">
                <a:gradFill>
                  <a:gsLst>
                    <a:gs pos="0">
                      <a:schemeClr val="tx1"/>
                    </a:gs>
                    <a:gs pos="100000">
                      <a:schemeClr val="tx1"/>
                    </a:gs>
                  </a:gsLst>
                  <a:lin ang="5400000" scaled="0"/>
                </a:gradFill>
              </a:rPr>
              <a:t>1% Fuel Savings</a:t>
            </a:r>
            <a:endParaRPr lang="en-US" sz="1400" kern="0" dirty="0">
              <a:gradFill>
                <a:gsLst>
                  <a:gs pos="0">
                    <a:schemeClr val="tx1"/>
                  </a:gs>
                  <a:gs pos="100000">
                    <a:schemeClr val="tx1"/>
                  </a:gs>
                </a:gsLst>
                <a:lin ang="5400000" scaled="0"/>
              </a:gradFill>
            </a:endParaRPr>
          </a:p>
        </p:txBody>
      </p:sp>
      <p:sp>
        <p:nvSpPr>
          <p:cNvPr id="35" name="Rectangle 34"/>
          <p:cNvSpPr/>
          <p:nvPr/>
        </p:nvSpPr>
        <p:spPr bwMode="auto">
          <a:xfrm>
            <a:off x="5372395" y="4102915"/>
            <a:ext cx="3169170" cy="534291"/>
          </a:xfrm>
          <a:prstGeom prst="rect">
            <a:avLst/>
          </a:prstGeom>
          <a:noFill/>
          <a:ln w="9525" cap="flat" cmpd="sng" algn="ctr">
            <a:noFill/>
            <a:prstDash val="solid"/>
            <a:headEnd type="none" w="med" len="med"/>
            <a:tailEnd type="none" w="med" len="med"/>
          </a:ln>
          <a:effectLst/>
        </p:spPr>
        <p:txBody>
          <a:bodyPr vert="horz" wrap="square" lIns="91440" tIns="54864" rIns="91440" bIns="54864" numCol="1" rtlCol="0" anchor="ctr" anchorCtr="0" compatLnSpc="1">
            <a:prstTxWarp prst="textNoShape">
              <a:avLst/>
            </a:prstTxWarp>
            <a:noAutofit/>
          </a:bodyPr>
          <a:lstStyle/>
          <a:p>
            <a:pPr algn="ctr" defTabSz="748588" fontAlgn="base">
              <a:spcBef>
                <a:spcPct val="0"/>
              </a:spcBef>
              <a:spcAft>
                <a:spcPct val="0"/>
              </a:spcAft>
            </a:pPr>
            <a:r>
              <a:rPr lang="en-US" sz="1400" kern="0" dirty="0" smtClean="0">
                <a:gradFill>
                  <a:gsLst>
                    <a:gs pos="0">
                      <a:schemeClr val="tx1"/>
                    </a:gs>
                    <a:gs pos="100000">
                      <a:schemeClr val="tx1"/>
                    </a:gs>
                  </a:gsLst>
                  <a:lin ang="5400000" scaled="0"/>
                </a:gradFill>
              </a:rPr>
              <a:t>1% Reduction in System Inefficiency</a:t>
            </a:r>
            <a:endParaRPr lang="en-US" sz="1400" kern="0" dirty="0">
              <a:gradFill>
                <a:gsLst>
                  <a:gs pos="0">
                    <a:schemeClr val="tx1"/>
                  </a:gs>
                  <a:gs pos="100000">
                    <a:schemeClr val="tx1"/>
                  </a:gs>
                </a:gsLst>
                <a:lin ang="5400000" scaled="0"/>
              </a:gradFill>
            </a:endParaRPr>
          </a:p>
        </p:txBody>
      </p:sp>
      <p:sp>
        <p:nvSpPr>
          <p:cNvPr id="36" name="Rectangle 35"/>
          <p:cNvSpPr/>
          <p:nvPr/>
        </p:nvSpPr>
        <p:spPr bwMode="auto">
          <a:xfrm>
            <a:off x="5372395" y="4672530"/>
            <a:ext cx="3169170" cy="534291"/>
          </a:xfrm>
          <a:prstGeom prst="rect">
            <a:avLst/>
          </a:prstGeom>
          <a:noFill/>
          <a:ln w="9525" cap="flat" cmpd="sng" algn="ctr">
            <a:noFill/>
            <a:prstDash val="solid"/>
            <a:headEnd type="none" w="med" len="med"/>
            <a:tailEnd type="none" w="med" len="med"/>
          </a:ln>
          <a:effectLst/>
        </p:spPr>
        <p:txBody>
          <a:bodyPr vert="horz" wrap="square" lIns="91440" tIns="54864" rIns="91440" bIns="54864" numCol="1" rtlCol="0" anchor="ctr" anchorCtr="0" compatLnSpc="1">
            <a:prstTxWarp prst="textNoShape">
              <a:avLst/>
            </a:prstTxWarp>
            <a:noAutofit/>
          </a:bodyPr>
          <a:lstStyle/>
          <a:p>
            <a:pPr algn="ctr" defTabSz="748588" fontAlgn="base">
              <a:spcBef>
                <a:spcPct val="0"/>
              </a:spcBef>
              <a:spcAft>
                <a:spcPct val="0"/>
              </a:spcAft>
            </a:pPr>
            <a:r>
              <a:rPr lang="en-US" sz="1400" kern="0" dirty="0">
                <a:gradFill>
                  <a:gsLst>
                    <a:gs pos="0">
                      <a:schemeClr val="tx1"/>
                    </a:gs>
                    <a:gs pos="100000">
                      <a:schemeClr val="tx1"/>
                    </a:gs>
                  </a:gsLst>
                  <a:lin ang="5400000" scaled="0"/>
                </a:gradFill>
              </a:rPr>
              <a:t>1% Reduction in System Inefficiency</a:t>
            </a:r>
          </a:p>
        </p:txBody>
      </p:sp>
      <p:sp>
        <p:nvSpPr>
          <p:cNvPr id="37" name="Rectangle 36"/>
          <p:cNvSpPr/>
          <p:nvPr/>
        </p:nvSpPr>
        <p:spPr bwMode="auto">
          <a:xfrm>
            <a:off x="5372395" y="5242146"/>
            <a:ext cx="3169170" cy="534291"/>
          </a:xfrm>
          <a:prstGeom prst="rect">
            <a:avLst/>
          </a:prstGeom>
          <a:noFill/>
          <a:ln w="9525" cap="flat" cmpd="sng" algn="ctr">
            <a:noFill/>
            <a:prstDash val="solid"/>
            <a:headEnd type="none" w="med" len="med"/>
            <a:tailEnd type="none" w="med" len="med"/>
          </a:ln>
          <a:effectLst/>
        </p:spPr>
        <p:txBody>
          <a:bodyPr vert="horz" wrap="square" lIns="91440" tIns="54864" rIns="91440" bIns="54864" numCol="1" rtlCol="0" anchor="ctr" anchorCtr="0" compatLnSpc="1">
            <a:prstTxWarp prst="textNoShape">
              <a:avLst/>
            </a:prstTxWarp>
            <a:noAutofit/>
          </a:bodyPr>
          <a:lstStyle/>
          <a:p>
            <a:pPr algn="ctr" defTabSz="748588" fontAlgn="base">
              <a:spcBef>
                <a:spcPct val="0"/>
              </a:spcBef>
              <a:spcAft>
                <a:spcPct val="0"/>
              </a:spcAft>
            </a:pPr>
            <a:r>
              <a:rPr lang="en-US" sz="1400" kern="0" dirty="0">
                <a:gradFill>
                  <a:gsLst>
                    <a:gs pos="0">
                      <a:schemeClr val="tx1"/>
                    </a:gs>
                    <a:gs pos="100000">
                      <a:schemeClr val="tx1"/>
                    </a:gs>
                  </a:gsLst>
                  <a:lin ang="5400000" scaled="0"/>
                </a:gradFill>
              </a:rPr>
              <a:t>1% Reduction in </a:t>
            </a:r>
            <a:r>
              <a:rPr lang="en-US" sz="1400" kern="0" dirty="0" smtClean="0">
                <a:gradFill>
                  <a:gsLst>
                    <a:gs pos="0">
                      <a:schemeClr val="tx1"/>
                    </a:gs>
                    <a:gs pos="100000">
                      <a:schemeClr val="tx1"/>
                    </a:gs>
                  </a:gsLst>
                  <a:lin ang="5400000" scaled="0"/>
                </a:gradFill>
              </a:rPr>
              <a:t>Capital </a:t>
            </a:r>
            <a:r>
              <a:rPr lang="en-US" sz="1400" kern="0" dirty="0">
                <a:gradFill>
                  <a:gsLst>
                    <a:gs pos="0">
                      <a:schemeClr val="tx1"/>
                    </a:gs>
                    <a:gs pos="100000">
                      <a:schemeClr val="tx1"/>
                    </a:gs>
                  </a:gsLst>
                  <a:lin ang="5400000" scaled="0"/>
                </a:gradFill>
              </a:rPr>
              <a:t>Inefficiency</a:t>
            </a:r>
          </a:p>
        </p:txBody>
      </p:sp>
      <p:sp>
        <p:nvSpPr>
          <p:cNvPr id="38" name="Rectangle 37"/>
          <p:cNvSpPr/>
          <p:nvPr/>
        </p:nvSpPr>
        <p:spPr bwMode="auto">
          <a:xfrm>
            <a:off x="8578047" y="2963685"/>
            <a:ext cx="3169170" cy="534291"/>
          </a:xfrm>
          <a:prstGeom prst="rect">
            <a:avLst/>
          </a:prstGeom>
          <a:noFill/>
          <a:ln w="9525" cap="flat" cmpd="sng" algn="ctr">
            <a:noFill/>
            <a:prstDash val="solid"/>
            <a:headEnd type="none" w="med" len="med"/>
            <a:tailEnd type="none" w="med" len="med"/>
          </a:ln>
          <a:effectLst/>
        </p:spPr>
        <p:txBody>
          <a:bodyPr vert="horz" wrap="square" lIns="91440" tIns="54864" rIns="91440" bIns="54864" numCol="1" rtlCol="0" anchor="ctr" anchorCtr="0" compatLnSpc="1">
            <a:prstTxWarp prst="textNoShape">
              <a:avLst/>
            </a:prstTxWarp>
            <a:noAutofit/>
          </a:bodyPr>
          <a:lstStyle/>
          <a:p>
            <a:pPr algn="ctr" defTabSz="748588" fontAlgn="base">
              <a:spcBef>
                <a:spcPct val="0"/>
              </a:spcBef>
              <a:spcAft>
                <a:spcPct val="0"/>
              </a:spcAft>
            </a:pPr>
            <a:r>
              <a:rPr lang="en-US" sz="1400" kern="0" baseline="30000" dirty="0" smtClean="0">
                <a:gradFill>
                  <a:gsLst>
                    <a:gs pos="0">
                      <a:schemeClr val="tx1"/>
                    </a:gs>
                    <a:gs pos="100000">
                      <a:schemeClr val="tx1"/>
                    </a:gs>
                  </a:gsLst>
                  <a:lin ang="5400000" scaled="0"/>
                </a:gradFill>
              </a:rPr>
              <a:t>$</a:t>
            </a:r>
            <a:r>
              <a:rPr lang="en-US" sz="1400" kern="0" dirty="0" smtClean="0">
                <a:gradFill>
                  <a:gsLst>
                    <a:gs pos="0">
                      <a:schemeClr val="tx1"/>
                    </a:gs>
                    <a:gs pos="100000">
                      <a:schemeClr val="tx1"/>
                    </a:gs>
                  </a:gsLst>
                  <a:lin ang="5400000" scaled="0"/>
                </a:gradFill>
              </a:rPr>
              <a:t>30B</a:t>
            </a:r>
            <a:endParaRPr lang="en-US" sz="1400" kern="0" dirty="0">
              <a:gradFill>
                <a:gsLst>
                  <a:gs pos="0">
                    <a:schemeClr val="tx1"/>
                  </a:gs>
                  <a:gs pos="100000">
                    <a:schemeClr val="tx1"/>
                  </a:gs>
                </a:gsLst>
                <a:lin ang="5400000" scaled="0"/>
              </a:gradFill>
            </a:endParaRPr>
          </a:p>
        </p:txBody>
      </p:sp>
      <p:sp>
        <p:nvSpPr>
          <p:cNvPr id="39" name="Rectangle 38"/>
          <p:cNvSpPr/>
          <p:nvPr/>
        </p:nvSpPr>
        <p:spPr bwMode="auto">
          <a:xfrm>
            <a:off x="8578047" y="3533300"/>
            <a:ext cx="3169170" cy="534291"/>
          </a:xfrm>
          <a:prstGeom prst="rect">
            <a:avLst/>
          </a:prstGeom>
          <a:noFill/>
          <a:ln w="9525" cap="flat" cmpd="sng" algn="ctr">
            <a:noFill/>
            <a:prstDash val="solid"/>
            <a:headEnd type="none" w="med" len="med"/>
            <a:tailEnd type="none" w="med" len="med"/>
          </a:ln>
          <a:effectLst/>
        </p:spPr>
        <p:txBody>
          <a:bodyPr vert="horz" wrap="square" lIns="91440" tIns="54864" rIns="91440" bIns="54864" numCol="1" rtlCol="0" anchor="ctr" anchorCtr="0" compatLnSpc="1">
            <a:prstTxWarp prst="textNoShape">
              <a:avLst/>
            </a:prstTxWarp>
            <a:noAutofit/>
          </a:bodyPr>
          <a:lstStyle/>
          <a:p>
            <a:pPr algn="ctr" defTabSz="748588" fontAlgn="base">
              <a:spcBef>
                <a:spcPct val="0"/>
              </a:spcBef>
              <a:spcAft>
                <a:spcPct val="0"/>
              </a:spcAft>
            </a:pPr>
            <a:r>
              <a:rPr lang="en-US" sz="1400" kern="0" baseline="30000" dirty="0" smtClean="0">
                <a:gradFill>
                  <a:gsLst>
                    <a:gs pos="0">
                      <a:schemeClr val="tx1"/>
                    </a:gs>
                    <a:gs pos="100000">
                      <a:schemeClr val="tx1"/>
                    </a:gs>
                  </a:gsLst>
                  <a:lin ang="5400000" scaled="0"/>
                </a:gradFill>
              </a:rPr>
              <a:t>$</a:t>
            </a:r>
            <a:r>
              <a:rPr lang="en-US" sz="1400" kern="0" dirty="0" smtClean="0">
                <a:gradFill>
                  <a:gsLst>
                    <a:gs pos="0">
                      <a:schemeClr val="tx1"/>
                    </a:gs>
                    <a:gs pos="100000">
                      <a:schemeClr val="tx1"/>
                    </a:gs>
                  </a:gsLst>
                  <a:lin ang="5400000" scaled="0"/>
                </a:gradFill>
              </a:rPr>
              <a:t>66B</a:t>
            </a:r>
            <a:endParaRPr lang="en-US" sz="1400" kern="0" dirty="0">
              <a:gradFill>
                <a:gsLst>
                  <a:gs pos="0">
                    <a:schemeClr val="tx1"/>
                  </a:gs>
                  <a:gs pos="100000">
                    <a:schemeClr val="tx1"/>
                  </a:gs>
                </a:gsLst>
                <a:lin ang="5400000" scaled="0"/>
              </a:gradFill>
            </a:endParaRPr>
          </a:p>
        </p:txBody>
      </p:sp>
      <p:sp>
        <p:nvSpPr>
          <p:cNvPr id="40" name="Rectangle 39"/>
          <p:cNvSpPr/>
          <p:nvPr/>
        </p:nvSpPr>
        <p:spPr bwMode="auto">
          <a:xfrm>
            <a:off x="8578047" y="4102915"/>
            <a:ext cx="3169170" cy="534291"/>
          </a:xfrm>
          <a:prstGeom prst="rect">
            <a:avLst/>
          </a:prstGeom>
          <a:noFill/>
          <a:ln w="9525" cap="flat" cmpd="sng" algn="ctr">
            <a:noFill/>
            <a:prstDash val="solid"/>
            <a:headEnd type="none" w="med" len="med"/>
            <a:tailEnd type="none" w="med" len="med"/>
          </a:ln>
          <a:effectLst/>
        </p:spPr>
        <p:txBody>
          <a:bodyPr vert="horz" wrap="square" lIns="91440" tIns="54864" rIns="91440" bIns="54864" numCol="1" rtlCol="0" anchor="ctr" anchorCtr="0" compatLnSpc="1">
            <a:prstTxWarp prst="textNoShape">
              <a:avLst/>
            </a:prstTxWarp>
            <a:noAutofit/>
          </a:bodyPr>
          <a:lstStyle/>
          <a:p>
            <a:pPr algn="ctr" defTabSz="748588" fontAlgn="base">
              <a:spcBef>
                <a:spcPct val="0"/>
              </a:spcBef>
              <a:spcAft>
                <a:spcPct val="0"/>
              </a:spcAft>
            </a:pPr>
            <a:r>
              <a:rPr lang="en-US" sz="1400" kern="0" baseline="30000" dirty="0" smtClean="0">
                <a:gradFill>
                  <a:gsLst>
                    <a:gs pos="0">
                      <a:schemeClr val="tx1"/>
                    </a:gs>
                    <a:gs pos="100000">
                      <a:schemeClr val="tx1"/>
                    </a:gs>
                  </a:gsLst>
                  <a:lin ang="5400000" scaled="0"/>
                </a:gradFill>
              </a:rPr>
              <a:t>$</a:t>
            </a:r>
            <a:r>
              <a:rPr lang="en-US" sz="1400" kern="0" dirty="0" smtClean="0">
                <a:gradFill>
                  <a:gsLst>
                    <a:gs pos="0">
                      <a:schemeClr val="tx1"/>
                    </a:gs>
                    <a:gs pos="100000">
                      <a:schemeClr val="tx1"/>
                    </a:gs>
                  </a:gsLst>
                  <a:lin ang="5400000" scaled="0"/>
                </a:gradFill>
              </a:rPr>
              <a:t>63B</a:t>
            </a:r>
            <a:endParaRPr lang="en-US" sz="1400" kern="0" dirty="0">
              <a:gradFill>
                <a:gsLst>
                  <a:gs pos="0">
                    <a:schemeClr val="tx1"/>
                  </a:gs>
                  <a:gs pos="100000">
                    <a:schemeClr val="tx1"/>
                  </a:gs>
                </a:gsLst>
                <a:lin ang="5400000" scaled="0"/>
              </a:gradFill>
            </a:endParaRPr>
          </a:p>
        </p:txBody>
      </p:sp>
      <p:sp>
        <p:nvSpPr>
          <p:cNvPr id="41" name="Rectangle 40"/>
          <p:cNvSpPr/>
          <p:nvPr/>
        </p:nvSpPr>
        <p:spPr bwMode="auto">
          <a:xfrm>
            <a:off x="8578047" y="4672530"/>
            <a:ext cx="3169170" cy="534291"/>
          </a:xfrm>
          <a:prstGeom prst="rect">
            <a:avLst/>
          </a:prstGeom>
          <a:noFill/>
          <a:ln w="9525" cap="flat" cmpd="sng" algn="ctr">
            <a:noFill/>
            <a:prstDash val="solid"/>
            <a:headEnd type="none" w="med" len="med"/>
            <a:tailEnd type="none" w="med" len="med"/>
          </a:ln>
          <a:effectLst/>
        </p:spPr>
        <p:txBody>
          <a:bodyPr vert="horz" wrap="square" lIns="91440" tIns="54864" rIns="91440" bIns="54864" numCol="1" rtlCol="0" anchor="ctr" anchorCtr="0" compatLnSpc="1">
            <a:prstTxWarp prst="textNoShape">
              <a:avLst/>
            </a:prstTxWarp>
            <a:noAutofit/>
          </a:bodyPr>
          <a:lstStyle/>
          <a:p>
            <a:pPr algn="ctr" defTabSz="748588" fontAlgn="base">
              <a:spcBef>
                <a:spcPct val="0"/>
              </a:spcBef>
              <a:spcAft>
                <a:spcPct val="0"/>
              </a:spcAft>
            </a:pPr>
            <a:r>
              <a:rPr lang="en-US" sz="1400" kern="0" baseline="30000" dirty="0" smtClean="0">
                <a:gradFill>
                  <a:gsLst>
                    <a:gs pos="0">
                      <a:schemeClr val="tx1"/>
                    </a:gs>
                    <a:gs pos="100000">
                      <a:schemeClr val="tx1"/>
                    </a:gs>
                  </a:gsLst>
                  <a:lin ang="5400000" scaled="0"/>
                </a:gradFill>
              </a:rPr>
              <a:t>$</a:t>
            </a:r>
            <a:r>
              <a:rPr lang="en-US" sz="1400" kern="0" dirty="0" smtClean="0">
                <a:gradFill>
                  <a:gsLst>
                    <a:gs pos="0">
                      <a:schemeClr val="tx1"/>
                    </a:gs>
                    <a:gs pos="100000">
                      <a:schemeClr val="tx1"/>
                    </a:gs>
                  </a:gsLst>
                  <a:lin ang="5400000" scaled="0"/>
                </a:gradFill>
              </a:rPr>
              <a:t>27B</a:t>
            </a:r>
            <a:endParaRPr lang="en-US" sz="1400" kern="0" dirty="0">
              <a:gradFill>
                <a:gsLst>
                  <a:gs pos="0">
                    <a:schemeClr val="tx1"/>
                  </a:gs>
                  <a:gs pos="100000">
                    <a:schemeClr val="tx1"/>
                  </a:gs>
                </a:gsLst>
                <a:lin ang="5400000" scaled="0"/>
              </a:gradFill>
            </a:endParaRPr>
          </a:p>
        </p:txBody>
      </p:sp>
      <p:sp>
        <p:nvSpPr>
          <p:cNvPr id="42" name="Rectangle 41"/>
          <p:cNvSpPr/>
          <p:nvPr/>
        </p:nvSpPr>
        <p:spPr bwMode="auto">
          <a:xfrm>
            <a:off x="8578047" y="5242146"/>
            <a:ext cx="3169170" cy="534291"/>
          </a:xfrm>
          <a:prstGeom prst="rect">
            <a:avLst/>
          </a:prstGeom>
          <a:noFill/>
          <a:ln w="9525" cap="flat" cmpd="sng" algn="ctr">
            <a:noFill/>
            <a:prstDash val="solid"/>
            <a:headEnd type="none" w="med" len="med"/>
            <a:tailEnd type="none" w="med" len="med"/>
          </a:ln>
          <a:effectLst/>
        </p:spPr>
        <p:txBody>
          <a:bodyPr vert="horz" wrap="square" lIns="91440" tIns="54864" rIns="91440" bIns="54864" numCol="1" rtlCol="0" anchor="ctr" anchorCtr="0" compatLnSpc="1">
            <a:prstTxWarp prst="textNoShape">
              <a:avLst/>
            </a:prstTxWarp>
            <a:noAutofit/>
          </a:bodyPr>
          <a:lstStyle/>
          <a:p>
            <a:pPr algn="ctr" defTabSz="748588" fontAlgn="base">
              <a:spcBef>
                <a:spcPct val="0"/>
              </a:spcBef>
              <a:spcAft>
                <a:spcPct val="0"/>
              </a:spcAft>
            </a:pPr>
            <a:r>
              <a:rPr lang="en-US" sz="1400" kern="0" baseline="30000" dirty="0" smtClean="0">
                <a:gradFill>
                  <a:gsLst>
                    <a:gs pos="0">
                      <a:schemeClr val="tx1"/>
                    </a:gs>
                    <a:gs pos="100000">
                      <a:schemeClr val="tx1"/>
                    </a:gs>
                  </a:gsLst>
                  <a:lin ang="5400000" scaled="0"/>
                </a:gradFill>
              </a:rPr>
              <a:t>$</a:t>
            </a:r>
            <a:r>
              <a:rPr lang="en-US" sz="1400" kern="0" dirty="0" smtClean="0">
                <a:gradFill>
                  <a:gsLst>
                    <a:gs pos="0">
                      <a:schemeClr val="tx1"/>
                    </a:gs>
                    <a:gs pos="100000">
                      <a:schemeClr val="tx1"/>
                    </a:gs>
                  </a:gsLst>
                  <a:lin ang="5400000" scaled="0"/>
                </a:gradFill>
              </a:rPr>
              <a:t>90B</a:t>
            </a:r>
            <a:endParaRPr lang="en-US" sz="1400" kern="0" dirty="0">
              <a:gradFill>
                <a:gsLst>
                  <a:gs pos="0">
                    <a:schemeClr val="tx1"/>
                  </a:gs>
                  <a:gs pos="100000">
                    <a:schemeClr val="tx1"/>
                  </a:gs>
                </a:gsLst>
                <a:lin ang="5400000" scaled="0"/>
              </a:gradFill>
            </a:endParaRPr>
          </a:p>
        </p:txBody>
      </p:sp>
    </p:spTree>
    <p:extLst>
      <p:ext uri="{BB962C8B-B14F-4D97-AF65-F5344CB8AC3E}">
        <p14:creationId xmlns:p14="http://schemas.microsoft.com/office/powerpoint/2010/main" val="2876137182"/>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1556841" y="1620"/>
          <a:ext cx="1619" cy="1619"/>
        </p:xfrm>
        <a:graphic>
          <a:graphicData uri="http://schemas.openxmlformats.org/presentationml/2006/ole">
            <mc:AlternateContent xmlns:mc="http://schemas.openxmlformats.org/markup-compatibility/2006">
              <mc:Choice xmlns:v="urn:schemas-microsoft-com:vml" Requires="v">
                <p:oleObj spid="_x0000_s512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56841" y="1620"/>
                        <a:ext cx="1619" cy="1619"/>
                      </a:xfrm>
                      <a:prstGeom prst="rect">
                        <a:avLst/>
                      </a:prstGeom>
                    </p:spPr>
                  </p:pic>
                </p:oleObj>
              </mc:Fallback>
            </mc:AlternateContent>
          </a:graphicData>
        </a:graphic>
      </p:graphicFrame>
      <p:sp>
        <p:nvSpPr>
          <p:cNvPr id="2" name="Title 1"/>
          <p:cNvSpPr>
            <a:spLocks noGrp="1"/>
          </p:cNvSpPr>
          <p:nvPr>
            <p:ph type="title"/>
          </p:nvPr>
        </p:nvSpPr>
        <p:spPr>
          <a:xfrm>
            <a:off x="751656" y="106314"/>
            <a:ext cx="10663764" cy="1144440"/>
          </a:xfrm>
        </p:spPr>
        <p:txBody>
          <a:bodyPr/>
          <a:lstStyle/>
          <a:p>
            <a:r>
              <a:rPr lang="en-US" sz="4800" dirty="0" smtClean="0"/>
              <a:t>Connected Devices &amp; Continuous Services</a:t>
            </a:r>
            <a:endParaRPr lang="en-US" sz="4800" dirty="0"/>
          </a:p>
        </p:txBody>
      </p:sp>
      <p:grpSp>
        <p:nvGrpSpPr>
          <p:cNvPr id="3" name="Group 2"/>
          <p:cNvGrpSpPr/>
          <p:nvPr/>
        </p:nvGrpSpPr>
        <p:grpSpPr>
          <a:xfrm>
            <a:off x="1012297" y="1247849"/>
            <a:ext cx="10403124" cy="4991398"/>
            <a:chOff x="1914960" y="1860045"/>
            <a:chExt cx="8362081" cy="3262703"/>
          </a:xfrm>
        </p:grpSpPr>
        <p:sp>
          <p:nvSpPr>
            <p:cNvPr id="172" name="Rectangle 171"/>
            <p:cNvSpPr/>
            <p:nvPr/>
          </p:nvSpPr>
          <p:spPr bwMode="auto">
            <a:xfrm>
              <a:off x="1914961" y="1860045"/>
              <a:ext cx="5262612" cy="1165441"/>
            </a:xfrm>
            <a:prstGeom prst="rect">
              <a:avLst/>
            </a:prstGeom>
            <a:solidFill>
              <a:schemeClr val="accent1"/>
            </a:solidFill>
            <a:ln w="25400" cap="flat" cmpd="sng" algn="ctr">
              <a:noFill/>
              <a:prstDash val="solid"/>
              <a:headEnd type="none" w="med" len="med"/>
              <a:tailEnd type="none" w="med" len="med"/>
            </a:ln>
            <a:effectLst/>
          </p:spPr>
          <p:txBody>
            <a:bodyPr vert="horz" wrap="square" lIns="209891" tIns="209891" rIns="69961" bIns="34980" numCol="1" rtlCol="0" anchor="t" anchorCtr="0" compatLnSpc="1">
              <a:prstTxWarp prst="textNoShape">
                <a:avLst/>
              </a:prstTxWarp>
            </a:bodyPr>
            <a:lstStyle/>
            <a:p>
              <a:pPr defTabSz="699404" fontAlgn="base">
                <a:lnSpc>
                  <a:spcPct val="90000"/>
                </a:lnSpc>
                <a:spcBef>
                  <a:spcPct val="0"/>
                </a:spcBef>
                <a:spcAft>
                  <a:spcPct val="0"/>
                </a:spcAft>
                <a:defRPr/>
              </a:pPr>
              <a:endParaRPr lang="en-US" sz="2449" kern="0" spc="-39" dirty="0" err="1">
                <a:gradFill>
                  <a:gsLst>
                    <a:gs pos="0">
                      <a:srgbClr val="FFFFFF"/>
                    </a:gs>
                    <a:gs pos="100000">
                      <a:srgbClr val="FFFFFF"/>
                    </a:gs>
                  </a:gsLst>
                  <a:lin ang="16200000" scaled="0"/>
                </a:gradFill>
                <a:latin typeface="Segoe UI Light"/>
              </a:endParaRPr>
            </a:p>
          </p:txBody>
        </p:sp>
        <p:sp>
          <p:nvSpPr>
            <p:cNvPr id="173" name="Rectangle 172"/>
            <p:cNvSpPr/>
            <p:nvPr/>
          </p:nvSpPr>
          <p:spPr bwMode="auto">
            <a:xfrm>
              <a:off x="1914961" y="2609637"/>
              <a:ext cx="5262612" cy="415848"/>
            </a:xfrm>
            <a:prstGeom prst="rect">
              <a:avLst/>
            </a:prstGeom>
            <a:solidFill>
              <a:schemeClr val="accent1">
                <a:lumMod val="20000"/>
                <a:lumOff val="80000"/>
                <a:alpha val="50000"/>
              </a:schemeClr>
            </a:solidFill>
            <a:ln w="25400" cap="flat" cmpd="sng" algn="ctr">
              <a:noFill/>
              <a:prstDash val="solid"/>
              <a:headEnd type="none" w="med" len="med"/>
              <a:tailEnd type="none" w="med" len="med"/>
            </a:ln>
            <a:effectLst/>
          </p:spPr>
          <p:txBody>
            <a:bodyPr vert="horz" wrap="square" lIns="139927" tIns="0" rIns="69961" bIns="0" numCol="1" rtlCol="0" anchor="ctr" anchorCtr="0" compatLnSpc="1">
              <a:prstTxWarp prst="textNoShape">
                <a:avLst/>
              </a:prstTxWarp>
            </a:bodyPr>
            <a:lstStyle/>
            <a:p>
              <a:pPr defTabSz="699404" fontAlgn="base">
                <a:lnSpc>
                  <a:spcPct val="90000"/>
                </a:lnSpc>
                <a:spcBef>
                  <a:spcPct val="0"/>
                </a:spcBef>
                <a:spcAft>
                  <a:spcPct val="0"/>
                </a:spcAft>
              </a:pPr>
              <a:r>
                <a:rPr lang="en-US" sz="1836" kern="0" dirty="0">
                  <a:ln>
                    <a:solidFill>
                      <a:srgbClr val="FFFFFF">
                        <a:alpha val="0"/>
                      </a:srgbClr>
                    </a:solidFill>
                  </a:ln>
                  <a:solidFill>
                    <a:srgbClr val="000000">
                      <a:lumMod val="75000"/>
                      <a:lumOff val="25000"/>
                    </a:srgbClr>
                  </a:solidFill>
                  <a:latin typeface="Segoe UI Light"/>
                </a:rPr>
                <a:t>Connected Device Apps</a:t>
              </a:r>
            </a:p>
          </p:txBody>
        </p:sp>
        <p:sp>
          <p:nvSpPr>
            <p:cNvPr id="174" name="Rectangle 173"/>
            <p:cNvSpPr/>
            <p:nvPr/>
          </p:nvSpPr>
          <p:spPr bwMode="auto">
            <a:xfrm>
              <a:off x="1914960" y="3058619"/>
              <a:ext cx="8362080" cy="415848"/>
            </a:xfrm>
            <a:prstGeom prst="rect">
              <a:avLst/>
            </a:prstGeom>
            <a:solidFill>
              <a:schemeClr val="tx2"/>
            </a:solidFill>
            <a:ln w="25400" cap="flat" cmpd="sng" algn="ctr">
              <a:noFill/>
              <a:prstDash val="solid"/>
              <a:headEnd type="none" w="med" len="med"/>
              <a:tailEnd type="none" w="med" len="med"/>
            </a:ln>
            <a:effectLst/>
          </p:spPr>
          <p:txBody>
            <a:bodyPr vert="horz" wrap="square" lIns="139927" tIns="0" rIns="69961" bIns="0" numCol="1" rtlCol="0" anchor="ctr" anchorCtr="0" compatLnSpc="1">
              <a:prstTxWarp prst="textNoShape">
                <a:avLst/>
              </a:prstTxWarp>
            </a:bodyPr>
            <a:lstStyle/>
            <a:p>
              <a:pPr defTabSz="699404" fontAlgn="base">
                <a:lnSpc>
                  <a:spcPct val="90000"/>
                </a:lnSpc>
                <a:spcBef>
                  <a:spcPct val="0"/>
                </a:spcBef>
                <a:spcAft>
                  <a:spcPct val="0"/>
                </a:spcAft>
              </a:pPr>
              <a:r>
                <a:rPr lang="en-US" sz="1836" kern="0" dirty="0">
                  <a:ln>
                    <a:solidFill>
                      <a:srgbClr val="FFFFFF">
                        <a:alpha val="0"/>
                      </a:srgbClr>
                    </a:solidFill>
                  </a:ln>
                  <a:solidFill>
                    <a:srgbClr val="000000">
                      <a:lumMod val="75000"/>
                      <a:lumOff val="25000"/>
                    </a:srgbClr>
                  </a:solidFill>
                  <a:latin typeface="Segoe UI Light"/>
                </a:rPr>
                <a:t>Web APIs (REST, OData)</a:t>
              </a:r>
            </a:p>
          </p:txBody>
        </p:sp>
        <p:sp>
          <p:nvSpPr>
            <p:cNvPr id="175" name="Rectangle 174"/>
            <p:cNvSpPr/>
            <p:nvPr/>
          </p:nvSpPr>
          <p:spPr bwMode="auto">
            <a:xfrm>
              <a:off x="1914960" y="3507601"/>
              <a:ext cx="8362080" cy="415848"/>
            </a:xfrm>
            <a:prstGeom prst="rect">
              <a:avLst/>
            </a:prstGeom>
            <a:solidFill>
              <a:schemeClr val="tx2"/>
            </a:solidFill>
            <a:ln w="25400" cap="flat" cmpd="sng" algn="ctr">
              <a:noFill/>
              <a:prstDash val="solid"/>
              <a:headEnd type="none" w="med" len="med"/>
              <a:tailEnd type="none" w="med" len="med"/>
            </a:ln>
            <a:effectLst/>
          </p:spPr>
          <p:txBody>
            <a:bodyPr vert="horz" wrap="square" lIns="139927" tIns="0" rIns="69961" bIns="0" numCol="1" rtlCol="0" anchor="ctr" anchorCtr="0" compatLnSpc="1">
              <a:prstTxWarp prst="textNoShape">
                <a:avLst/>
              </a:prstTxWarp>
            </a:bodyPr>
            <a:lstStyle/>
            <a:p>
              <a:pPr defTabSz="699404" fontAlgn="base">
                <a:lnSpc>
                  <a:spcPct val="90000"/>
                </a:lnSpc>
                <a:spcBef>
                  <a:spcPct val="0"/>
                </a:spcBef>
                <a:spcAft>
                  <a:spcPct val="0"/>
                </a:spcAft>
              </a:pPr>
              <a:r>
                <a:rPr lang="en-US" sz="1836" kern="0" dirty="0">
                  <a:ln>
                    <a:solidFill>
                      <a:srgbClr val="FFFFFF">
                        <a:alpha val="0"/>
                      </a:srgbClr>
                    </a:solidFill>
                  </a:ln>
                  <a:solidFill>
                    <a:srgbClr val="000000">
                      <a:lumMod val="75000"/>
                      <a:lumOff val="25000"/>
                    </a:srgbClr>
                  </a:solidFill>
                  <a:latin typeface="Segoe UI Light"/>
                </a:rPr>
                <a:t>Unified Management</a:t>
              </a:r>
            </a:p>
          </p:txBody>
        </p:sp>
        <p:sp>
          <p:nvSpPr>
            <p:cNvPr id="176" name="Rectangle 175"/>
            <p:cNvSpPr/>
            <p:nvPr/>
          </p:nvSpPr>
          <p:spPr bwMode="auto">
            <a:xfrm>
              <a:off x="1914961" y="3956584"/>
              <a:ext cx="5261218" cy="1166164"/>
            </a:xfrm>
            <a:prstGeom prst="rect">
              <a:avLst/>
            </a:prstGeom>
            <a:solidFill>
              <a:schemeClr val="accent2"/>
            </a:solidFill>
            <a:ln w="25400" cap="flat" cmpd="sng" algn="ctr">
              <a:noFill/>
              <a:prstDash val="solid"/>
              <a:headEnd type="none" w="med" len="med"/>
              <a:tailEnd type="none" w="med" len="med"/>
            </a:ln>
            <a:effectLst/>
          </p:spPr>
          <p:txBody>
            <a:bodyPr vert="horz" wrap="square" lIns="209891" tIns="209891" rIns="69961" bIns="34980" numCol="1" rtlCol="0" anchor="t" anchorCtr="0" compatLnSpc="1">
              <a:prstTxWarp prst="textNoShape">
                <a:avLst/>
              </a:prstTxWarp>
            </a:bodyPr>
            <a:lstStyle/>
            <a:p>
              <a:pPr defTabSz="699404" fontAlgn="base">
                <a:lnSpc>
                  <a:spcPct val="90000"/>
                </a:lnSpc>
                <a:spcBef>
                  <a:spcPct val="0"/>
                </a:spcBef>
                <a:spcAft>
                  <a:spcPct val="0"/>
                </a:spcAft>
                <a:defRPr/>
              </a:pPr>
              <a:endParaRPr lang="en-US" sz="2449" kern="0" spc="-39" dirty="0" err="1">
                <a:gradFill>
                  <a:gsLst>
                    <a:gs pos="0">
                      <a:srgbClr val="FFFFFF"/>
                    </a:gs>
                    <a:gs pos="100000">
                      <a:srgbClr val="FFFFFF"/>
                    </a:gs>
                  </a:gsLst>
                  <a:lin ang="16200000" scaled="0"/>
                </a:gradFill>
                <a:latin typeface="Segoe UI Light"/>
              </a:endParaRPr>
            </a:p>
          </p:txBody>
        </p:sp>
        <p:sp>
          <p:nvSpPr>
            <p:cNvPr id="177" name="Rectangle 176"/>
            <p:cNvSpPr/>
            <p:nvPr/>
          </p:nvSpPr>
          <p:spPr bwMode="auto">
            <a:xfrm>
              <a:off x="1914961" y="4706900"/>
              <a:ext cx="5262612" cy="415848"/>
            </a:xfrm>
            <a:prstGeom prst="rect">
              <a:avLst/>
            </a:prstGeom>
            <a:solidFill>
              <a:schemeClr val="accent2">
                <a:lumMod val="20000"/>
                <a:lumOff val="80000"/>
                <a:alpha val="50000"/>
              </a:schemeClr>
            </a:solidFill>
            <a:ln w="25400" cap="flat" cmpd="sng" algn="ctr">
              <a:noFill/>
              <a:prstDash val="solid"/>
              <a:headEnd type="none" w="med" len="med"/>
              <a:tailEnd type="none" w="med" len="med"/>
            </a:ln>
            <a:effectLst/>
          </p:spPr>
          <p:txBody>
            <a:bodyPr vert="horz" wrap="square" lIns="139927" tIns="0" rIns="69961" bIns="0" numCol="1" rtlCol="0" anchor="ctr" anchorCtr="0" compatLnSpc="1">
              <a:prstTxWarp prst="textNoShape">
                <a:avLst/>
              </a:prstTxWarp>
            </a:bodyPr>
            <a:lstStyle/>
            <a:p>
              <a:pPr defTabSz="699404" fontAlgn="base">
                <a:lnSpc>
                  <a:spcPct val="90000"/>
                </a:lnSpc>
                <a:spcBef>
                  <a:spcPct val="0"/>
                </a:spcBef>
                <a:spcAft>
                  <a:spcPct val="0"/>
                </a:spcAft>
              </a:pPr>
              <a:r>
                <a:rPr lang="en-US" sz="1836" kern="0" dirty="0">
                  <a:ln>
                    <a:solidFill>
                      <a:srgbClr val="FFFFFF">
                        <a:alpha val="0"/>
                      </a:srgbClr>
                    </a:solidFill>
                  </a:ln>
                  <a:solidFill>
                    <a:srgbClr val="000000">
                      <a:lumMod val="75000"/>
                      <a:lumOff val="25000"/>
                    </a:srgbClr>
                  </a:solidFill>
                  <a:latin typeface="Segoe UI Light"/>
                </a:rPr>
                <a:t>On-Premises Infrastructure</a:t>
              </a:r>
            </a:p>
          </p:txBody>
        </p:sp>
        <p:sp>
          <p:nvSpPr>
            <p:cNvPr id="178" name="Rectangle 177"/>
            <p:cNvSpPr/>
            <p:nvPr/>
          </p:nvSpPr>
          <p:spPr bwMode="auto">
            <a:xfrm>
              <a:off x="7208688" y="3956585"/>
              <a:ext cx="3068353" cy="1165441"/>
            </a:xfrm>
            <a:prstGeom prst="rect">
              <a:avLst/>
            </a:prstGeom>
            <a:solidFill>
              <a:schemeClr val="accent2"/>
            </a:solidFill>
            <a:ln w="25400" cap="flat" cmpd="sng" algn="ctr">
              <a:noFill/>
              <a:prstDash val="solid"/>
              <a:headEnd type="none" w="med" len="med"/>
              <a:tailEnd type="none" w="med" len="med"/>
            </a:ln>
            <a:effectLst/>
          </p:spPr>
          <p:txBody>
            <a:bodyPr vert="horz" wrap="square" lIns="209891" tIns="209891" rIns="69961" bIns="34980" numCol="1" rtlCol="0" anchor="t" anchorCtr="0" compatLnSpc="1">
              <a:prstTxWarp prst="textNoShape">
                <a:avLst/>
              </a:prstTxWarp>
            </a:bodyPr>
            <a:lstStyle/>
            <a:p>
              <a:pPr defTabSz="699404" fontAlgn="base">
                <a:lnSpc>
                  <a:spcPct val="90000"/>
                </a:lnSpc>
                <a:spcBef>
                  <a:spcPct val="0"/>
                </a:spcBef>
                <a:spcAft>
                  <a:spcPct val="0"/>
                </a:spcAft>
              </a:pPr>
              <a:endParaRPr lang="en-US" sz="2449" kern="0" spc="-39" dirty="0" err="1">
                <a:gradFill>
                  <a:gsLst>
                    <a:gs pos="0">
                      <a:srgbClr val="FFFFFF"/>
                    </a:gs>
                    <a:gs pos="100000">
                      <a:srgbClr val="FFFFFF"/>
                    </a:gs>
                  </a:gsLst>
                  <a:lin ang="16200000" scaled="0"/>
                </a:gradFill>
                <a:latin typeface="Segoe UI Light"/>
              </a:endParaRPr>
            </a:p>
          </p:txBody>
        </p:sp>
        <p:sp>
          <p:nvSpPr>
            <p:cNvPr id="179" name="Rectangle 178"/>
            <p:cNvSpPr/>
            <p:nvPr/>
          </p:nvSpPr>
          <p:spPr bwMode="auto">
            <a:xfrm>
              <a:off x="7208688" y="4706177"/>
              <a:ext cx="3068353" cy="415848"/>
            </a:xfrm>
            <a:prstGeom prst="rect">
              <a:avLst/>
            </a:prstGeom>
            <a:solidFill>
              <a:schemeClr val="accent2">
                <a:lumMod val="20000"/>
                <a:lumOff val="80000"/>
                <a:alpha val="50000"/>
              </a:schemeClr>
            </a:solidFill>
            <a:ln w="25400" cap="flat" cmpd="sng" algn="ctr">
              <a:noFill/>
              <a:prstDash val="solid"/>
              <a:headEnd type="none" w="med" len="med"/>
              <a:tailEnd type="none" w="med" len="med"/>
            </a:ln>
            <a:effectLst/>
          </p:spPr>
          <p:txBody>
            <a:bodyPr vert="horz" wrap="square" lIns="139927" tIns="0" rIns="69961" bIns="0" numCol="1" rtlCol="0" anchor="ctr" anchorCtr="0" compatLnSpc="1">
              <a:prstTxWarp prst="textNoShape">
                <a:avLst/>
              </a:prstTxWarp>
            </a:bodyPr>
            <a:lstStyle/>
            <a:p>
              <a:pPr defTabSz="699404" fontAlgn="base">
                <a:lnSpc>
                  <a:spcPct val="90000"/>
                </a:lnSpc>
                <a:spcBef>
                  <a:spcPct val="0"/>
                </a:spcBef>
                <a:spcAft>
                  <a:spcPct val="0"/>
                </a:spcAft>
              </a:pPr>
              <a:r>
                <a:rPr lang="en-US" sz="1836" kern="0" dirty="0">
                  <a:ln>
                    <a:solidFill>
                      <a:srgbClr val="FFFFFF">
                        <a:alpha val="0"/>
                      </a:srgbClr>
                    </a:solidFill>
                  </a:ln>
                  <a:solidFill>
                    <a:srgbClr val="000000">
                      <a:lumMod val="75000"/>
                      <a:lumOff val="25000"/>
                    </a:srgbClr>
                  </a:solidFill>
                  <a:latin typeface="Segoe UI Light"/>
                </a:rPr>
                <a:t>Public Cloud Infrastructure</a:t>
              </a:r>
            </a:p>
          </p:txBody>
        </p:sp>
        <p:sp>
          <p:nvSpPr>
            <p:cNvPr id="180" name="Freeform 6"/>
            <p:cNvSpPr>
              <a:spLocks noEditPoints="1"/>
            </p:cNvSpPr>
            <p:nvPr/>
          </p:nvSpPr>
          <p:spPr bwMode="auto">
            <a:xfrm>
              <a:off x="4833415" y="2044096"/>
              <a:ext cx="371387" cy="421484"/>
            </a:xfrm>
            <a:custGeom>
              <a:avLst/>
              <a:gdLst>
                <a:gd name="T0" fmla="*/ 0 w 14953"/>
                <a:gd name="T1" fmla="*/ 0 h 16970"/>
                <a:gd name="T2" fmla="*/ 1361 w 14953"/>
                <a:gd name="T3" fmla="*/ 15274 h 16970"/>
                <a:gd name="T4" fmla="*/ 7472 w 14953"/>
                <a:gd name="T5" fmla="*/ 16970 h 16970"/>
                <a:gd name="T6" fmla="*/ 13590 w 14953"/>
                <a:gd name="T7" fmla="*/ 15274 h 16970"/>
                <a:gd name="T8" fmla="*/ 14953 w 14953"/>
                <a:gd name="T9" fmla="*/ 0 h 16970"/>
                <a:gd name="T10" fmla="*/ 0 w 14953"/>
                <a:gd name="T11" fmla="*/ 0 h 16970"/>
                <a:gd name="T12" fmla="*/ 12000 w 14953"/>
                <a:gd name="T13" fmla="*/ 4996 h 16970"/>
                <a:gd name="T14" fmla="*/ 11996 w 14953"/>
                <a:gd name="T15" fmla="*/ 4996 h 16970"/>
                <a:gd name="T16" fmla="*/ 4831 w 14953"/>
                <a:gd name="T17" fmla="*/ 4996 h 16970"/>
                <a:gd name="T18" fmla="*/ 5004 w 14953"/>
                <a:gd name="T19" fmla="*/ 6914 h 16970"/>
                <a:gd name="T20" fmla="*/ 11830 w 14953"/>
                <a:gd name="T21" fmla="*/ 6914 h 16970"/>
                <a:gd name="T22" fmla="*/ 11315 w 14953"/>
                <a:gd name="T23" fmla="*/ 12664 h 16970"/>
                <a:gd name="T24" fmla="*/ 7474 w 14953"/>
                <a:gd name="T25" fmla="*/ 13729 h 16970"/>
                <a:gd name="T26" fmla="*/ 3636 w 14953"/>
                <a:gd name="T27" fmla="*/ 12664 h 16970"/>
                <a:gd name="T28" fmla="*/ 3369 w 14953"/>
                <a:gd name="T29" fmla="*/ 9657 h 16970"/>
                <a:gd name="T30" fmla="*/ 5249 w 14953"/>
                <a:gd name="T31" fmla="*/ 9657 h 16970"/>
                <a:gd name="T32" fmla="*/ 5389 w 14953"/>
                <a:gd name="T33" fmla="*/ 11218 h 16970"/>
                <a:gd name="T34" fmla="*/ 7474 w 14953"/>
                <a:gd name="T35" fmla="*/ 11780 h 16970"/>
                <a:gd name="T36" fmla="*/ 9565 w 14953"/>
                <a:gd name="T37" fmla="*/ 11216 h 16970"/>
                <a:gd name="T38" fmla="*/ 9782 w 14953"/>
                <a:gd name="T39" fmla="*/ 8787 h 16970"/>
                <a:gd name="T40" fmla="*/ 3291 w 14953"/>
                <a:gd name="T41" fmla="*/ 8787 h 16970"/>
                <a:gd name="T42" fmla="*/ 2786 w 14953"/>
                <a:gd name="T43" fmla="*/ 3123 h 16970"/>
                <a:gd name="T44" fmla="*/ 12168 w 14953"/>
                <a:gd name="T45" fmla="*/ 3123 h 16970"/>
                <a:gd name="T46" fmla="*/ 12000 w 14953"/>
                <a:gd name="T47" fmla="*/ 4996 h 169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953" h="16970">
                  <a:moveTo>
                    <a:pt x="0" y="0"/>
                  </a:moveTo>
                  <a:lnTo>
                    <a:pt x="1361" y="15274"/>
                  </a:lnTo>
                  <a:lnTo>
                    <a:pt x="7472" y="16970"/>
                  </a:lnTo>
                  <a:lnTo>
                    <a:pt x="13590" y="15274"/>
                  </a:lnTo>
                  <a:lnTo>
                    <a:pt x="14953" y="0"/>
                  </a:lnTo>
                  <a:lnTo>
                    <a:pt x="0" y="0"/>
                  </a:lnTo>
                  <a:close/>
                  <a:moveTo>
                    <a:pt x="12000" y="4996"/>
                  </a:moveTo>
                  <a:lnTo>
                    <a:pt x="11996" y="4996"/>
                  </a:lnTo>
                  <a:lnTo>
                    <a:pt x="4831" y="4996"/>
                  </a:lnTo>
                  <a:lnTo>
                    <a:pt x="5004" y="6914"/>
                  </a:lnTo>
                  <a:lnTo>
                    <a:pt x="11830" y="6914"/>
                  </a:lnTo>
                  <a:lnTo>
                    <a:pt x="11315" y="12664"/>
                  </a:lnTo>
                  <a:lnTo>
                    <a:pt x="7474" y="13729"/>
                  </a:lnTo>
                  <a:lnTo>
                    <a:pt x="3636" y="12664"/>
                  </a:lnTo>
                  <a:lnTo>
                    <a:pt x="3369" y="9657"/>
                  </a:lnTo>
                  <a:lnTo>
                    <a:pt x="5249" y="9657"/>
                  </a:lnTo>
                  <a:lnTo>
                    <a:pt x="5389" y="11218"/>
                  </a:lnTo>
                  <a:lnTo>
                    <a:pt x="7474" y="11780"/>
                  </a:lnTo>
                  <a:lnTo>
                    <a:pt x="9565" y="11216"/>
                  </a:lnTo>
                  <a:lnTo>
                    <a:pt x="9782" y="8787"/>
                  </a:lnTo>
                  <a:lnTo>
                    <a:pt x="3291" y="8787"/>
                  </a:lnTo>
                  <a:lnTo>
                    <a:pt x="2786" y="3123"/>
                  </a:lnTo>
                  <a:lnTo>
                    <a:pt x="12168" y="3123"/>
                  </a:lnTo>
                  <a:lnTo>
                    <a:pt x="12000" y="4996"/>
                  </a:lnTo>
                  <a:close/>
                </a:path>
              </a:pathLst>
            </a:custGeom>
            <a:solidFill>
              <a:schemeClr val="tx1"/>
            </a:solidFill>
            <a:ln>
              <a:noFill/>
            </a:ln>
          </p:spPr>
          <p:txBody>
            <a:bodyPr vert="horz" wrap="square" lIns="69964" tIns="34982" rIns="69964" bIns="34982" numCol="1" anchor="t" anchorCtr="0" compatLnSpc="1">
              <a:prstTxWarp prst="textNoShape">
                <a:avLst/>
              </a:prstTxWarp>
            </a:bodyPr>
            <a:lstStyle/>
            <a:p>
              <a:pPr defTabSz="932559"/>
              <a:endParaRPr lang="en-US" sz="1377">
                <a:solidFill>
                  <a:srgbClr val="000000"/>
                </a:solidFill>
              </a:endParaRPr>
            </a:p>
          </p:txBody>
        </p:sp>
        <p:grpSp>
          <p:nvGrpSpPr>
            <p:cNvPr id="181" name="Group 180"/>
            <p:cNvGrpSpPr/>
            <p:nvPr/>
          </p:nvGrpSpPr>
          <p:grpSpPr>
            <a:xfrm>
              <a:off x="5646161" y="2085834"/>
              <a:ext cx="479184" cy="338010"/>
              <a:chOff x="5494783" y="1638578"/>
              <a:chExt cx="638745" cy="450563"/>
            </a:xfrm>
          </p:grpSpPr>
          <p:sp>
            <p:nvSpPr>
              <p:cNvPr id="182" name="Rounded Rectangle 6"/>
              <p:cNvSpPr/>
              <p:nvPr/>
            </p:nvSpPr>
            <p:spPr bwMode="black">
              <a:xfrm rot="16200000">
                <a:off x="5588874" y="1544487"/>
                <a:ext cx="450563" cy="638745"/>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31486" rIns="62972" bIns="31486" numCol="1" rtlCol="0" anchor="ctr" anchorCtr="0" compatLnSpc="1">
                <a:prstTxWarp prst="textNoShape">
                  <a:avLst/>
                </a:prstTxWarp>
              </a:bodyPr>
              <a:lstStyle/>
              <a:p>
                <a:pPr algn="ctr" defTabSz="566761"/>
                <a:endParaRPr lang="en-US" sz="1377" spc="-94" dirty="0">
                  <a:gradFill>
                    <a:gsLst>
                      <a:gs pos="0">
                        <a:srgbClr val="FFFFFF"/>
                      </a:gs>
                      <a:gs pos="100000">
                        <a:srgbClr val="FFFFFF"/>
                      </a:gs>
                    </a:gsLst>
                    <a:lin ang="5400000" scaled="0"/>
                  </a:gradFill>
                </a:endParaRPr>
              </a:p>
            </p:txBody>
          </p:sp>
          <p:grpSp>
            <p:nvGrpSpPr>
              <p:cNvPr id="183" name="Group 23"/>
              <p:cNvGrpSpPr>
                <a:grpSpLocks noChangeAspect="1"/>
              </p:cNvGrpSpPr>
              <p:nvPr/>
            </p:nvGrpSpPr>
            <p:grpSpPr bwMode="auto">
              <a:xfrm>
                <a:off x="5714075" y="1750893"/>
                <a:ext cx="200160" cy="225932"/>
                <a:chOff x="3485" y="1766"/>
                <a:chExt cx="699" cy="789"/>
              </a:xfrm>
            </p:grpSpPr>
            <p:sp>
              <p:nvSpPr>
                <p:cNvPr id="184" name="Freeform 24"/>
                <p:cNvSpPr>
                  <a:spLocks/>
                </p:cNvSpPr>
                <p:nvPr/>
              </p:nvSpPr>
              <p:spPr bwMode="auto">
                <a:xfrm>
                  <a:off x="3485" y="1950"/>
                  <a:ext cx="699" cy="605"/>
                </a:xfrm>
                <a:custGeom>
                  <a:avLst/>
                  <a:gdLst>
                    <a:gd name="T0" fmla="*/ 296 w 296"/>
                    <a:gd name="T1" fmla="*/ 167 h 256"/>
                    <a:gd name="T2" fmla="*/ 274 w 296"/>
                    <a:gd name="T3" fmla="*/ 207 h 256"/>
                    <a:gd name="T4" fmla="*/ 216 w 296"/>
                    <a:gd name="T5" fmla="*/ 256 h 256"/>
                    <a:gd name="T6" fmla="*/ 159 w 296"/>
                    <a:gd name="T7" fmla="*/ 242 h 256"/>
                    <a:gd name="T8" fmla="*/ 101 w 296"/>
                    <a:gd name="T9" fmla="*/ 256 h 256"/>
                    <a:gd name="T10" fmla="*/ 44 w 296"/>
                    <a:gd name="T11" fmla="*/ 210 h 256"/>
                    <a:gd name="T12" fmla="*/ 24 w 296"/>
                    <a:gd name="T13" fmla="*/ 42 h 256"/>
                    <a:gd name="T14" fmla="*/ 94 w 296"/>
                    <a:gd name="T15" fmla="*/ 0 h 256"/>
                    <a:gd name="T16" fmla="*/ 158 w 296"/>
                    <a:gd name="T17" fmla="*/ 15 h 256"/>
                    <a:gd name="T18" fmla="*/ 222 w 296"/>
                    <a:gd name="T19" fmla="*/ 0 h 256"/>
                    <a:gd name="T20" fmla="*/ 286 w 296"/>
                    <a:gd name="T21" fmla="*/ 34 h 256"/>
                    <a:gd name="T22" fmla="*/ 296 w 296"/>
                    <a:gd name="T23" fmla="*/ 16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56">
                      <a:moveTo>
                        <a:pt x="296" y="167"/>
                      </a:moveTo>
                      <a:cubicBezTo>
                        <a:pt x="288" y="184"/>
                        <a:pt x="284" y="192"/>
                        <a:pt x="274" y="207"/>
                      </a:cubicBezTo>
                      <a:cubicBezTo>
                        <a:pt x="260" y="229"/>
                        <a:pt x="240" y="255"/>
                        <a:pt x="216" y="256"/>
                      </a:cubicBezTo>
                      <a:cubicBezTo>
                        <a:pt x="194" y="256"/>
                        <a:pt x="188" y="241"/>
                        <a:pt x="159" y="242"/>
                      </a:cubicBezTo>
                      <a:cubicBezTo>
                        <a:pt x="129" y="242"/>
                        <a:pt x="123" y="256"/>
                        <a:pt x="101" y="256"/>
                      </a:cubicBezTo>
                      <a:cubicBezTo>
                        <a:pt x="76" y="255"/>
                        <a:pt x="58" y="231"/>
                        <a:pt x="44" y="210"/>
                      </a:cubicBezTo>
                      <a:cubicBezTo>
                        <a:pt x="4" y="150"/>
                        <a:pt x="0" y="80"/>
                        <a:pt x="24" y="42"/>
                      </a:cubicBezTo>
                      <a:cubicBezTo>
                        <a:pt x="42" y="16"/>
                        <a:pt x="69" y="0"/>
                        <a:pt x="94" y="0"/>
                      </a:cubicBezTo>
                      <a:cubicBezTo>
                        <a:pt x="120" y="0"/>
                        <a:pt x="137" y="15"/>
                        <a:pt x="158" y="15"/>
                      </a:cubicBezTo>
                      <a:cubicBezTo>
                        <a:pt x="179" y="15"/>
                        <a:pt x="192" y="0"/>
                        <a:pt x="222" y="0"/>
                      </a:cubicBezTo>
                      <a:cubicBezTo>
                        <a:pt x="245" y="0"/>
                        <a:pt x="269" y="13"/>
                        <a:pt x="286" y="34"/>
                      </a:cubicBezTo>
                      <a:cubicBezTo>
                        <a:pt x="230" y="65"/>
                        <a:pt x="239" y="145"/>
                        <a:pt x="296" y="167"/>
                      </a:cubicBezTo>
                      <a:close/>
                    </a:path>
                  </a:pathLst>
                </a:custGeom>
                <a:solidFill>
                  <a:schemeClr val="tx1"/>
                </a:solidFill>
                <a:ln>
                  <a:noFill/>
                </a:ln>
                <a:extLst/>
              </p:spPr>
              <p:txBody>
                <a:bodyPr vert="horz" wrap="square" lIns="69964" tIns="34982" rIns="69964" bIns="34982" numCol="1" anchor="t" anchorCtr="0" compatLnSpc="1">
                  <a:prstTxWarp prst="textNoShape">
                    <a:avLst/>
                  </a:prstTxWarp>
                </a:bodyPr>
                <a:lstStyle/>
                <a:p>
                  <a:pPr defTabSz="932559"/>
                  <a:endParaRPr lang="en-US" sz="1377">
                    <a:solidFill>
                      <a:srgbClr val="000000"/>
                    </a:solidFill>
                  </a:endParaRPr>
                </a:p>
              </p:txBody>
            </p:sp>
            <p:sp>
              <p:nvSpPr>
                <p:cNvPr id="185" name="Freeform 25"/>
                <p:cNvSpPr>
                  <a:spLocks/>
                </p:cNvSpPr>
                <p:nvPr/>
              </p:nvSpPr>
              <p:spPr bwMode="auto">
                <a:xfrm>
                  <a:off x="3825" y="1766"/>
                  <a:ext cx="175" cy="191"/>
                </a:xfrm>
                <a:custGeom>
                  <a:avLst/>
                  <a:gdLst>
                    <a:gd name="T0" fmla="*/ 55 w 74"/>
                    <a:gd name="T1" fmla="*/ 54 h 81"/>
                    <a:gd name="T2" fmla="*/ 71 w 74"/>
                    <a:gd name="T3" fmla="*/ 0 h 81"/>
                    <a:gd name="T4" fmla="*/ 20 w 74"/>
                    <a:gd name="T5" fmla="*/ 28 h 81"/>
                    <a:gd name="T6" fmla="*/ 4 w 74"/>
                    <a:gd name="T7" fmla="*/ 81 h 81"/>
                    <a:gd name="T8" fmla="*/ 55 w 74"/>
                    <a:gd name="T9" fmla="*/ 54 h 81"/>
                  </a:gdLst>
                  <a:ahLst/>
                  <a:cxnLst>
                    <a:cxn ang="0">
                      <a:pos x="T0" y="T1"/>
                    </a:cxn>
                    <a:cxn ang="0">
                      <a:pos x="T2" y="T3"/>
                    </a:cxn>
                    <a:cxn ang="0">
                      <a:pos x="T4" y="T5"/>
                    </a:cxn>
                    <a:cxn ang="0">
                      <a:pos x="T6" y="T7"/>
                    </a:cxn>
                    <a:cxn ang="0">
                      <a:pos x="T8" y="T9"/>
                    </a:cxn>
                  </a:cxnLst>
                  <a:rect l="0" t="0" r="r" b="b"/>
                  <a:pathLst>
                    <a:path w="74" h="81">
                      <a:moveTo>
                        <a:pt x="55" y="54"/>
                      </a:moveTo>
                      <a:cubicBezTo>
                        <a:pt x="66" y="40"/>
                        <a:pt x="74" y="21"/>
                        <a:pt x="71" y="0"/>
                      </a:cubicBezTo>
                      <a:cubicBezTo>
                        <a:pt x="54" y="2"/>
                        <a:pt x="33" y="13"/>
                        <a:pt x="20" y="28"/>
                      </a:cubicBezTo>
                      <a:cubicBezTo>
                        <a:pt x="9" y="41"/>
                        <a:pt x="0" y="61"/>
                        <a:pt x="4" y="81"/>
                      </a:cubicBezTo>
                      <a:cubicBezTo>
                        <a:pt x="23" y="81"/>
                        <a:pt x="44" y="70"/>
                        <a:pt x="55" y="54"/>
                      </a:cubicBezTo>
                      <a:close/>
                    </a:path>
                  </a:pathLst>
                </a:custGeom>
                <a:solidFill>
                  <a:schemeClr val="tx1"/>
                </a:solidFill>
                <a:ln>
                  <a:noFill/>
                </a:ln>
                <a:extLst/>
              </p:spPr>
              <p:txBody>
                <a:bodyPr vert="horz" wrap="square" lIns="69964" tIns="34982" rIns="69964" bIns="34982" numCol="1" anchor="t" anchorCtr="0" compatLnSpc="1">
                  <a:prstTxWarp prst="textNoShape">
                    <a:avLst/>
                  </a:prstTxWarp>
                </a:bodyPr>
                <a:lstStyle/>
                <a:p>
                  <a:pPr defTabSz="932559"/>
                  <a:endParaRPr lang="en-US" sz="1377">
                    <a:solidFill>
                      <a:srgbClr val="000000"/>
                    </a:solidFill>
                  </a:endParaRPr>
                </a:p>
              </p:txBody>
            </p:sp>
          </p:grpSp>
        </p:grpSp>
        <p:sp>
          <p:nvSpPr>
            <p:cNvPr id="186" name="Freeform 626"/>
            <p:cNvSpPr>
              <a:spLocks noChangeAspect="1" noEditPoints="1"/>
            </p:cNvSpPr>
            <p:nvPr/>
          </p:nvSpPr>
          <p:spPr bwMode="auto">
            <a:xfrm>
              <a:off x="2244163" y="2085834"/>
              <a:ext cx="529033" cy="338010"/>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rgbClr val="FFFFFF"/>
            </a:solidFill>
            <a:ln>
              <a:noFill/>
            </a:ln>
            <a:extLst/>
          </p:spPr>
          <p:txBody>
            <a:bodyPr vert="horz" wrap="square" lIns="69964" tIns="34982" rIns="69964" bIns="34982" numCol="1" anchor="t" anchorCtr="0" compatLnSpc="1">
              <a:prstTxWarp prst="textNoShape">
                <a:avLst/>
              </a:prstTxWarp>
            </a:bodyPr>
            <a:lstStyle/>
            <a:p>
              <a:pPr defTabSz="932559">
                <a:defRPr/>
              </a:pPr>
              <a:endParaRPr lang="en-US" sz="841" kern="0">
                <a:gradFill>
                  <a:gsLst>
                    <a:gs pos="0">
                      <a:srgbClr val="FFFFFF"/>
                    </a:gs>
                    <a:gs pos="100000">
                      <a:srgbClr val="FFFFFF"/>
                    </a:gs>
                  </a:gsLst>
                  <a:lin ang="5400000" scaled="0"/>
                </a:gradFill>
              </a:endParaRPr>
            </a:p>
          </p:txBody>
        </p:sp>
        <p:grpSp>
          <p:nvGrpSpPr>
            <p:cNvPr id="187" name="Group 186"/>
            <p:cNvGrpSpPr/>
            <p:nvPr/>
          </p:nvGrpSpPr>
          <p:grpSpPr>
            <a:xfrm>
              <a:off x="6566705" y="2044821"/>
              <a:ext cx="256955" cy="429278"/>
              <a:chOff x="6721853" y="1577749"/>
              <a:chExt cx="342518" cy="572221"/>
            </a:xfrm>
          </p:grpSpPr>
          <p:sp>
            <p:nvSpPr>
              <p:cNvPr id="188" name="Freeform 138"/>
              <p:cNvSpPr>
                <a:spLocks noEditPoints="1"/>
              </p:cNvSpPr>
              <p:nvPr/>
            </p:nvSpPr>
            <p:spPr bwMode="auto">
              <a:xfrm>
                <a:off x="6721853" y="1577749"/>
                <a:ext cx="342518" cy="572221"/>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tx1"/>
              </a:solidFill>
              <a:ln>
                <a:noFill/>
              </a:ln>
            </p:spPr>
            <p:txBody>
              <a:bodyPr vert="horz" wrap="square" lIns="69964" tIns="34982" rIns="69964" bIns="34982" numCol="1" anchor="t" anchorCtr="0" compatLnSpc="1">
                <a:prstTxWarp prst="textNoShape">
                  <a:avLst/>
                </a:prstTxWarp>
              </a:bodyPr>
              <a:lstStyle/>
              <a:p>
                <a:pPr defTabSz="932559"/>
                <a:endParaRPr lang="en-US" sz="1377">
                  <a:solidFill>
                    <a:srgbClr val="000000"/>
                  </a:solidFill>
                </a:endParaRPr>
              </a:p>
            </p:txBody>
          </p:sp>
          <p:pic>
            <p:nvPicPr>
              <p:cNvPr id="189" name="Picture 14"/>
              <p:cNvPicPr>
                <a:picLocks noChangeAspect="1" noChangeArrowheads="1"/>
              </p:cNvPicPr>
              <p:nvPr/>
            </p:nvPicPr>
            <p:blipFill>
              <a:blip r:embed="rId7">
                <a:lum bright="100000"/>
                <a:extLst>
                  <a:ext uri="{28A0092B-C50C-407E-A947-70E740481C1C}">
                    <a14:useLocalDpi xmlns:a14="http://schemas.microsoft.com/office/drawing/2010/main" val="0"/>
                  </a:ext>
                </a:extLst>
              </a:blip>
              <a:srcRect/>
              <a:stretch>
                <a:fillRect/>
              </a:stretch>
            </p:blipFill>
            <p:spPr bwMode="auto">
              <a:xfrm>
                <a:off x="6806304" y="1731825"/>
                <a:ext cx="173616" cy="203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90" name="Rounded Rectangle 6"/>
            <p:cNvSpPr/>
            <p:nvPr/>
          </p:nvSpPr>
          <p:spPr bwMode="black">
            <a:xfrm rot="16200000">
              <a:off x="3285142" y="2015247"/>
              <a:ext cx="338010" cy="479184"/>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31486" rIns="62972" bIns="31486" numCol="1" rtlCol="0" anchor="ctr" anchorCtr="0" compatLnSpc="1">
              <a:prstTxWarp prst="textNoShape">
                <a:avLst/>
              </a:prstTxWarp>
            </a:bodyPr>
            <a:lstStyle/>
            <a:p>
              <a:pPr algn="ctr" defTabSz="566761"/>
              <a:endParaRPr lang="en-US" sz="1377" spc="-94" dirty="0">
                <a:gradFill>
                  <a:gsLst>
                    <a:gs pos="0">
                      <a:srgbClr val="FFFFFF"/>
                    </a:gs>
                    <a:gs pos="100000">
                      <a:srgbClr val="FFFFFF"/>
                    </a:gs>
                  </a:gsLst>
                  <a:lin ang="5400000" scaled="0"/>
                </a:gradFill>
              </a:endParaRPr>
            </a:p>
          </p:txBody>
        </p:sp>
        <p:sp>
          <p:nvSpPr>
            <p:cNvPr id="191" name="Freeform 138"/>
            <p:cNvSpPr>
              <a:spLocks noEditPoints="1"/>
            </p:cNvSpPr>
            <p:nvPr/>
          </p:nvSpPr>
          <p:spPr bwMode="auto">
            <a:xfrm>
              <a:off x="4135099" y="2040200"/>
              <a:ext cx="256955" cy="429278"/>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tx1"/>
            </a:solidFill>
            <a:ln>
              <a:noFill/>
            </a:ln>
          </p:spPr>
          <p:txBody>
            <a:bodyPr vert="horz" wrap="square" lIns="69964" tIns="34982" rIns="69964" bIns="34982" numCol="1" anchor="t" anchorCtr="0" compatLnSpc="1">
              <a:prstTxWarp prst="textNoShape">
                <a:avLst/>
              </a:prstTxWarp>
            </a:bodyPr>
            <a:lstStyle/>
            <a:p>
              <a:pPr defTabSz="932559"/>
              <a:endParaRPr lang="en-US" sz="1377">
                <a:solidFill>
                  <a:srgbClr val="000000"/>
                </a:solidFill>
              </a:endParaRPr>
            </a:p>
          </p:txBody>
        </p:sp>
        <p:sp>
          <p:nvSpPr>
            <p:cNvPr id="192" name="Rectangle 191"/>
            <p:cNvSpPr/>
            <p:nvPr/>
          </p:nvSpPr>
          <p:spPr bwMode="auto">
            <a:xfrm>
              <a:off x="7208688" y="1860045"/>
              <a:ext cx="3068353" cy="1165441"/>
            </a:xfrm>
            <a:prstGeom prst="rect">
              <a:avLst/>
            </a:prstGeom>
            <a:solidFill>
              <a:schemeClr val="accent1"/>
            </a:solidFill>
            <a:ln w="25400" cap="flat" cmpd="sng" algn="ctr">
              <a:noFill/>
              <a:prstDash val="solid"/>
              <a:headEnd type="none" w="med" len="med"/>
              <a:tailEnd type="none" w="med" len="med"/>
            </a:ln>
            <a:effectLst/>
          </p:spPr>
          <p:txBody>
            <a:bodyPr vert="horz" wrap="square" lIns="209891" tIns="209891" rIns="69961" bIns="34980" numCol="1" rtlCol="0" anchor="t" anchorCtr="0" compatLnSpc="1">
              <a:prstTxWarp prst="textNoShape">
                <a:avLst/>
              </a:prstTxWarp>
            </a:bodyPr>
            <a:lstStyle/>
            <a:p>
              <a:pPr defTabSz="699404" fontAlgn="base">
                <a:lnSpc>
                  <a:spcPct val="90000"/>
                </a:lnSpc>
                <a:spcBef>
                  <a:spcPct val="0"/>
                </a:spcBef>
                <a:spcAft>
                  <a:spcPct val="0"/>
                </a:spcAft>
                <a:defRPr/>
              </a:pPr>
              <a:endParaRPr lang="en-US" sz="2449" kern="0" spc="-39" dirty="0" err="1">
                <a:gradFill>
                  <a:gsLst>
                    <a:gs pos="0">
                      <a:srgbClr val="FFFFFF"/>
                    </a:gs>
                    <a:gs pos="100000">
                      <a:srgbClr val="FFFFFF"/>
                    </a:gs>
                  </a:gsLst>
                  <a:lin ang="16200000" scaled="0"/>
                </a:gradFill>
                <a:latin typeface="Segoe UI Light"/>
              </a:endParaRPr>
            </a:p>
          </p:txBody>
        </p:sp>
        <p:sp>
          <p:nvSpPr>
            <p:cNvPr id="193" name="Rectangle 192"/>
            <p:cNvSpPr/>
            <p:nvPr/>
          </p:nvSpPr>
          <p:spPr bwMode="auto">
            <a:xfrm>
              <a:off x="7208688" y="2609637"/>
              <a:ext cx="3068353" cy="415848"/>
            </a:xfrm>
            <a:prstGeom prst="rect">
              <a:avLst/>
            </a:prstGeom>
            <a:solidFill>
              <a:schemeClr val="accent1">
                <a:lumMod val="20000"/>
                <a:lumOff val="80000"/>
                <a:alpha val="50000"/>
              </a:schemeClr>
            </a:solidFill>
            <a:ln w="25400" cap="flat" cmpd="sng" algn="ctr">
              <a:noFill/>
              <a:prstDash val="solid"/>
              <a:headEnd type="none" w="med" len="med"/>
              <a:tailEnd type="none" w="med" len="med"/>
            </a:ln>
            <a:effectLst/>
          </p:spPr>
          <p:txBody>
            <a:bodyPr vert="horz" wrap="square" lIns="139927" tIns="0" rIns="69961" bIns="0" numCol="1" rtlCol="0" anchor="ctr" anchorCtr="0" compatLnSpc="1">
              <a:prstTxWarp prst="textNoShape">
                <a:avLst/>
              </a:prstTxWarp>
            </a:bodyPr>
            <a:lstStyle/>
            <a:p>
              <a:pPr defTabSz="699404" fontAlgn="base">
                <a:lnSpc>
                  <a:spcPct val="90000"/>
                </a:lnSpc>
                <a:spcBef>
                  <a:spcPct val="0"/>
                </a:spcBef>
                <a:spcAft>
                  <a:spcPct val="0"/>
                </a:spcAft>
              </a:pPr>
              <a:r>
                <a:rPr lang="en-US" sz="1836" kern="0" dirty="0">
                  <a:ln>
                    <a:solidFill>
                      <a:srgbClr val="FFFFFF">
                        <a:alpha val="0"/>
                      </a:srgbClr>
                    </a:solidFill>
                  </a:ln>
                  <a:solidFill>
                    <a:srgbClr val="000000">
                      <a:lumMod val="75000"/>
                      <a:lumOff val="25000"/>
                    </a:srgbClr>
                  </a:solidFill>
                  <a:latin typeface="Segoe UI Light"/>
                </a:rPr>
                <a:t>Social</a:t>
              </a:r>
            </a:p>
          </p:txBody>
        </p:sp>
        <p:sp>
          <p:nvSpPr>
            <p:cNvPr id="194" name="Freeform 193"/>
            <p:cNvSpPr>
              <a:spLocks noEditPoints="1"/>
            </p:cNvSpPr>
            <p:nvPr/>
          </p:nvSpPr>
          <p:spPr bwMode="auto">
            <a:xfrm>
              <a:off x="9174613" y="2077326"/>
              <a:ext cx="364271" cy="364271"/>
            </a:xfrm>
            <a:custGeom>
              <a:avLst/>
              <a:gdLst>
                <a:gd name="T0" fmla="*/ 173 w 183"/>
                <a:gd name="T1" fmla="*/ 0 h 183"/>
                <a:gd name="T2" fmla="*/ 11 w 183"/>
                <a:gd name="T3" fmla="*/ 0 h 183"/>
                <a:gd name="T4" fmla="*/ 0 w 183"/>
                <a:gd name="T5" fmla="*/ 10 h 183"/>
                <a:gd name="T6" fmla="*/ 0 w 183"/>
                <a:gd name="T7" fmla="*/ 173 h 183"/>
                <a:gd name="T8" fmla="*/ 11 w 183"/>
                <a:gd name="T9" fmla="*/ 183 h 183"/>
                <a:gd name="T10" fmla="*/ 173 w 183"/>
                <a:gd name="T11" fmla="*/ 183 h 183"/>
                <a:gd name="T12" fmla="*/ 183 w 183"/>
                <a:gd name="T13" fmla="*/ 173 h 183"/>
                <a:gd name="T14" fmla="*/ 183 w 183"/>
                <a:gd name="T15" fmla="*/ 10 h 183"/>
                <a:gd name="T16" fmla="*/ 173 w 183"/>
                <a:gd name="T17" fmla="*/ 0 h 183"/>
                <a:gd name="T18" fmla="*/ 156 w 183"/>
                <a:gd name="T19" fmla="*/ 103 h 183"/>
                <a:gd name="T20" fmla="*/ 131 w 183"/>
                <a:gd name="T21" fmla="*/ 103 h 183"/>
                <a:gd name="T22" fmla="*/ 131 w 183"/>
                <a:gd name="T23" fmla="*/ 170 h 183"/>
                <a:gd name="T24" fmla="*/ 105 w 183"/>
                <a:gd name="T25" fmla="*/ 170 h 183"/>
                <a:gd name="T26" fmla="*/ 105 w 183"/>
                <a:gd name="T27" fmla="*/ 103 h 183"/>
                <a:gd name="T28" fmla="*/ 87 w 183"/>
                <a:gd name="T29" fmla="*/ 103 h 183"/>
                <a:gd name="T30" fmla="*/ 87 w 183"/>
                <a:gd name="T31" fmla="*/ 78 h 183"/>
                <a:gd name="T32" fmla="*/ 105 w 183"/>
                <a:gd name="T33" fmla="*/ 78 h 183"/>
                <a:gd name="T34" fmla="*/ 105 w 183"/>
                <a:gd name="T35" fmla="*/ 58 h 183"/>
                <a:gd name="T36" fmla="*/ 140 w 183"/>
                <a:gd name="T37" fmla="*/ 26 h 183"/>
                <a:gd name="T38" fmla="*/ 157 w 183"/>
                <a:gd name="T39" fmla="*/ 27 h 183"/>
                <a:gd name="T40" fmla="*/ 156 w 183"/>
                <a:gd name="T41" fmla="*/ 50 h 183"/>
                <a:gd name="T42" fmla="*/ 141 w 183"/>
                <a:gd name="T43" fmla="*/ 50 h 183"/>
                <a:gd name="T44" fmla="*/ 131 w 183"/>
                <a:gd name="T45" fmla="*/ 61 h 183"/>
                <a:gd name="T46" fmla="*/ 131 w 183"/>
                <a:gd name="T47" fmla="*/ 78 h 183"/>
                <a:gd name="T48" fmla="*/ 157 w 183"/>
                <a:gd name="T49" fmla="*/ 78 h 183"/>
                <a:gd name="T50" fmla="*/ 156 w 183"/>
                <a:gd name="T51" fmla="*/ 10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3" h="183">
                  <a:moveTo>
                    <a:pt x="173" y="0"/>
                  </a:moveTo>
                  <a:cubicBezTo>
                    <a:pt x="11" y="0"/>
                    <a:pt x="11" y="0"/>
                    <a:pt x="11" y="0"/>
                  </a:cubicBezTo>
                  <a:cubicBezTo>
                    <a:pt x="5" y="0"/>
                    <a:pt x="0" y="4"/>
                    <a:pt x="0" y="10"/>
                  </a:cubicBezTo>
                  <a:cubicBezTo>
                    <a:pt x="0" y="173"/>
                    <a:pt x="0" y="173"/>
                    <a:pt x="0" y="173"/>
                  </a:cubicBezTo>
                  <a:cubicBezTo>
                    <a:pt x="0" y="178"/>
                    <a:pt x="5" y="183"/>
                    <a:pt x="11" y="183"/>
                  </a:cubicBezTo>
                  <a:cubicBezTo>
                    <a:pt x="173" y="183"/>
                    <a:pt x="173" y="183"/>
                    <a:pt x="173" y="183"/>
                  </a:cubicBezTo>
                  <a:cubicBezTo>
                    <a:pt x="179" y="183"/>
                    <a:pt x="183" y="178"/>
                    <a:pt x="183" y="173"/>
                  </a:cubicBezTo>
                  <a:cubicBezTo>
                    <a:pt x="183" y="10"/>
                    <a:pt x="183" y="10"/>
                    <a:pt x="183" y="10"/>
                  </a:cubicBezTo>
                  <a:cubicBezTo>
                    <a:pt x="183" y="4"/>
                    <a:pt x="179" y="0"/>
                    <a:pt x="173" y="0"/>
                  </a:cubicBezTo>
                  <a:close/>
                  <a:moveTo>
                    <a:pt x="156" y="103"/>
                  </a:moveTo>
                  <a:cubicBezTo>
                    <a:pt x="131" y="103"/>
                    <a:pt x="131" y="103"/>
                    <a:pt x="131" y="103"/>
                  </a:cubicBezTo>
                  <a:cubicBezTo>
                    <a:pt x="131" y="170"/>
                    <a:pt x="131" y="170"/>
                    <a:pt x="131" y="170"/>
                  </a:cubicBezTo>
                  <a:cubicBezTo>
                    <a:pt x="105" y="170"/>
                    <a:pt x="105" y="170"/>
                    <a:pt x="105" y="170"/>
                  </a:cubicBezTo>
                  <a:cubicBezTo>
                    <a:pt x="105" y="103"/>
                    <a:pt x="105" y="103"/>
                    <a:pt x="105" y="103"/>
                  </a:cubicBezTo>
                  <a:cubicBezTo>
                    <a:pt x="87" y="103"/>
                    <a:pt x="87" y="103"/>
                    <a:pt x="87" y="103"/>
                  </a:cubicBezTo>
                  <a:cubicBezTo>
                    <a:pt x="87" y="78"/>
                    <a:pt x="87" y="78"/>
                    <a:pt x="87" y="78"/>
                  </a:cubicBezTo>
                  <a:cubicBezTo>
                    <a:pt x="105" y="78"/>
                    <a:pt x="105" y="78"/>
                    <a:pt x="105" y="78"/>
                  </a:cubicBezTo>
                  <a:cubicBezTo>
                    <a:pt x="105" y="58"/>
                    <a:pt x="105" y="58"/>
                    <a:pt x="105" y="58"/>
                  </a:cubicBezTo>
                  <a:cubicBezTo>
                    <a:pt x="105" y="41"/>
                    <a:pt x="115" y="26"/>
                    <a:pt x="140" y="26"/>
                  </a:cubicBezTo>
                  <a:cubicBezTo>
                    <a:pt x="149" y="26"/>
                    <a:pt x="157" y="27"/>
                    <a:pt x="157" y="27"/>
                  </a:cubicBezTo>
                  <a:cubicBezTo>
                    <a:pt x="156" y="50"/>
                    <a:pt x="156" y="50"/>
                    <a:pt x="156" y="50"/>
                  </a:cubicBezTo>
                  <a:cubicBezTo>
                    <a:pt x="156" y="50"/>
                    <a:pt x="149" y="50"/>
                    <a:pt x="141" y="50"/>
                  </a:cubicBezTo>
                  <a:cubicBezTo>
                    <a:pt x="132" y="50"/>
                    <a:pt x="131" y="54"/>
                    <a:pt x="131" y="61"/>
                  </a:cubicBezTo>
                  <a:cubicBezTo>
                    <a:pt x="131" y="78"/>
                    <a:pt x="131" y="78"/>
                    <a:pt x="131" y="78"/>
                  </a:cubicBezTo>
                  <a:cubicBezTo>
                    <a:pt x="157" y="78"/>
                    <a:pt x="157" y="78"/>
                    <a:pt x="157" y="78"/>
                  </a:cubicBezTo>
                  <a:lnTo>
                    <a:pt x="156" y="103"/>
                  </a:lnTo>
                  <a:close/>
                </a:path>
              </a:pathLst>
            </a:custGeom>
            <a:solidFill>
              <a:schemeClr val="tx1"/>
            </a:solidFill>
            <a:ln>
              <a:noFill/>
            </a:ln>
            <a:extLst/>
          </p:spPr>
          <p:txBody>
            <a:bodyPr vert="horz" wrap="square" lIns="69964" tIns="34982" rIns="69964" bIns="34982" numCol="1" anchor="t" anchorCtr="0" compatLnSpc="1">
              <a:prstTxWarp prst="textNoShape">
                <a:avLst/>
              </a:prstTxWarp>
            </a:bodyPr>
            <a:lstStyle/>
            <a:p>
              <a:pPr defTabSz="932559"/>
              <a:endParaRPr lang="en-US" sz="1377">
                <a:solidFill>
                  <a:srgbClr val="000000"/>
                </a:solidFill>
              </a:endParaRPr>
            </a:p>
          </p:txBody>
        </p:sp>
        <p:sp>
          <p:nvSpPr>
            <p:cNvPr id="195" name="Freeform 20"/>
            <p:cNvSpPr>
              <a:spLocks/>
            </p:cNvSpPr>
            <p:nvPr/>
          </p:nvSpPr>
          <p:spPr bwMode="auto">
            <a:xfrm>
              <a:off x="8541960" y="2083522"/>
              <a:ext cx="466510" cy="351879"/>
            </a:xfrm>
            <a:custGeom>
              <a:avLst/>
              <a:gdLst>
                <a:gd name="T0" fmla="*/ 167 w 346"/>
                <a:gd name="T1" fmla="*/ 92 h 261"/>
                <a:gd name="T2" fmla="*/ 207 w 346"/>
                <a:gd name="T3" fmla="*/ 18 h 261"/>
                <a:gd name="T4" fmla="*/ 218 w 346"/>
                <a:gd name="T5" fmla="*/ 16 h 261"/>
                <a:gd name="T6" fmla="*/ 229 w 346"/>
                <a:gd name="T7" fmla="*/ 8 h 261"/>
                <a:gd name="T8" fmla="*/ 233 w 346"/>
                <a:gd name="T9" fmla="*/ 15 h 261"/>
                <a:gd name="T10" fmla="*/ 230 w 346"/>
                <a:gd name="T11" fmla="*/ 27 h 261"/>
                <a:gd name="T12" fmla="*/ 303 w 346"/>
                <a:gd name="T13" fmla="*/ 88 h 261"/>
                <a:gd name="T14" fmla="*/ 308 w 346"/>
                <a:gd name="T15" fmla="*/ 94 h 261"/>
                <a:gd name="T16" fmla="*/ 345 w 346"/>
                <a:gd name="T17" fmla="*/ 93 h 261"/>
                <a:gd name="T18" fmla="*/ 314 w 346"/>
                <a:gd name="T19" fmla="*/ 111 h 261"/>
                <a:gd name="T20" fmla="*/ 314 w 346"/>
                <a:gd name="T21" fmla="*/ 114 h 261"/>
                <a:gd name="T22" fmla="*/ 346 w 346"/>
                <a:gd name="T23" fmla="*/ 116 h 261"/>
                <a:gd name="T24" fmla="*/ 306 w 346"/>
                <a:gd name="T25" fmla="*/ 131 h 261"/>
                <a:gd name="T26" fmla="*/ 238 w 346"/>
                <a:gd name="T27" fmla="*/ 219 h 261"/>
                <a:gd name="T28" fmla="*/ 0 w 346"/>
                <a:gd name="T29" fmla="*/ 178 h 261"/>
                <a:gd name="T30" fmla="*/ 128 w 346"/>
                <a:gd name="T31" fmla="*/ 173 h 261"/>
                <a:gd name="T32" fmla="*/ 116 w 346"/>
                <a:gd name="T33" fmla="*/ 143 h 261"/>
                <a:gd name="T34" fmla="*/ 77 w 346"/>
                <a:gd name="T35" fmla="*/ 126 h 261"/>
                <a:gd name="T36" fmla="*/ 79 w 346"/>
                <a:gd name="T37" fmla="*/ 118 h 261"/>
                <a:gd name="T38" fmla="*/ 97 w 346"/>
                <a:gd name="T39" fmla="*/ 112 h 261"/>
                <a:gd name="T40" fmla="*/ 61 w 346"/>
                <a:gd name="T41" fmla="*/ 82 h 261"/>
                <a:gd name="T42" fmla="*/ 64 w 346"/>
                <a:gd name="T43" fmla="*/ 76 h 261"/>
                <a:gd name="T44" fmla="*/ 80 w 346"/>
                <a:gd name="T45" fmla="*/ 74 h 261"/>
                <a:gd name="T46" fmla="*/ 52 w 346"/>
                <a:gd name="T47" fmla="*/ 40 h 261"/>
                <a:gd name="T48" fmla="*/ 61 w 346"/>
                <a:gd name="T49" fmla="*/ 34 h 261"/>
                <a:gd name="T50" fmla="*/ 167 w 346"/>
                <a:gd name="T51" fmla="*/ 92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46" h="261">
                  <a:moveTo>
                    <a:pt x="167" y="92"/>
                  </a:moveTo>
                  <a:cubicBezTo>
                    <a:pt x="178" y="57"/>
                    <a:pt x="192" y="35"/>
                    <a:pt x="207" y="18"/>
                  </a:cubicBezTo>
                  <a:cubicBezTo>
                    <a:pt x="219" y="6"/>
                    <a:pt x="225" y="2"/>
                    <a:pt x="218" y="16"/>
                  </a:cubicBezTo>
                  <a:cubicBezTo>
                    <a:pt x="221" y="13"/>
                    <a:pt x="225" y="10"/>
                    <a:pt x="229" y="8"/>
                  </a:cubicBezTo>
                  <a:cubicBezTo>
                    <a:pt x="248" y="0"/>
                    <a:pt x="246" y="7"/>
                    <a:pt x="233" y="15"/>
                  </a:cubicBezTo>
                  <a:cubicBezTo>
                    <a:pt x="269" y="2"/>
                    <a:pt x="268" y="18"/>
                    <a:pt x="230" y="27"/>
                  </a:cubicBezTo>
                  <a:cubicBezTo>
                    <a:pt x="261" y="27"/>
                    <a:pt x="293" y="47"/>
                    <a:pt x="303" y="88"/>
                  </a:cubicBezTo>
                  <a:cubicBezTo>
                    <a:pt x="304" y="94"/>
                    <a:pt x="303" y="93"/>
                    <a:pt x="308" y="94"/>
                  </a:cubicBezTo>
                  <a:cubicBezTo>
                    <a:pt x="321" y="97"/>
                    <a:pt x="333" y="97"/>
                    <a:pt x="345" y="93"/>
                  </a:cubicBezTo>
                  <a:cubicBezTo>
                    <a:pt x="344" y="101"/>
                    <a:pt x="332" y="107"/>
                    <a:pt x="314" y="111"/>
                  </a:cubicBezTo>
                  <a:cubicBezTo>
                    <a:pt x="308" y="112"/>
                    <a:pt x="307" y="112"/>
                    <a:pt x="314" y="114"/>
                  </a:cubicBezTo>
                  <a:cubicBezTo>
                    <a:pt x="324" y="116"/>
                    <a:pt x="335" y="116"/>
                    <a:pt x="346" y="116"/>
                  </a:cubicBezTo>
                  <a:cubicBezTo>
                    <a:pt x="337" y="126"/>
                    <a:pt x="323" y="131"/>
                    <a:pt x="306" y="131"/>
                  </a:cubicBezTo>
                  <a:cubicBezTo>
                    <a:pt x="295" y="172"/>
                    <a:pt x="269" y="200"/>
                    <a:pt x="238" y="219"/>
                  </a:cubicBezTo>
                  <a:cubicBezTo>
                    <a:pt x="163" y="261"/>
                    <a:pt x="54" y="255"/>
                    <a:pt x="0" y="178"/>
                  </a:cubicBezTo>
                  <a:cubicBezTo>
                    <a:pt x="35" y="206"/>
                    <a:pt x="88" y="212"/>
                    <a:pt x="128" y="173"/>
                  </a:cubicBezTo>
                  <a:cubicBezTo>
                    <a:pt x="102" y="173"/>
                    <a:pt x="95" y="154"/>
                    <a:pt x="116" y="143"/>
                  </a:cubicBezTo>
                  <a:cubicBezTo>
                    <a:pt x="96" y="143"/>
                    <a:pt x="84" y="137"/>
                    <a:pt x="77" y="126"/>
                  </a:cubicBezTo>
                  <a:cubicBezTo>
                    <a:pt x="74" y="121"/>
                    <a:pt x="74" y="121"/>
                    <a:pt x="79" y="118"/>
                  </a:cubicBezTo>
                  <a:cubicBezTo>
                    <a:pt x="83" y="114"/>
                    <a:pt x="90" y="113"/>
                    <a:pt x="97" y="112"/>
                  </a:cubicBezTo>
                  <a:cubicBezTo>
                    <a:pt x="77" y="106"/>
                    <a:pt x="65" y="96"/>
                    <a:pt x="61" y="82"/>
                  </a:cubicBezTo>
                  <a:cubicBezTo>
                    <a:pt x="59" y="77"/>
                    <a:pt x="59" y="78"/>
                    <a:pt x="64" y="76"/>
                  </a:cubicBezTo>
                  <a:cubicBezTo>
                    <a:pt x="68" y="75"/>
                    <a:pt x="74" y="75"/>
                    <a:pt x="80" y="74"/>
                  </a:cubicBezTo>
                  <a:cubicBezTo>
                    <a:pt x="64" y="65"/>
                    <a:pt x="54" y="53"/>
                    <a:pt x="52" y="40"/>
                  </a:cubicBezTo>
                  <a:cubicBezTo>
                    <a:pt x="50" y="28"/>
                    <a:pt x="52" y="31"/>
                    <a:pt x="61" y="34"/>
                  </a:cubicBezTo>
                  <a:cubicBezTo>
                    <a:pt x="102" y="50"/>
                    <a:pt x="143" y="67"/>
                    <a:pt x="167" y="92"/>
                  </a:cubicBezTo>
                  <a:close/>
                </a:path>
              </a:pathLst>
            </a:custGeom>
            <a:solidFill>
              <a:schemeClr val="tx1"/>
            </a:solidFill>
            <a:ln>
              <a:noFill/>
            </a:ln>
            <a:extLst/>
          </p:spPr>
          <p:txBody>
            <a:bodyPr vert="horz" wrap="square" lIns="69964" tIns="34982" rIns="69964" bIns="34982" numCol="1" anchor="t" anchorCtr="0" compatLnSpc="1">
              <a:prstTxWarp prst="textNoShape">
                <a:avLst/>
              </a:prstTxWarp>
            </a:bodyPr>
            <a:lstStyle/>
            <a:p>
              <a:pPr defTabSz="932559"/>
              <a:endParaRPr lang="en-US" sz="1377">
                <a:solidFill>
                  <a:srgbClr val="000000"/>
                </a:solidFill>
              </a:endParaRPr>
            </a:p>
          </p:txBody>
        </p:sp>
        <p:sp>
          <p:nvSpPr>
            <p:cNvPr id="196" name="Freeform 11"/>
            <p:cNvSpPr>
              <a:spLocks noEditPoints="1"/>
            </p:cNvSpPr>
            <p:nvPr/>
          </p:nvSpPr>
          <p:spPr bwMode="auto">
            <a:xfrm>
              <a:off x="9705027" y="2083526"/>
              <a:ext cx="450873" cy="351869"/>
            </a:xfrm>
            <a:custGeom>
              <a:avLst/>
              <a:gdLst>
                <a:gd name="T0" fmla="*/ 1018 w 1873"/>
                <a:gd name="T1" fmla="*/ 543 h 1462"/>
                <a:gd name="T2" fmla="*/ 906 w 1873"/>
                <a:gd name="T3" fmla="*/ 440 h 1462"/>
                <a:gd name="T4" fmla="*/ 859 w 1873"/>
                <a:gd name="T5" fmla="*/ 284 h 1462"/>
                <a:gd name="T6" fmla="*/ 1142 w 1873"/>
                <a:gd name="T7" fmla="*/ 0 h 1462"/>
                <a:gd name="T8" fmla="*/ 1426 w 1873"/>
                <a:gd name="T9" fmla="*/ 284 h 1462"/>
                <a:gd name="T10" fmla="*/ 1383 w 1873"/>
                <a:gd name="T11" fmla="*/ 440 h 1462"/>
                <a:gd name="T12" fmla="*/ 1267 w 1873"/>
                <a:gd name="T13" fmla="*/ 540 h 1462"/>
                <a:gd name="T14" fmla="*/ 1412 w 1873"/>
                <a:gd name="T15" fmla="*/ 608 h 1462"/>
                <a:gd name="T16" fmla="*/ 1540 w 1873"/>
                <a:gd name="T17" fmla="*/ 819 h 1462"/>
                <a:gd name="T18" fmla="*/ 1805 w 1873"/>
                <a:gd name="T19" fmla="*/ 604 h 1462"/>
                <a:gd name="T20" fmla="*/ 1805 w 1873"/>
                <a:gd name="T21" fmla="*/ 633 h 1462"/>
                <a:gd name="T22" fmla="*/ 1551 w 1873"/>
                <a:gd name="T23" fmla="*/ 867 h 1462"/>
                <a:gd name="T24" fmla="*/ 1565 w 1873"/>
                <a:gd name="T25" fmla="*/ 922 h 1462"/>
                <a:gd name="T26" fmla="*/ 1590 w 1873"/>
                <a:gd name="T27" fmla="*/ 1112 h 1462"/>
                <a:gd name="T28" fmla="*/ 1081 w 1873"/>
                <a:gd name="T29" fmla="*/ 947 h 1462"/>
                <a:gd name="T30" fmla="*/ 782 w 1873"/>
                <a:gd name="T31" fmla="*/ 805 h 1462"/>
                <a:gd name="T32" fmla="*/ 1018 w 1873"/>
                <a:gd name="T33" fmla="*/ 543 h 1462"/>
                <a:gd name="T34" fmla="*/ 444 w 1873"/>
                <a:gd name="T35" fmla="*/ 672 h 1462"/>
                <a:gd name="T36" fmla="*/ 743 w 1873"/>
                <a:gd name="T37" fmla="*/ 781 h 1462"/>
                <a:gd name="T38" fmla="*/ 830 w 1873"/>
                <a:gd name="T39" fmla="*/ 625 h 1462"/>
                <a:gd name="T40" fmla="*/ 669 w 1873"/>
                <a:gd name="T41" fmla="*/ 534 h 1462"/>
                <a:gd name="T42" fmla="*/ 801 w 1873"/>
                <a:gd name="T43" fmla="*/ 319 h 1462"/>
                <a:gd name="T44" fmla="*/ 557 w 1873"/>
                <a:gd name="T45" fmla="*/ 72 h 1462"/>
                <a:gd name="T46" fmla="*/ 312 w 1873"/>
                <a:gd name="T47" fmla="*/ 319 h 1462"/>
                <a:gd name="T48" fmla="*/ 444 w 1873"/>
                <a:gd name="T49" fmla="*/ 534 h 1462"/>
                <a:gd name="T50" fmla="*/ 250 w 1873"/>
                <a:gd name="T51" fmla="*/ 668 h 1462"/>
                <a:gd name="T52" fmla="*/ 444 w 1873"/>
                <a:gd name="T53" fmla="*/ 672 h 1462"/>
                <a:gd name="T54" fmla="*/ 1859 w 1873"/>
                <a:gd name="T55" fmla="*/ 1155 h 1462"/>
                <a:gd name="T56" fmla="*/ 1873 w 1873"/>
                <a:gd name="T57" fmla="*/ 1158 h 1462"/>
                <a:gd name="T58" fmla="*/ 1854 w 1873"/>
                <a:gd name="T59" fmla="*/ 1166 h 1462"/>
                <a:gd name="T60" fmla="*/ 1593 w 1873"/>
                <a:gd name="T61" fmla="*/ 1162 h 1462"/>
                <a:gd name="T62" fmla="*/ 1593 w 1873"/>
                <a:gd name="T63" fmla="*/ 1209 h 1462"/>
                <a:gd name="T64" fmla="*/ 1593 w 1873"/>
                <a:gd name="T65" fmla="*/ 1257 h 1462"/>
                <a:gd name="T66" fmla="*/ 1568 w 1873"/>
                <a:gd name="T67" fmla="*/ 1319 h 1462"/>
                <a:gd name="T68" fmla="*/ 1509 w 1873"/>
                <a:gd name="T69" fmla="*/ 1330 h 1462"/>
                <a:gd name="T70" fmla="*/ 1509 w 1873"/>
                <a:gd name="T71" fmla="*/ 1378 h 1462"/>
                <a:gd name="T72" fmla="*/ 1148 w 1873"/>
                <a:gd name="T73" fmla="*/ 1462 h 1462"/>
                <a:gd name="T74" fmla="*/ 806 w 1873"/>
                <a:gd name="T75" fmla="*/ 1385 h 1462"/>
                <a:gd name="T76" fmla="*/ 787 w 1873"/>
                <a:gd name="T77" fmla="*/ 1235 h 1462"/>
                <a:gd name="T78" fmla="*/ 751 w 1873"/>
                <a:gd name="T79" fmla="*/ 1191 h 1462"/>
                <a:gd name="T80" fmla="*/ 765 w 1873"/>
                <a:gd name="T81" fmla="*/ 895 h 1462"/>
                <a:gd name="T82" fmla="*/ 722 w 1873"/>
                <a:gd name="T83" fmla="*/ 880 h 1462"/>
                <a:gd name="T84" fmla="*/ 708 w 1873"/>
                <a:gd name="T85" fmla="*/ 1191 h 1462"/>
                <a:gd name="T86" fmla="*/ 744 w 1873"/>
                <a:gd name="T87" fmla="*/ 1268 h 1462"/>
                <a:gd name="T88" fmla="*/ 744 w 1873"/>
                <a:gd name="T89" fmla="*/ 1282 h 1462"/>
                <a:gd name="T90" fmla="*/ 561 w 1873"/>
                <a:gd name="T91" fmla="*/ 1289 h 1462"/>
                <a:gd name="T92" fmla="*/ 252 w 1873"/>
                <a:gd name="T93" fmla="*/ 1228 h 1462"/>
                <a:gd name="T94" fmla="*/ 252 w 1873"/>
                <a:gd name="T95" fmla="*/ 1150 h 1462"/>
                <a:gd name="T96" fmla="*/ 238 w 1873"/>
                <a:gd name="T97" fmla="*/ 1155 h 1462"/>
                <a:gd name="T98" fmla="*/ 190 w 1873"/>
                <a:gd name="T99" fmla="*/ 1155 h 1462"/>
                <a:gd name="T100" fmla="*/ 143 w 1873"/>
                <a:gd name="T101" fmla="*/ 1107 h 1462"/>
                <a:gd name="T102" fmla="*/ 143 w 1873"/>
                <a:gd name="T103" fmla="*/ 1103 h 1462"/>
                <a:gd name="T104" fmla="*/ 0 w 1873"/>
                <a:gd name="T105" fmla="*/ 923 h 1462"/>
                <a:gd name="T106" fmla="*/ 139 w 1873"/>
                <a:gd name="T107" fmla="*/ 734 h 1462"/>
                <a:gd name="T108" fmla="*/ 325 w 1873"/>
                <a:gd name="T109" fmla="*/ 712 h 1462"/>
                <a:gd name="T110" fmla="*/ 1021 w 1873"/>
                <a:gd name="T111" fmla="*/ 961 h 1462"/>
                <a:gd name="T112" fmla="*/ 1457 w 1873"/>
                <a:gd name="T113" fmla="*/ 1103 h 1462"/>
                <a:gd name="T114" fmla="*/ 1771 w 1873"/>
                <a:gd name="T115" fmla="*/ 1150 h 1462"/>
                <a:gd name="T116" fmla="*/ 1859 w 1873"/>
                <a:gd name="T117" fmla="*/ 1155 h 1462"/>
                <a:gd name="T118" fmla="*/ 143 w 1873"/>
                <a:gd name="T119" fmla="*/ 1034 h 1462"/>
                <a:gd name="T120" fmla="*/ 193 w 1873"/>
                <a:gd name="T121" fmla="*/ 781 h 1462"/>
                <a:gd name="T122" fmla="*/ 41 w 1873"/>
                <a:gd name="T123" fmla="*/ 927 h 1462"/>
                <a:gd name="T124" fmla="*/ 143 w 1873"/>
                <a:gd name="T125" fmla="*/ 1034 h 1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73" h="1462">
                  <a:moveTo>
                    <a:pt x="1018" y="543"/>
                  </a:moveTo>
                  <a:cubicBezTo>
                    <a:pt x="975" y="517"/>
                    <a:pt x="934" y="484"/>
                    <a:pt x="906" y="440"/>
                  </a:cubicBezTo>
                  <a:cubicBezTo>
                    <a:pt x="877" y="393"/>
                    <a:pt x="859" y="342"/>
                    <a:pt x="859" y="284"/>
                  </a:cubicBezTo>
                  <a:cubicBezTo>
                    <a:pt x="859" y="127"/>
                    <a:pt x="986" y="0"/>
                    <a:pt x="1142" y="0"/>
                  </a:cubicBezTo>
                  <a:cubicBezTo>
                    <a:pt x="1299" y="0"/>
                    <a:pt x="1426" y="127"/>
                    <a:pt x="1426" y="284"/>
                  </a:cubicBezTo>
                  <a:cubicBezTo>
                    <a:pt x="1426" y="338"/>
                    <a:pt x="1412" y="393"/>
                    <a:pt x="1383" y="440"/>
                  </a:cubicBezTo>
                  <a:cubicBezTo>
                    <a:pt x="1354" y="484"/>
                    <a:pt x="1313" y="517"/>
                    <a:pt x="1267" y="540"/>
                  </a:cubicBezTo>
                  <a:cubicBezTo>
                    <a:pt x="1310" y="547"/>
                    <a:pt x="1365" y="568"/>
                    <a:pt x="1412" y="608"/>
                  </a:cubicBezTo>
                  <a:cubicBezTo>
                    <a:pt x="1478" y="670"/>
                    <a:pt x="1510" y="728"/>
                    <a:pt x="1540" y="819"/>
                  </a:cubicBezTo>
                  <a:cubicBezTo>
                    <a:pt x="1605" y="794"/>
                    <a:pt x="1699" y="740"/>
                    <a:pt x="1805" y="604"/>
                  </a:cubicBezTo>
                  <a:cubicBezTo>
                    <a:pt x="1812" y="594"/>
                    <a:pt x="1853" y="550"/>
                    <a:pt x="1805" y="633"/>
                  </a:cubicBezTo>
                  <a:cubicBezTo>
                    <a:pt x="1765" y="703"/>
                    <a:pt x="1685" y="812"/>
                    <a:pt x="1551" y="867"/>
                  </a:cubicBezTo>
                  <a:cubicBezTo>
                    <a:pt x="1554" y="885"/>
                    <a:pt x="1562" y="903"/>
                    <a:pt x="1565" y="922"/>
                  </a:cubicBezTo>
                  <a:cubicBezTo>
                    <a:pt x="1579" y="991"/>
                    <a:pt x="1587" y="1056"/>
                    <a:pt x="1590" y="1112"/>
                  </a:cubicBezTo>
                  <a:cubicBezTo>
                    <a:pt x="1404" y="1078"/>
                    <a:pt x="1256" y="1028"/>
                    <a:pt x="1081" y="947"/>
                  </a:cubicBezTo>
                  <a:cubicBezTo>
                    <a:pt x="982" y="907"/>
                    <a:pt x="880" y="853"/>
                    <a:pt x="782" y="805"/>
                  </a:cubicBezTo>
                  <a:cubicBezTo>
                    <a:pt x="815" y="710"/>
                    <a:pt x="877" y="594"/>
                    <a:pt x="1018" y="543"/>
                  </a:cubicBezTo>
                  <a:close/>
                  <a:moveTo>
                    <a:pt x="444" y="672"/>
                  </a:moveTo>
                  <a:cubicBezTo>
                    <a:pt x="546" y="693"/>
                    <a:pt x="644" y="734"/>
                    <a:pt x="743" y="781"/>
                  </a:cubicBezTo>
                  <a:cubicBezTo>
                    <a:pt x="768" y="720"/>
                    <a:pt x="794" y="668"/>
                    <a:pt x="830" y="625"/>
                  </a:cubicBezTo>
                  <a:cubicBezTo>
                    <a:pt x="764" y="559"/>
                    <a:pt x="695" y="537"/>
                    <a:pt x="669" y="534"/>
                  </a:cubicBezTo>
                  <a:cubicBezTo>
                    <a:pt x="750" y="494"/>
                    <a:pt x="801" y="414"/>
                    <a:pt x="801" y="319"/>
                  </a:cubicBezTo>
                  <a:cubicBezTo>
                    <a:pt x="801" y="181"/>
                    <a:pt x="691" y="72"/>
                    <a:pt x="557" y="72"/>
                  </a:cubicBezTo>
                  <a:cubicBezTo>
                    <a:pt x="421" y="72"/>
                    <a:pt x="312" y="181"/>
                    <a:pt x="312" y="319"/>
                  </a:cubicBezTo>
                  <a:cubicBezTo>
                    <a:pt x="312" y="414"/>
                    <a:pt x="364" y="494"/>
                    <a:pt x="444" y="534"/>
                  </a:cubicBezTo>
                  <a:cubicBezTo>
                    <a:pt x="421" y="541"/>
                    <a:pt x="326" y="566"/>
                    <a:pt x="250" y="668"/>
                  </a:cubicBezTo>
                  <a:cubicBezTo>
                    <a:pt x="305" y="657"/>
                    <a:pt x="378" y="657"/>
                    <a:pt x="444" y="672"/>
                  </a:cubicBezTo>
                  <a:close/>
                  <a:moveTo>
                    <a:pt x="1859" y="1155"/>
                  </a:moveTo>
                  <a:cubicBezTo>
                    <a:pt x="1862" y="1155"/>
                    <a:pt x="1870" y="1155"/>
                    <a:pt x="1873" y="1158"/>
                  </a:cubicBezTo>
                  <a:cubicBezTo>
                    <a:pt x="1873" y="1158"/>
                    <a:pt x="1870" y="1166"/>
                    <a:pt x="1854" y="1166"/>
                  </a:cubicBezTo>
                  <a:cubicBezTo>
                    <a:pt x="1829" y="1169"/>
                    <a:pt x="1756" y="1169"/>
                    <a:pt x="1593" y="1162"/>
                  </a:cubicBezTo>
                  <a:cubicBezTo>
                    <a:pt x="1593" y="1180"/>
                    <a:pt x="1593" y="1194"/>
                    <a:pt x="1593" y="1209"/>
                  </a:cubicBezTo>
                  <a:cubicBezTo>
                    <a:pt x="1593" y="1235"/>
                    <a:pt x="1593" y="1253"/>
                    <a:pt x="1593" y="1257"/>
                  </a:cubicBezTo>
                  <a:cubicBezTo>
                    <a:pt x="1593" y="1271"/>
                    <a:pt x="1593" y="1300"/>
                    <a:pt x="1568" y="1319"/>
                  </a:cubicBezTo>
                  <a:cubicBezTo>
                    <a:pt x="1555" y="1326"/>
                    <a:pt x="1537" y="1333"/>
                    <a:pt x="1509" y="1330"/>
                  </a:cubicBezTo>
                  <a:cubicBezTo>
                    <a:pt x="1509" y="1330"/>
                    <a:pt x="1509" y="1330"/>
                    <a:pt x="1509" y="1378"/>
                  </a:cubicBezTo>
                  <a:cubicBezTo>
                    <a:pt x="1509" y="1378"/>
                    <a:pt x="1502" y="1462"/>
                    <a:pt x="1148" y="1462"/>
                  </a:cubicBezTo>
                  <a:cubicBezTo>
                    <a:pt x="824" y="1462"/>
                    <a:pt x="810" y="1396"/>
                    <a:pt x="806" y="1385"/>
                  </a:cubicBezTo>
                  <a:cubicBezTo>
                    <a:pt x="799" y="1373"/>
                    <a:pt x="787" y="1351"/>
                    <a:pt x="787" y="1235"/>
                  </a:cubicBezTo>
                  <a:cubicBezTo>
                    <a:pt x="787" y="1235"/>
                    <a:pt x="751" y="1239"/>
                    <a:pt x="751" y="1191"/>
                  </a:cubicBezTo>
                  <a:cubicBezTo>
                    <a:pt x="751" y="1150"/>
                    <a:pt x="751" y="1004"/>
                    <a:pt x="765" y="895"/>
                  </a:cubicBezTo>
                  <a:cubicBezTo>
                    <a:pt x="751" y="891"/>
                    <a:pt x="737" y="884"/>
                    <a:pt x="722" y="880"/>
                  </a:cubicBezTo>
                  <a:cubicBezTo>
                    <a:pt x="704" y="1004"/>
                    <a:pt x="708" y="1184"/>
                    <a:pt x="708" y="1191"/>
                  </a:cubicBezTo>
                  <a:cubicBezTo>
                    <a:pt x="708" y="1232"/>
                    <a:pt x="726" y="1253"/>
                    <a:pt x="744" y="1268"/>
                  </a:cubicBezTo>
                  <a:cubicBezTo>
                    <a:pt x="744" y="1271"/>
                    <a:pt x="744" y="1278"/>
                    <a:pt x="744" y="1282"/>
                  </a:cubicBezTo>
                  <a:cubicBezTo>
                    <a:pt x="701" y="1286"/>
                    <a:pt x="642" y="1289"/>
                    <a:pt x="561" y="1289"/>
                  </a:cubicBezTo>
                  <a:cubicBezTo>
                    <a:pt x="288" y="1289"/>
                    <a:pt x="252" y="1264"/>
                    <a:pt x="252" y="1228"/>
                  </a:cubicBezTo>
                  <a:cubicBezTo>
                    <a:pt x="252" y="1228"/>
                    <a:pt x="252" y="1228"/>
                    <a:pt x="252" y="1150"/>
                  </a:cubicBezTo>
                  <a:cubicBezTo>
                    <a:pt x="249" y="1155"/>
                    <a:pt x="238" y="1155"/>
                    <a:pt x="238" y="1155"/>
                  </a:cubicBezTo>
                  <a:cubicBezTo>
                    <a:pt x="238" y="1155"/>
                    <a:pt x="204" y="1155"/>
                    <a:pt x="190" y="1155"/>
                  </a:cubicBezTo>
                  <a:cubicBezTo>
                    <a:pt x="161" y="1155"/>
                    <a:pt x="143" y="1139"/>
                    <a:pt x="143" y="1107"/>
                  </a:cubicBezTo>
                  <a:cubicBezTo>
                    <a:pt x="143" y="1103"/>
                    <a:pt x="143" y="1103"/>
                    <a:pt x="143" y="1103"/>
                  </a:cubicBezTo>
                  <a:cubicBezTo>
                    <a:pt x="30" y="1082"/>
                    <a:pt x="0" y="993"/>
                    <a:pt x="0" y="923"/>
                  </a:cubicBezTo>
                  <a:cubicBezTo>
                    <a:pt x="0" y="854"/>
                    <a:pt x="38" y="773"/>
                    <a:pt x="139" y="734"/>
                  </a:cubicBezTo>
                  <a:cubicBezTo>
                    <a:pt x="179" y="723"/>
                    <a:pt x="211" y="704"/>
                    <a:pt x="325" y="712"/>
                  </a:cubicBezTo>
                  <a:cubicBezTo>
                    <a:pt x="536" y="723"/>
                    <a:pt x="773" y="862"/>
                    <a:pt x="1021" y="961"/>
                  </a:cubicBezTo>
                  <a:cubicBezTo>
                    <a:pt x="1162" y="1019"/>
                    <a:pt x="1326" y="1073"/>
                    <a:pt x="1457" y="1103"/>
                  </a:cubicBezTo>
                  <a:cubicBezTo>
                    <a:pt x="1621" y="1139"/>
                    <a:pt x="1745" y="1146"/>
                    <a:pt x="1771" y="1150"/>
                  </a:cubicBezTo>
                  <a:cubicBezTo>
                    <a:pt x="1822" y="1155"/>
                    <a:pt x="1854" y="1155"/>
                    <a:pt x="1859" y="1155"/>
                  </a:cubicBezTo>
                  <a:close/>
                  <a:moveTo>
                    <a:pt x="143" y="1034"/>
                  </a:moveTo>
                  <a:cubicBezTo>
                    <a:pt x="147" y="946"/>
                    <a:pt x="154" y="873"/>
                    <a:pt x="193" y="781"/>
                  </a:cubicBezTo>
                  <a:cubicBezTo>
                    <a:pt x="99" y="800"/>
                    <a:pt x="41" y="847"/>
                    <a:pt x="41" y="927"/>
                  </a:cubicBezTo>
                  <a:cubicBezTo>
                    <a:pt x="41" y="1004"/>
                    <a:pt x="106" y="1026"/>
                    <a:pt x="143" y="10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64" tIns="34982" rIns="69964" bIns="34982" numCol="1" anchor="t" anchorCtr="0" compatLnSpc="1">
              <a:prstTxWarp prst="textNoShape">
                <a:avLst/>
              </a:prstTxWarp>
            </a:bodyPr>
            <a:lstStyle/>
            <a:p>
              <a:pPr defTabSz="932559"/>
              <a:endParaRPr lang="en-US" sz="1377">
                <a:solidFill>
                  <a:srgbClr val="000000"/>
                </a:solidFill>
              </a:endParaRPr>
            </a:p>
          </p:txBody>
        </p:sp>
        <p:grpSp>
          <p:nvGrpSpPr>
            <p:cNvPr id="197" name="Group 196"/>
            <p:cNvGrpSpPr/>
            <p:nvPr/>
          </p:nvGrpSpPr>
          <p:grpSpPr>
            <a:xfrm>
              <a:off x="7493678" y="4040381"/>
              <a:ext cx="1026374" cy="592254"/>
              <a:chOff x="7937208" y="4232255"/>
              <a:chExt cx="1408722" cy="812882"/>
            </a:xfrm>
          </p:grpSpPr>
          <p:sp>
            <p:nvSpPr>
              <p:cNvPr id="198" name="Freeform 6"/>
              <p:cNvSpPr>
                <a:spLocks/>
              </p:cNvSpPr>
              <p:nvPr/>
            </p:nvSpPr>
            <p:spPr bwMode="auto">
              <a:xfrm>
                <a:off x="7937208" y="4232255"/>
                <a:ext cx="1408722" cy="812882"/>
              </a:xfrm>
              <a:custGeom>
                <a:avLst/>
                <a:gdLst>
                  <a:gd name="T0" fmla="*/ 674 w 874"/>
                  <a:gd name="T1" fmla="*/ 86 h 504"/>
                  <a:gd name="T2" fmla="*/ 646 w 874"/>
                  <a:gd name="T3" fmla="*/ 87 h 504"/>
                  <a:gd name="T4" fmla="*/ 460 w 874"/>
                  <a:gd name="T5" fmla="*/ 262 h 504"/>
                  <a:gd name="T6" fmla="*/ 537 w 874"/>
                  <a:gd name="T7" fmla="*/ 66 h 504"/>
                  <a:gd name="T8" fmla="*/ 378 w 874"/>
                  <a:gd name="T9" fmla="*/ 0 h 504"/>
                  <a:gd name="T10" fmla="*/ 151 w 874"/>
                  <a:gd name="T11" fmla="*/ 216 h 504"/>
                  <a:gd name="T12" fmla="*/ 144 w 874"/>
                  <a:gd name="T13" fmla="*/ 216 h 504"/>
                  <a:gd name="T14" fmla="*/ 0 w 874"/>
                  <a:gd name="T15" fmla="*/ 360 h 504"/>
                  <a:gd name="T16" fmla="*/ 144 w 874"/>
                  <a:gd name="T17" fmla="*/ 504 h 504"/>
                  <a:gd name="T18" fmla="*/ 665 w 874"/>
                  <a:gd name="T19" fmla="*/ 504 h 504"/>
                  <a:gd name="T20" fmla="*/ 665 w 874"/>
                  <a:gd name="T21" fmla="*/ 503 h 504"/>
                  <a:gd name="T22" fmla="*/ 665 w 874"/>
                  <a:gd name="T23" fmla="*/ 503 h 504"/>
                  <a:gd name="T24" fmla="*/ 874 w 874"/>
                  <a:gd name="T25" fmla="*/ 295 h 504"/>
                  <a:gd name="T26" fmla="*/ 674 w 874"/>
                  <a:gd name="T27" fmla="*/ 86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4" h="504">
                    <a:moveTo>
                      <a:pt x="674" y="86"/>
                    </a:moveTo>
                    <a:cubicBezTo>
                      <a:pt x="665" y="86"/>
                      <a:pt x="655" y="86"/>
                      <a:pt x="646" y="87"/>
                    </a:cubicBezTo>
                    <a:cubicBezTo>
                      <a:pt x="550" y="97"/>
                      <a:pt x="475" y="170"/>
                      <a:pt x="460" y="262"/>
                    </a:cubicBezTo>
                    <a:cubicBezTo>
                      <a:pt x="445" y="228"/>
                      <a:pt x="452" y="123"/>
                      <a:pt x="537" y="66"/>
                    </a:cubicBezTo>
                    <a:cubicBezTo>
                      <a:pt x="496" y="25"/>
                      <a:pt x="440" y="0"/>
                      <a:pt x="378" y="0"/>
                    </a:cubicBezTo>
                    <a:cubicBezTo>
                      <a:pt x="256" y="0"/>
                      <a:pt x="157" y="96"/>
                      <a:pt x="151" y="216"/>
                    </a:cubicBezTo>
                    <a:cubicBezTo>
                      <a:pt x="149" y="216"/>
                      <a:pt x="146" y="216"/>
                      <a:pt x="144" y="216"/>
                    </a:cubicBezTo>
                    <a:cubicBezTo>
                      <a:pt x="64" y="216"/>
                      <a:pt x="0" y="280"/>
                      <a:pt x="0" y="360"/>
                    </a:cubicBezTo>
                    <a:cubicBezTo>
                      <a:pt x="0" y="439"/>
                      <a:pt x="64" y="504"/>
                      <a:pt x="144" y="504"/>
                    </a:cubicBezTo>
                    <a:cubicBezTo>
                      <a:pt x="665" y="504"/>
                      <a:pt x="665" y="504"/>
                      <a:pt x="665" y="504"/>
                    </a:cubicBezTo>
                    <a:cubicBezTo>
                      <a:pt x="665" y="503"/>
                      <a:pt x="665" y="503"/>
                      <a:pt x="665" y="503"/>
                    </a:cubicBezTo>
                    <a:cubicBezTo>
                      <a:pt x="665" y="503"/>
                      <a:pt x="665" y="503"/>
                      <a:pt x="665" y="503"/>
                    </a:cubicBezTo>
                    <a:cubicBezTo>
                      <a:pt x="781" y="503"/>
                      <a:pt x="874" y="410"/>
                      <a:pt x="874" y="295"/>
                    </a:cubicBezTo>
                    <a:cubicBezTo>
                      <a:pt x="874" y="182"/>
                      <a:pt x="785" y="91"/>
                      <a:pt x="674" y="86"/>
                    </a:cubicBezTo>
                    <a:close/>
                  </a:path>
                </a:pathLst>
              </a:custGeom>
              <a:solidFill>
                <a:srgbClr val="FFFFFF"/>
              </a:solidFill>
              <a:ln>
                <a:noFill/>
              </a:ln>
            </p:spPr>
            <p:txBody>
              <a:bodyPr vert="horz" wrap="square" lIns="69964" tIns="34982" rIns="69964" bIns="34982" numCol="1" anchor="t" anchorCtr="0" compatLnSpc="1">
                <a:prstTxWarp prst="textNoShape">
                  <a:avLst/>
                </a:prstTxWarp>
              </a:bodyPr>
              <a:lstStyle/>
              <a:p>
                <a:pPr defTabSz="699634">
                  <a:defRPr/>
                </a:pPr>
                <a:endParaRPr lang="en-US" sz="1836" kern="0">
                  <a:solidFill>
                    <a:srgbClr val="FFFFFF"/>
                  </a:solidFill>
                </a:endParaRPr>
              </a:p>
            </p:txBody>
          </p:sp>
          <p:sp>
            <p:nvSpPr>
              <p:cNvPr id="199" name="Freeform 7"/>
              <p:cNvSpPr>
                <a:spLocks noEditPoints="1"/>
              </p:cNvSpPr>
              <p:nvPr/>
            </p:nvSpPr>
            <p:spPr bwMode="auto">
              <a:xfrm rot="10800000" flipH="1">
                <a:off x="8768775" y="4469453"/>
                <a:ext cx="495054" cy="495055"/>
              </a:xfrm>
              <a:custGeom>
                <a:avLst/>
                <a:gdLst>
                  <a:gd name="T0" fmla="*/ 216 w 435"/>
                  <a:gd name="T1" fmla="*/ 0 h 436"/>
                  <a:gd name="T2" fmla="*/ 0 w 435"/>
                  <a:gd name="T3" fmla="*/ 220 h 436"/>
                  <a:gd name="T4" fmla="*/ 216 w 435"/>
                  <a:gd name="T5" fmla="*/ 436 h 436"/>
                  <a:gd name="T6" fmla="*/ 435 w 435"/>
                  <a:gd name="T7" fmla="*/ 220 h 436"/>
                  <a:gd name="T8" fmla="*/ 216 w 435"/>
                  <a:gd name="T9" fmla="*/ 0 h 436"/>
                  <a:gd name="T10" fmla="*/ 216 w 435"/>
                  <a:gd name="T11" fmla="*/ 410 h 436"/>
                  <a:gd name="T12" fmla="*/ 27 w 435"/>
                  <a:gd name="T13" fmla="*/ 220 h 436"/>
                  <a:gd name="T14" fmla="*/ 216 w 435"/>
                  <a:gd name="T15" fmla="*/ 27 h 436"/>
                  <a:gd name="T16" fmla="*/ 409 w 435"/>
                  <a:gd name="T17" fmla="*/ 220 h 436"/>
                  <a:gd name="T18" fmla="*/ 216 w 435"/>
                  <a:gd name="T19" fmla="*/ 41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5" h="436">
                    <a:moveTo>
                      <a:pt x="216" y="0"/>
                    </a:moveTo>
                    <a:cubicBezTo>
                      <a:pt x="97" y="0"/>
                      <a:pt x="0" y="97"/>
                      <a:pt x="0" y="220"/>
                    </a:cubicBezTo>
                    <a:cubicBezTo>
                      <a:pt x="0" y="340"/>
                      <a:pt x="97" y="436"/>
                      <a:pt x="216" y="436"/>
                    </a:cubicBezTo>
                    <a:cubicBezTo>
                      <a:pt x="339" y="436"/>
                      <a:pt x="435" y="340"/>
                      <a:pt x="435" y="220"/>
                    </a:cubicBezTo>
                    <a:cubicBezTo>
                      <a:pt x="435" y="97"/>
                      <a:pt x="339" y="0"/>
                      <a:pt x="216" y="0"/>
                    </a:cubicBezTo>
                    <a:close/>
                    <a:moveTo>
                      <a:pt x="216" y="410"/>
                    </a:moveTo>
                    <a:cubicBezTo>
                      <a:pt x="111" y="410"/>
                      <a:pt x="27" y="325"/>
                      <a:pt x="27" y="220"/>
                    </a:cubicBezTo>
                    <a:cubicBezTo>
                      <a:pt x="27" y="114"/>
                      <a:pt x="111" y="27"/>
                      <a:pt x="216" y="27"/>
                    </a:cubicBezTo>
                    <a:cubicBezTo>
                      <a:pt x="321" y="27"/>
                      <a:pt x="409" y="114"/>
                      <a:pt x="409" y="220"/>
                    </a:cubicBezTo>
                    <a:cubicBezTo>
                      <a:pt x="409" y="325"/>
                      <a:pt x="321" y="410"/>
                      <a:pt x="216" y="410"/>
                    </a:cubicBezTo>
                    <a:close/>
                  </a:path>
                </a:pathLst>
              </a:custGeom>
              <a:solidFill>
                <a:schemeClr val="accent2"/>
              </a:solidFill>
              <a:ln w="25400" cap="flat" cmpd="sng" algn="ctr">
                <a:noFill/>
                <a:prstDash val="solid"/>
                <a:headEnd type="none" w="med" len="med"/>
                <a:tailEnd type="none" w="med" len="med"/>
              </a:ln>
              <a:effectLst/>
              <a:extLst/>
            </p:spPr>
            <p:txBody>
              <a:bodyPr vert="horz" wrap="square" lIns="209891" tIns="209891" rIns="69961" bIns="34980" numCol="1" rtlCol="0" anchor="t" anchorCtr="0" compatLnSpc="1">
                <a:prstTxWarp prst="textNoShape">
                  <a:avLst/>
                </a:prstTxWarp>
              </a:bodyPr>
              <a:lstStyle/>
              <a:p>
                <a:pPr defTabSz="699404" fontAlgn="base">
                  <a:lnSpc>
                    <a:spcPct val="90000"/>
                  </a:lnSpc>
                  <a:spcBef>
                    <a:spcPct val="0"/>
                  </a:spcBef>
                  <a:spcAft>
                    <a:spcPct val="0"/>
                  </a:spcAft>
                </a:pPr>
                <a:endParaRPr lang="en-US" sz="3061" kern="0">
                  <a:gradFill>
                    <a:gsLst>
                      <a:gs pos="0">
                        <a:srgbClr val="FFFFFF"/>
                      </a:gs>
                      <a:gs pos="100000">
                        <a:srgbClr val="FFFFFF"/>
                      </a:gs>
                    </a:gsLst>
                    <a:lin ang="16200000" scaled="0"/>
                  </a:gradFill>
                  <a:latin typeface="Segoe UI Light"/>
                </a:endParaRPr>
              </a:p>
            </p:txBody>
          </p:sp>
          <p:sp>
            <p:nvSpPr>
              <p:cNvPr id="200" name="Freeform 34"/>
              <p:cNvSpPr>
                <a:spLocks noEditPoints="1"/>
              </p:cNvSpPr>
              <p:nvPr/>
            </p:nvSpPr>
            <p:spPr bwMode="auto">
              <a:xfrm>
                <a:off x="8938816" y="4557161"/>
                <a:ext cx="154970" cy="319640"/>
              </a:xfrm>
              <a:custGeom>
                <a:avLst/>
                <a:gdLst>
                  <a:gd name="T0" fmla="*/ 648 w 812"/>
                  <a:gd name="T1" fmla="*/ 917 h 1674"/>
                  <a:gd name="T2" fmla="*/ 648 w 812"/>
                  <a:gd name="T3" fmla="*/ 1034 h 1674"/>
                  <a:gd name="T4" fmla="*/ 596 w 812"/>
                  <a:gd name="T5" fmla="*/ 1038 h 1674"/>
                  <a:gd name="T6" fmla="*/ 366 w 812"/>
                  <a:gd name="T7" fmla="*/ 1038 h 1674"/>
                  <a:gd name="T8" fmla="*/ 163 w 812"/>
                  <a:gd name="T9" fmla="*/ 1038 h 1674"/>
                  <a:gd name="T10" fmla="*/ 159 w 812"/>
                  <a:gd name="T11" fmla="*/ 917 h 1674"/>
                  <a:gd name="T12" fmla="*/ 215 w 812"/>
                  <a:gd name="T13" fmla="*/ 908 h 1674"/>
                  <a:gd name="T14" fmla="*/ 439 w 812"/>
                  <a:gd name="T15" fmla="*/ 908 h 1674"/>
                  <a:gd name="T16" fmla="*/ 640 w 812"/>
                  <a:gd name="T17" fmla="*/ 908 h 1674"/>
                  <a:gd name="T18" fmla="*/ 575 w 812"/>
                  <a:gd name="T19" fmla="*/ 695 h 1674"/>
                  <a:gd name="T20" fmla="*/ 318 w 812"/>
                  <a:gd name="T21" fmla="*/ 695 h 1674"/>
                  <a:gd name="T22" fmla="*/ 163 w 812"/>
                  <a:gd name="T23" fmla="*/ 695 h 1674"/>
                  <a:gd name="T24" fmla="*/ 159 w 812"/>
                  <a:gd name="T25" fmla="*/ 816 h 1674"/>
                  <a:gd name="T26" fmla="*/ 230 w 812"/>
                  <a:gd name="T27" fmla="*/ 825 h 1674"/>
                  <a:gd name="T28" fmla="*/ 487 w 812"/>
                  <a:gd name="T29" fmla="*/ 825 h 1674"/>
                  <a:gd name="T30" fmla="*/ 640 w 812"/>
                  <a:gd name="T31" fmla="*/ 825 h 1674"/>
                  <a:gd name="T32" fmla="*/ 648 w 812"/>
                  <a:gd name="T33" fmla="*/ 816 h 1674"/>
                  <a:gd name="T34" fmla="*/ 640 w 812"/>
                  <a:gd name="T35" fmla="*/ 695 h 1674"/>
                  <a:gd name="T36" fmla="*/ 575 w 812"/>
                  <a:gd name="T37" fmla="*/ 486 h 1674"/>
                  <a:gd name="T38" fmla="*/ 318 w 812"/>
                  <a:gd name="T39" fmla="*/ 486 h 1674"/>
                  <a:gd name="T40" fmla="*/ 163 w 812"/>
                  <a:gd name="T41" fmla="*/ 486 h 1674"/>
                  <a:gd name="T42" fmla="*/ 159 w 812"/>
                  <a:gd name="T43" fmla="*/ 607 h 1674"/>
                  <a:gd name="T44" fmla="*/ 230 w 812"/>
                  <a:gd name="T45" fmla="*/ 615 h 1674"/>
                  <a:gd name="T46" fmla="*/ 487 w 812"/>
                  <a:gd name="T47" fmla="*/ 615 h 1674"/>
                  <a:gd name="T48" fmla="*/ 640 w 812"/>
                  <a:gd name="T49" fmla="*/ 615 h 1674"/>
                  <a:gd name="T50" fmla="*/ 648 w 812"/>
                  <a:gd name="T51" fmla="*/ 607 h 1674"/>
                  <a:gd name="T52" fmla="*/ 640 w 812"/>
                  <a:gd name="T53" fmla="*/ 486 h 1674"/>
                  <a:gd name="T54" fmla="*/ 575 w 812"/>
                  <a:gd name="T55" fmla="*/ 276 h 1674"/>
                  <a:gd name="T56" fmla="*/ 318 w 812"/>
                  <a:gd name="T57" fmla="*/ 276 h 1674"/>
                  <a:gd name="T58" fmla="*/ 163 w 812"/>
                  <a:gd name="T59" fmla="*/ 276 h 1674"/>
                  <a:gd name="T60" fmla="*/ 159 w 812"/>
                  <a:gd name="T61" fmla="*/ 392 h 1674"/>
                  <a:gd name="T62" fmla="*/ 230 w 812"/>
                  <a:gd name="T63" fmla="*/ 398 h 1674"/>
                  <a:gd name="T64" fmla="*/ 487 w 812"/>
                  <a:gd name="T65" fmla="*/ 398 h 1674"/>
                  <a:gd name="T66" fmla="*/ 640 w 812"/>
                  <a:gd name="T67" fmla="*/ 398 h 1674"/>
                  <a:gd name="T68" fmla="*/ 648 w 812"/>
                  <a:gd name="T69" fmla="*/ 392 h 1674"/>
                  <a:gd name="T70" fmla="*/ 640 w 812"/>
                  <a:gd name="T71" fmla="*/ 276 h 1674"/>
                  <a:gd name="T72" fmla="*/ 812 w 812"/>
                  <a:gd name="T73" fmla="*/ 169 h 1674"/>
                  <a:gd name="T74" fmla="*/ 755 w 812"/>
                  <a:gd name="T75" fmla="*/ 1674 h 1674"/>
                  <a:gd name="T76" fmla="*/ 0 w 812"/>
                  <a:gd name="T77" fmla="*/ 1618 h 1674"/>
                  <a:gd name="T78" fmla="*/ 46 w 812"/>
                  <a:gd name="T79" fmla="*/ 79 h 1674"/>
                  <a:gd name="T80" fmla="*/ 215 w 812"/>
                  <a:gd name="T81" fmla="*/ 0 h 1674"/>
                  <a:gd name="T82" fmla="*/ 699 w 812"/>
                  <a:gd name="T83" fmla="*/ 34 h 1674"/>
                  <a:gd name="T84" fmla="*/ 745 w 812"/>
                  <a:gd name="T85" fmla="*/ 1576 h 1674"/>
                  <a:gd name="T86" fmla="*/ 62 w 812"/>
                  <a:gd name="T87" fmla="*/ 1524 h 1674"/>
                  <a:gd name="T88" fmla="*/ 745 w 812"/>
                  <a:gd name="T89" fmla="*/ 1576 h 1674"/>
                  <a:gd name="T90" fmla="*/ 115 w 812"/>
                  <a:gd name="T91" fmla="*/ 1460 h 1674"/>
                  <a:gd name="T92" fmla="*/ 115 w 812"/>
                  <a:gd name="T93" fmla="*/ 1360 h 1674"/>
                  <a:gd name="T94" fmla="*/ 251 w 812"/>
                  <a:gd name="T95" fmla="*/ 1410 h 1674"/>
                  <a:gd name="T96" fmla="*/ 351 w 812"/>
                  <a:gd name="T97" fmla="*/ 1410 h 1674"/>
                  <a:gd name="T98" fmla="*/ 251 w 812"/>
                  <a:gd name="T99" fmla="*/ 1410 h 1674"/>
                  <a:gd name="T100" fmla="*/ 745 w 812"/>
                  <a:gd name="T101" fmla="*/ 1226 h 1674"/>
                  <a:gd name="T102" fmla="*/ 62 w 812"/>
                  <a:gd name="T103" fmla="*/ 1282 h 1674"/>
                  <a:gd name="T104" fmla="*/ 745 w 812"/>
                  <a:gd name="T105" fmla="*/ 1080 h 1674"/>
                  <a:gd name="T106" fmla="*/ 745 w 812"/>
                  <a:gd name="T107" fmla="*/ 236 h 1674"/>
                  <a:gd name="T108" fmla="*/ 119 w 812"/>
                  <a:gd name="T109" fmla="*/ 179 h 1674"/>
                  <a:gd name="T110" fmla="*/ 62 w 812"/>
                  <a:gd name="T111" fmla="*/ 1080 h 1674"/>
                  <a:gd name="T112" fmla="*/ 106 w 812"/>
                  <a:gd name="T113" fmla="*/ 1137 h 1674"/>
                  <a:gd name="T114" fmla="*/ 452 w 812"/>
                  <a:gd name="T115" fmla="*/ 1137 h 1674"/>
                  <a:gd name="T116" fmla="*/ 692 w 812"/>
                  <a:gd name="T117" fmla="*/ 1137 h 1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12" h="1674">
                    <a:moveTo>
                      <a:pt x="640" y="908"/>
                    </a:moveTo>
                    <a:cubicBezTo>
                      <a:pt x="644" y="908"/>
                      <a:pt x="648" y="913"/>
                      <a:pt x="648" y="917"/>
                    </a:cubicBezTo>
                    <a:cubicBezTo>
                      <a:pt x="648" y="954"/>
                      <a:pt x="648" y="994"/>
                      <a:pt x="648" y="1032"/>
                    </a:cubicBezTo>
                    <a:cubicBezTo>
                      <a:pt x="648" y="1032"/>
                      <a:pt x="648" y="1032"/>
                      <a:pt x="648" y="1034"/>
                    </a:cubicBezTo>
                    <a:cubicBezTo>
                      <a:pt x="644" y="1038"/>
                      <a:pt x="644" y="1038"/>
                      <a:pt x="640" y="1038"/>
                    </a:cubicBezTo>
                    <a:cubicBezTo>
                      <a:pt x="628" y="1038"/>
                      <a:pt x="609" y="1038"/>
                      <a:pt x="596" y="1038"/>
                    </a:cubicBezTo>
                    <a:cubicBezTo>
                      <a:pt x="535" y="1038"/>
                      <a:pt x="544" y="1038"/>
                      <a:pt x="487" y="1038"/>
                    </a:cubicBezTo>
                    <a:cubicBezTo>
                      <a:pt x="416" y="1038"/>
                      <a:pt x="439" y="1038"/>
                      <a:pt x="366" y="1038"/>
                    </a:cubicBezTo>
                    <a:cubicBezTo>
                      <a:pt x="307" y="1038"/>
                      <a:pt x="291" y="1038"/>
                      <a:pt x="230" y="1038"/>
                    </a:cubicBezTo>
                    <a:cubicBezTo>
                      <a:pt x="203" y="1038"/>
                      <a:pt x="190" y="1038"/>
                      <a:pt x="163" y="1038"/>
                    </a:cubicBezTo>
                    <a:cubicBezTo>
                      <a:pt x="159" y="1038"/>
                      <a:pt x="159" y="1032"/>
                      <a:pt x="159" y="1032"/>
                    </a:cubicBezTo>
                    <a:cubicBezTo>
                      <a:pt x="159" y="994"/>
                      <a:pt x="159" y="954"/>
                      <a:pt x="159" y="917"/>
                    </a:cubicBezTo>
                    <a:cubicBezTo>
                      <a:pt x="159" y="913"/>
                      <a:pt x="159" y="908"/>
                      <a:pt x="163" y="908"/>
                    </a:cubicBezTo>
                    <a:cubicBezTo>
                      <a:pt x="184" y="908"/>
                      <a:pt x="194" y="908"/>
                      <a:pt x="215" y="908"/>
                    </a:cubicBezTo>
                    <a:cubicBezTo>
                      <a:pt x="268" y="908"/>
                      <a:pt x="263" y="908"/>
                      <a:pt x="318" y="908"/>
                    </a:cubicBezTo>
                    <a:cubicBezTo>
                      <a:pt x="391" y="908"/>
                      <a:pt x="368" y="908"/>
                      <a:pt x="439" y="908"/>
                    </a:cubicBezTo>
                    <a:cubicBezTo>
                      <a:pt x="500" y="908"/>
                      <a:pt x="517" y="908"/>
                      <a:pt x="575" y="908"/>
                    </a:cubicBezTo>
                    <a:cubicBezTo>
                      <a:pt x="605" y="908"/>
                      <a:pt x="615" y="908"/>
                      <a:pt x="640" y="908"/>
                    </a:cubicBezTo>
                    <a:close/>
                    <a:moveTo>
                      <a:pt x="640" y="695"/>
                    </a:moveTo>
                    <a:cubicBezTo>
                      <a:pt x="615" y="695"/>
                      <a:pt x="605" y="695"/>
                      <a:pt x="575" y="695"/>
                    </a:cubicBezTo>
                    <a:cubicBezTo>
                      <a:pt x="517" y="695"/>
                      <a:pt x="500" y="695"/>
                      <a:pt x="439" y="695"/>
                    </a:cubicBezTo>
                    <a:cubicBezTo>
                      <a:pt x="368" y="695"/>
                      <a:pt x="391" y="695"/>
                      <a:pt x="318" y="695"/>
                    </a:cubicBezTo>
                    <a:cubicBezTo>
                      <a:pt x="263" y="695"/>
                      <a:pt x="268" y="695"/>
                      <a:pt x="215" y="695"/>
                    </a:cubicBezTo>
                    <a:cubicBezTo>
                      <a:pt x="194" y="695"/>
                      <a:pt x="184" y="695"/>
                      <a:pt x="163" y="695"/>
                    </a:cubicBezTo>
                    <a:cubicBezTo>
                      <a:pt x="159" y="695"/>
                      <a:pt x="159" y="699"/>
                      <a:pt x="159" y="703"/>
                    </a:cubicBezTo>
                    <a:cubicBezTo>
                      <a:pt x="159" y="739"/>
                      <a:pt x="159" y="781"/>
                      <a:pt x="159" y="816"/>
                    </a:cubicBezTo>
                    <a:cubicBezTo>
                      <a:pt x="159" y="821"/>
                      <a:pt x="159" y="825"/>
                      <a:pt x="163" y="825"/>
                    </a:cubicBezTo>
                    <a:cubicBezTo>
                      <a:pt x="190" y="825"/>
                      <a:pt x="203" y="825"/>
                      <a:pt x="230" y="825"/>
                    </a:cubicBezTo>
                    <a:cubicBezTo>
                      <a:pt x="291" y="825"/>
                      <a:pt x="307" y="825"/>
                      <a:pt x="366" y="825"/>
                    </a:cubicBezTo>
                    <a:cubicBezTo>
                      <a:pt x="439" y="825"/>
                      <a:pt x="416" y="825"/>
                      <a:pt x="487" y="825"/>
                    </a:cubicBezTo>
                    <a:cubicBezTo>
                      <a:pt x="544" y="825"/>
                      <a:pt x="535" y="825"/>
                      <a:pt x="596" y="825"/>
                    </a:cubicBezTo>
                    <a:cubicBezTo>
                      <a:pt x="609" y="825"/>
                      <a:pt x="628" y="825"/>
                      <a:pt x="640" y="825"/>
                    </a:cubicBezTo>
                    <a:cubicBezTo>
                      <a:pt x="644" y="825"/>
                      <a:pt x="644" y="825"/>
                      <a:pt x="648" y="825"/>
                    </a:cubicBezTo>
                    <a:cubicBezTo>
                      <a:pt x="648" y="821"/>
                      <a:pt x="648" y="821"/>
                      <a:pt x="648" y="816"/>
                    </a:cubicBezTo>
                    <a:cubicBezTo>
                      <a:pt x="648" y="781"/>
                      <a:pt x="648" y="739"/>
                      <a:pt x="648" y="703"/>
                    </a:cubicBezTo>
                    <a:cubicBezTo>
                      <a:pt x="648" y="699"/>
                      <a:pt x="644" y="695"/>
                      <a:pt x="640" y="695"/>
                    </a:cubicBezTo>
                    <a:close/>
                    <a:moveTo>
                      <a:pt x="640" y="486"/>
                    </a:moveTo>
                    <a:cubicBezTo>
                      <a:pt x="615" y="486"/>
                      <a:pt x="605" y="486"/>
                      <a:pt x="575" y="486"/>
                    </a:cubicBezTo>
                    <a:cubicBezTo>
                      <a:pt x="517" y="486"/>
                      <a:pt x="500" y="486"/>
                      <a:pt x="439" y="486"/>
                    </a:cubicBezTo>
                    <a:cubicBezTo>
                      <a:pt x="368" y="486"/>
                      <a:pt x="391" y="486"/>
                      <a:pt x="318" y="486"/>
                    </a:cubicBezTo>
                    <a:cubicBezTo>
                      <a:pt x="263" y="486"/>
                      <a:pt x="268" y="486"/>
                      <a:pt x="215" y="486"/>
                    </a:cubicBezTo>
                    <a:cubicBezTo>
                      <a:pt x="194" y="486"/>
                      <a:pt x="184" y="486"/>
                      <a:pt x="163" y="486"/>
                    </a:cubicBezTo>
                    <a:cubicBezTo>
                      <a:pt x="159" y="486"/>
                      <a:pt x="159" y="490"/>
                      <a:pt x="159" y="494"/>
                    </a:cubicBezTo>
                    <a:cubicBezTo>
                      <a:pt x="159" y="530"/>
                      <a:pt x="159" y="569"/>
                      <a:pt x="159" y="607"/>
                    </a:cubicBezTo>
                    <a:cubicBezTo>
                      <a:pt x="159" y="611"/>
                      <a:pt x="159" y="615"/>
                      <a:pt x="163" y="615"/>
                    </a:cubicBezTo>
                    <a:cubicBezTo>
                      <a:pt x="190" y="615"/>
                      <a:pt x="203" y="615"/>
                      <a:pt x="230" y="615"/>
                    </a:cubicBezTo>
                    <a:cubicBezTo>
                      <a:pt x="291" y="615"/>
                      <a:pt x="307" y="615"/>
                      <a:pt x="366" y="615"/>
                    </a:cubicBezTo>
                    <a:cubicBezTo>
                      <a:pt x="439" y="615"/>
                      <a:pt x="416" y="615"/>
                      <a:pt x="487" y="615"/>
                    </a:cubicBezTo>
                    <a:cubicBezTo>
                      <a:pt x="544" y="615"/>
                      <a:pt x="535" y="615"/>
                      <a:pt x="596" y="615"/>
                    </a:cubicBezTo>
                    <a:cubicBezTo>
                      <a:pt x="609" y="615"/>
                      <a:pt x="628" y="615"/>
                      <a:pt x="640" y="615"/>
                    </a:cubicBezTo>
                    <a:cubicBezTo>
                      <a:pt x="644" y="615"/>
                      <a:pt x="644" y="615"/>
                      <a:pt x="648" y="611"/>
                    </a:cubicBezTo>
                    <a:cubicBezTo>
                      <a:pt x="648" y="611"/>
                      <a:pt x="648" y="611"/>
                      <a:pt x="648" y="607"/>
                    </a:cubicBezTo>
                    <a:cubicBezTo>
                      <a:pt x="648" y="569"/>
                      <a:pt x="648" y="530"/>
                      <a:pt x="648" y="494"/>
                    </a:cubicBezTo>
                    <a:cubicBezTo>
                      <a:pt x="648" y="490"/>
                      <a:pt x="644" y="486"/>
                      <a:pt x="640" y="486"/>
                    </a:cubicBezTo>
                    <a:close/>
                    <a:moveTo>
                      <a:pt x="640" y="276"/>
                    </a:moveTo>
                    <a:cubicBezTo>
                      <a:pt x="615" y="276"/>
                      <a:pt x="605" y="276"/>
                      <a:pt x="575" y="276"/>
                    </a:cubicBezTo>
                    <a:cubicBezTo>
                      <a:pt x="517" y="276"/>
                      <a:pt x="500" y="276"/>
                      <a:pt x="439" y="276"/>
                    </a:cubicBezTo>
                    <a:cubicBezTo>
                      <a:pt x="368" y="276"/>
                      <a:pt x="391" y="276"/>
                      <a:pt x="318" y="276"/>
                    </a:cubicBezTo>
                    <a:cubicBezTo>
                      <a:pt x="263" y="276"/>
                      <a:pt x="268" y="276"/>
                      <a:pt x="215" y="276"/>
                    </a:cubicBezTo>
                    <a:cubicBezTo>
                      <a:pt x="194" y="276"/>
                      <a:pt x="184" y="276"/>
                      <a:pt x="163" y="276"/>
                    </a:cubicBezTo>
                    <a:cubicBezTo>
                      <a:pt x="159" y="276"/>
                      <a:pt x="159" y="280"/>
                      <a:pt x="159" y="285"/>
                    </a:cubicBezTo>
                    <a:cubicBezTo>
                      <a:pt x="159" y="319"/>
                      <a:pt x="159" y="357"/>
                      <a:pt x="159" y="392"/>
                    </a:cubicBezTo>
                    <a:cubicBezTo>
                      <a:pt x="159" y="394"/>
                      <a:pt x="159" y="398"/>
                      <a:pt x="163" y="398"/>
                    </a:cubicBezTo>
                    <a:cubicBezTo>
                      <a:pt x="190" y="398"/>
                      <a:pt x="203" y="398"/>
                      <a:pt x="230" y="398"/>
                    </a:cubicBezTo>
                    <a:cubicBezTo>
                      <a:pt x="291" y="398"/>
                      <a:pt x="307" y="398"/>
                      <a:pt x="366" y="398"/>
                    </a:cubicBezTo>
                    <a:cubicBezTo>
                      <a:pt x="439" y="398"/>
                      <a:pt x="416" y="398"/>
                      <a:pt x="487" y="398"/>
                    </a:cubicBezTo>
                    <a:cubicBezTo>
                      <a:pt x="544" y="398"/>
                      <a:pt x="535" y="398"/>
                      <a:pt x="596" y="398"/>
                    </a:cubicBezTo>
                    <a:cubicBezTo>
                      <a:pt x="609" y="398"/>
                      <a:pt x="628" y="398"/>
                      <a:pt x="640" y="398"/>
                    </a:cubicBezTo>
                    <a:cubicBezTo>
                      <a:pt x="644" y="398"/>
                      <a:pt x="644" y="398"/>
                      <a:pt x="648" y="394"/>
                    </a:cubicBezTo>
                    <a:cubicBezTo>
                      <a:pt x="648" y="394"/>
                      <a:pt x="648" y="394"/>
                      <a:pt x="648" y="392"/>
                    </a:cubicBezTo>
                    <a:cubicBezTo>
                      <a:pt x="648" y="357"/>
                      <a:pt x="648" y="319"/>
                      <a:pt x="648" y="285"/>
                    </a:cubicBezTo>
                    <a:cubicBezTo>
                      <a:pt x="648" y="280"/>
                      <a:pt x="644" y="276"/>
                      <a:pt x="640" y="276"/>
                    </a:cubicBezTo>
                    <a:close/>
                    <a:moveTo>
                      <a:pt x="766" y="79"/>
                    </a:moveTo>
                    <a:cubicBezTo>
                      <a:pt x="791" y="98"/>
                      <a:pt x="812" y="138"/>
                      <a:pt x="812" y="169"/>
                    </a:cubicBezTo>
                    <a:cubicBezTo>
                      <a:pt x="812" y="169"/>
                      <a:pt x="812" y="169"/>
                      <a:pt x="812" y="1618"/>
                    </a:cubicBezTo>
                    <a:cubicBezTo>
                      <a:pt x="812" y="1649"/>
                      <a:pt x="787" y="1674"/>
                      <a:pt x="755" y="1674"/>
                    </a:cubicBezTo>
                    <a:cubicBezTo>
                      <a:pt x="755" y="1674"/>
                      <a:pt x="755" y="1674"/>
                      <a:pt x="56" y="1674"/>
                    </a:cubicBezTo>
                    <a:cubicBezTo>
                      <a:pt x="25" y="1674"/>
                      <a:pt x="0" y="1649"/>
                      <a:pt x="0" y="1618"/>
                    </a:cubicBezTo>
                    <a:cubicBezTo>
                      <a:pt x="0" y="1618"/>
                      <a:pt x="0" y="1618"/>
                      <a:pt x="0" y="169"/>
                    </a:cubicBezTo>
                    <a:cubicBezTo>
                      <a:pt x="0" y="138"/>
                      <a:pt x="21" y="98"/>
                      <a:pt x="46" y="79"/>
                    </a:cubicBezTo>
                    <a:cubicBezTo>
                      <a:pt x="46" y="79"/>
                      <a:pt x="46" y="79"/>
                      <a:pt x="113" y="34"/>
                    </a:cubicBezTo>
                    <a:cubicBezTo>
                      <a:pt x="138" y="15"/>
                      <a:pt x="184" y="0"/>
                      <a:pt x="215" y="0"/>
                    </a:cubicBezTo>
                    <a:cubicBezTo>
                      <a:pt x="215" y="0"/>
                      <a:pt x="215" y="0"/>
                      <a:pt x="596" y="0"/>
                    </a:cubicBezTo>
                    <a:cubicBezTo>
                      <a:pt x="628" y="0"/>
                      <a:pt x="674" y="15"/>
                      <a:pt x="699" y="34"/>
                    </a:cubicBezTo>
                    <a:cubicBezTo>
                      <a:pt x="699" y="34"/>
                      <a:pt x="699" y="34"/>
                      <a:pt x="766" y="79"/>
                    </a:cubicBezTo>
                    <a:close/>
                    <a:moveTo>
                      <a:pt x="745" y="1576"/>
                    </a:moveTo>
                    <a:cubicBezTo>
                      <a:pt x="745" y="1576"/>
                      <a:pt x="745" y="1576"/>
                      <a:pt x="745" y="1524"/>
                    </a:cubicBezTo>
                    <a:cubicBezTo>
                      <a:pt x="724" y="1524"/>
                      <a:pt x="611" y="1524"/>
                      <a:pt x="62" y="1524"/>
                    </a:cubicBezTo>
                    <a:cubicBezTo>
                      <a:pt x="62" y="1524"/>
                      <a:pt x="62" y="1524"/>
                      <a:pt x="62" y="1576"/>
                    </a:cubicBezTo>
                    <a:cubicBezTo>
                      <a:pt x="83" y="1576"/>
                      <a:pt x="196" y="1576"/>
                      <a:pt x="745" y="1576"/>
                    </a:cubicBezTo>
                    <a:close/>
                    <a:moveTo>
                      <a:pt x="65" y="1410"/>
                    </a:moveTo>
                    <a:cubicBezTo>
                      <a:pt x="65" y="1437"/>
                      <a:pt x="88" y="1460"/>
                      <a:pt x="115" y="1460"/>
                    </a:cubicBezTo>
                    <a:cubicBezTo>
                      <a:pt x="142" y="1460"/>
                      <a:pt x="165" y="1437"/>
                      <a:pt x="165" y="1410"/>
                    </a:cubicBezTo>
                    <a:cubicBezTo>
                      <a:pt x="165" y="1383"/>
                      <a:pt x="142" y="1360"/>
                      <a:pt x="115" y="1360"/>
                    </a:cubicBezTo>
                    <a:cubicBezTo>
                      <a:pt x="88" y="1360"/>
                      <a:pt x="65" y="1383"/>
                      <a:pt x="65" y="1410"/>
                    </a:cubicBezTo>
                    <a:close/>
                    <a:moveTo>
                      <a:pt x="251" y="1410"/>
                    </a:moveTo>
                    <a:cubicBezTo>
                      <a:pt x="251" y="1437"/>
                      <a:pt x="272" y="1460"/>
                      <a:pt x="301" y="1460"/>
                    </a:cubicBezTo>
                    <a:cubicBezTo>
                      <a:pt x="328" y="1460"/>
                      <a:pt x="351" y="1437"/>
                      <a:pt x="351" y="1410"/>
                    </a:cubicBezTo>
                    <a:cubicBezTo>
                      <a:pt x="351" y="1383"/>
                      <a:pt x="328" y="1360"/>
                      <a:pt x="301" y="1360"/>
                    </a:cubicBezTo>
                    <a:cubicBezTo>
                      <a:pt x="272" y="1360"/>
                      <a:pt x="251" y="1383"/>
                      <a:pt x="251" y="1410"/>
                    </a:cubicBezTo>
                    <a:close/>
                    <a:moveTo>
                      <a:pt x="745" y="1282"/>
                    </a:moveTo>
                    <a:cubicBezTo>
                      <a:pt x="745" y="1282"/>
                      <a:pt x="745" y="1282"/>
                      <a:pt x="745" y="1226"/>
                    </a:cubicBezTo>
                    <a:cubicBezTo>
                      <a:pt x="724" y="1226"/>
                      <a:pt x="611" y="1226"/>
                      <a:pt x="62" y="1226"/>
                    </a:cubicBezTo>
                    <a:cubicBezTo>
                      <a:pt x="62" y="1226"/>
                      <a:pt x="62" y="1226"/>
                      <a:pt x="62" y="1282"/>
                    </a:cubicBezTo>
                    <a:cubicBezTo>
                      <a:pt x="83" y="1282"/>
                      <a:pt x="196" y="1282"/>
                      <a:pt x="745" y="1282"/>
                    </a:cubicBezTo>
                    <a:close/>
                    <a:moveTo>
                      <a:pt x="745" y="1080"/>
                    </a:moveTo>
                    <a:cubicBezTo>
                      <a:pt x="745" y="1080"/>
                      <a:pt x="745" y="1080"/>
                      <a:pt x="745" y="1080"/>
                    </a:cubicBezTo>
                    <a:cubicBezTo>
                      <a:pt x="745" y="236"/>
                      <a:pt x="745" y="236"/>
                      <a:pt x="745" y="236"/>
                    </a:cubicBezTo>
                    <a:cubicBezTo>
                      <a:pt x="745" y="205"/>
                      <a:pt x="720" y="179"/>
                      <a:pt x="688" y="179"/>
                    </a:cubicBezTo>
                    <a:cubicBezTo>
                      <a:pt x="688" y="179"/>
                      <a:pt x="688" y="179"/>
                      <a:pt x="119" y="179"/>
                    </a:cubicBezTo>
                    <a:cubicBezTo>
                      <a:pt x="88" y="179"/>
                      <a:pt x="62" y="205"/>
                      <a:pt x="62" y="236"/>
                    </a:cubicBezTo>
                    <a:cubicBezTo>
                      <a:pt x="62" y="236"/>
                      <a:pt x="62" y="236"/>
                      <a:pt x="62" y="1080"/>
                    </a:cubicBezTo>
                    <a:cubicBezTo>
                      <a:pt x="62" y="1111"/>
                      <a:pt x="77" y="1137"/>
                      <a:pt x="96" y="1137"/>
                    </a:cubicBezTo>
                    <a:cubicBezTo>
                      <a:pt x="96" y="1137"/>
                      <a:pt x="96" y="1137"/>
                      <a:pt x="106" y="1137"/>
                    </a:cubicBezTo>
                    <a:cubicBezTo>
                      <a:pt x="171" y="1137"/>
                      <a:pt x="234" y="1137"/>
                      <a:pt x="299" y="1137"/>
                    </a:cubicBezTo>
                    <a:cubicBezTo>
                      <a:pt x="383" y="1137"/>
                      <a:pt x="372" y="1137"/>
                      <a:pt x="452" y="1137"/>
                    </a:cubicBezTo>
                    <a:cubicBezTo>
                      <a:pt x="525" y="1137"/>
                      <a:pt x="596" y="1137"/>
                      <a:pt x="665" y="1137"/>
                    </a:cubicBezTo>
                    <a:cubicBezTo>
                      <a:pt x="692" y="1137"/>
                      <a:pt x="692" y="1137"/>
                      <a:pt x="692" y="1137"/>
                    </a:cubicBezTo>
                    <a:cubicBezTo>
                      <a:pt x="722" y="1137"/>
                      <a:pt x="745" y="1111"/>
                      <a:pt x="745" y="1080"/>
                    </a:cubicBezTo>
                    <a:close/>
                  </a:path>
                </a:pathLst>
              </a:custGeom>
              <a:solidFill>
                <a:schemeClr val="accent2"/>
              </a:solidFill>
              <a:ln w="25400" cap="flat" cmpd="sng" algn="ctr">
                <a:noFill/>
                <a:prstDash val="solid"/>
                <a:headEnd type="none" w="med" len="med"/>
                <a:tailEnd type="none" w="med" len="med"/>
              </a:ln>
              <a:effectLst/>
              <a:extLst/>
            </p:spPr>
            <p:txBody>
              <a:bodyPr vert="horz" wrap="square" lIns="209891" tIns="209891" rIns="69961" bIns="34980" numCol="1" rtlCol="0" anchor="t" anchorCtr="0" compatLnSpc="1">
                <a:prstTxWarp prst="textNoShape">
                  <a:avLst/>
                </a:prstTxWarp>
              </a:bodyPr>
              <a:lstStyle/>
              <a:p>
                <a:pPr defTabSz="699404" fontAlgn="base">
                  <a:lnSpc>
                    <a:spcPct val="90000"/>
                  </a:lnSpc>
                  <a:spcBef>
                    <a:spcPct val="0"/>
                  </a:spcBef>
                  <a:spcAft>
                    <a:spcPct val="0"/>
                  </a:spcAft>
                </a:pPr>
                <a:endParaRPr lang="en-US" sz="3061" kern="0">
                  <a:gradFill>
                    <a:gsLst>
                      <a:gs pos="0">
                        <a:srgbClr val="FFFFFF"/>
                      </a:gs>
                      <a:gs pos="100000">
                        <a:srgbClr val="FFFFFF"/>
                      </a:gs>
                    </a:gsLst>
                    <a:lin ang="16200000" scaled="0"/>
                  </a:gradFill>
                  <a:latin typeface="Segoe UI Light"/>
                </a:endParaRPr>
              </a:p>
            </p:txBody>
          </p:sp>
          <p:sp>
            <p:nvSpPr>
              <p:cNvPr id="201" name="Rectangle 200"/>
              <p:cNvSpPr/>
              <p:nvPr/>
            </p:nvSpPr>
            <p:spPr>
              <a:xfrm>
                <a:off x="7995374" y="4660888"/>
                <a:ext cx="528846" cy="239616"/>
              </a:xfrm>
              <a:prstGeom prst="rect">
                <a:avLst/>
              </a:prstGeom>
            </p:spPr>
            <p:txBody>
              <a:bodyPr wrap="none">
                <a:spAutoFit/>
              </a:bodyPr>
              <a:lstStyle/>
              <a:p>
                <a:pPr defTabSz="699404" fontAlgn="base">
                  <a:lnSpc>
                    <a:spcPct val="90000"/>
                  </a:lnSpc>
                  <a:spcBef>
                    <a:spcPct val="0"/>
                  </a:spcBef>
                  <a:spcAft>
                    <a:spcPct val="0"/>
                  </a:spcAft>
                </a:pPr>
                <a:r>
                  <a:rPr lang="en-US" sz="1224" kern="0" dirty="0" err="1">
                    <a:ln>
                      <a:solidFill>
                        <a:srgbClr val="FFFFFF">
                          <a:alpha val="0"/>
                        </a:srgbClr>
                      </a:solidFill>
                    </a:ln>
                    <a:solidFill>
                      <a:srgbClr val="64BE00"/>
                    </a:solidFill>
                  </a:rPr>
                  <a:t>IaaS</a:t>
                </a:r>
                <a:endParaRPr lang="en-US" sz="1224" kern="0" dirty="0">
                  <a:ln>
                    <a:solidFill>
                      <a:srgbClr val="FFFFFF">
                        <a:alpha val="0"/>
                      </a:srgbClr>
                    </a:solidFill>
                  </a:ln>
                  <a:solidFill>
                    <a:srgbClr val="64BE00"/>
                  </a:solidFill>
                </a:endParaRPr>
              </a:p>
            </p:txBody>
          </p:sp>
        </p:grpSp>
        <p:grpSp>
          <p:nvGrpSpPr>
            <p:cNvPr id="202" name="Group 201"/>
            <p:cNvGrpSpPr/>
            <p:nvPr/>
          </p:nvGrpSpPr>
          <p:grpSpPr>
            <a:xfrm>
              <a:off x="8965674" y="4040381"/>
              <a:ext cx="1026374" cy="592254"/>
              <a:chOff x="9899358" y="4232255"/>
              <a:chExt cx="1408722" cy="812882"/>
            </a:xfrm>
          </p:grpSpPr>
          <p:sp>
            <p:nvSpPr>
              <p:cNvPr id="203" name="Freeform 6"/>
              <p:cNvSpPr>
                <a:spLocks/>
              </p:cNvSpPr>
              <p:nvPr/>
            </p:nvSpPr>
            <p:spPr bwMode="auto">
              <a:xfrm>
                <a:off x="9899358" y="4232255"/>
                <a:ext cx="1408722" cy="812882"/>
              </a:xfrm>
              <a:custGeom>
                <a:avLst/>
                <a:gdLst>
                  <a:gd name="T0" fmla="*/ 674 w 874"/>
                  <a:gd name="T1" fmla="*/ 86 h 504"/>
                  <a:gd name="T2" fmla="*/ 646 w 874"/>
                  <a:gd name="T3" fmla="*/ 87 h 504"/>
                  <a:gd name="T4" fmla="*/ 460 w 874"/>
                  <a:gd name="T5" fmla="*/ 262 h 504"/>
                  <a:gd name="T6" fmla="*/ 537 w 874"/>
                  <a:gd name="T7" fmla="*/ 66 h 504"/>
                  <a:gd name="T8" fmla="*/ 378 w 874"/>
                  <a:gd name="T9" fmla="*/ 0 h 504"/>
                  <a:gd name="T10" fmla="*/ 151 w 874"/>
                  <a:gd name="T11" fmla="*/ 216 h 504"/>
                  <a:gd name="T12" fmla="*/ 144 w 874"/>
                  <a:gd name="T13" fmla="*/ 216 h 504"/>
                  <a:gd name="T14" fmla="*/ 0 w 874"/>
                  <a:gd name="T15" fmla="*/ 360 h 504"/>
                  <a:gd name="T16" fmla="*/ 144 w 874"/>
                  <a:gd name="T17" fmla="*/ 504 h 504"/>
                  <a:gd name="T18" fmla="*/ 665 w 874"/>
                  <a:gd name="T19" fmla="*/ 504 h 504"/>
                  <a:gd name="T20" fmla="*/ 665 w 874"/>
                  <a:gd name="T21" fmla="*/ 503 h 504"/>
                  <a:gd name="T22" fmla="*/ 665 w 874"/>
                  <a:gd name="T23" fmla="*/ 503 h 504"/>
                  <a:gd name="T24" fmla="*/ 874 w 874"/>
                  <a:gd name="T25" fmla="*/ 295 h 504"/>
                  <a:gd name="T26" fmla="*/ 674 w 874"/>
                  <a:gd name="T27" fmla="*/ 86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4" h="504">
                    <a:moveTo>
                      <a:pt x="674" y="86"/>
                    </a:moveTo>
                    <a:cubicBezTo>
                      <a:pt x="665" y="86"/>
                      <a:pt x="655" y="86"/>
                      <a:pt x="646" y="87"/>
                    </a:cubicBezTo>
                    <a:cubicBezTo>
                      <a:pt x="550" y="97"/>
                      <a:pt x="475" y="170"/>
                      <a:pt x="460" y="262"/>
                    </a:cubicBezTo>
                    <a:cubicBezTo>
                      <a:pt x="445" y="228"/>
                      <a:pt x="452" y="123"/>
                      <a:pt x="537" y="66"/>
                    </a:cubicBezTo>
                    <a:cubicBezTo>
                      <a:pt x="496" y="25"/>
                      <a:pt x="440" y="0"/>
                      <a:pt x="378" y="0"/>
                    </a:cubicBezTo>
                    <a:cubicBezTo>
                      <a:pt x="256" y="0"/>
                      <a:pt x="157" y="96"/>
                      <a:pt x="151" y="216"/>
                    </a:cubicBezTo>
                    <a:cubicBezTo>
                      <a:pt x="149" y="216"/>
                      <a:pt x="146" y="216"/>
                      <a:pt x="144" y="216"/>
                    </a:cubicBezTo>
                    <a:cubicBezTo>
                      <a:pt x="64" y="216"/>
                      <a:pt x="0" y="280"/>
                      <a:pt x="0" y="360"/>
                    </a:cubicBezTo>
                    <a:cubicBezTo>
                      <a:pt x="0" y="439"/>
                      <a:pt x="64" y="504"/>
                      <a:pt x="144" y="504"/>
                    </a:cubicBezTo>
                    <a:cubicBezTo>
                      <a:pt x="665" y="504"/>
                      <a:pt x="665" y="504"/>
                      <a:pt x="665" y="504"/>
                    </a:cubicBezTo>
                    <a:cubicBezTo>
                      <a:pt x="665" y="503"/>
                      <a:pt x="665" y="503"/>
                      <a:pt x="665" y="503"/>
                    </a:cubicBezTo>
                    <a:cubicBezTo>
                      <a:pt x="665" y="503"/>
                      <a:pt x="665" y="503"/>
                      <a:pt x="665" y="503"/>
                    </a:cubicBezTo>
                    <a:cubicBezTo>
                      <a:pt x="781" y="503"/>
                      <a:pt x="874" y="410"/>
                      <a:pt x="874" y="295"/>
                    </a:cubicBezTo>
                    <a:cubicBezTo>
                      <a:pt x="874" y="182"/>
                      <a:pt x="785" y="91"/>
                      <a:pt x="674" y="86"/>
                    </a:cubicBezTo>
                    <a:close/>
                  </a:path>
                </a:pathLst>
              </a:custGeom>
              <a:solidFill>
                <a:srgbClr val="FFFFFF"/>
              </a:solidFill>
              <a:ln>
                <a:noFill/>
              </a:ln>
            </p:spPr>
            <p:txBody>
              <a:bodyPr vert="horz" wrap="square" lIns="69964" tIns="34982" rIns="69964" bIns="34982" numCol="1" anchor="t" anchorCtr="0" compatLnSpc="1">
                <a:prstTxWarp prst="textNoShape">
                  <a:avLst/>
                </a:prstTxWarp>
              </a:bodyPr>
              <a:lstStyle/>
              <a:p>
                <a:pPr defTabSz="699634">
                  <a:defRPr/>
                </a:pPr>
                <a:endParaRPr lang="en-US" sz="1836" kern="0">
                  <a:solidFill>
                    <a:srgbClr val="FFFFFF"/>
                  </a:solidFill>
                </a:endParaRPr>
              </a:p>
            </p:txBody>
          </p:sp>
          <p:sp>
            <p:nvSpPr>
              <p:cNvPr id="204" name="Freeform 7"/>
              <p:cNvSpPr>
                <a:spLocks noEditPoints="1"/>
              </p:cNvSpPr>
              <p:nvPr/>
            </p:nvSpPr>
            <p:spPr bwMode="auto">
              <a:xfrm rot="10800000" flipH="1">
                <a:off x="10730925" y="4469453"/>
                <a:ext cx="495054" cy="495055"/>
              </a:xfrm>
              <a:custGeom>
                <a:avLst/>
                <a:gdLst>
                  <a:gd name="T0" fmla="*/ 216 w 435"/>
                  <a:gd name="T1" fmla="*/ 0 h 436"/>
                  <a:gd name="T2" fmla="*/ 0 w 435"/>
                  <a:gd name="T3" fmla="*/ 220 h 436"/>
                  <a:gd name="T4" fmla="*/ 216 w 435"/>
                  <a:gd name="T5" fmla="*/ 436 h 436"/>
                  <a:gd name="T6" fmla="*/ 435 w 435"/>
                  <a:gd name="T7" fmla="*/ 220 h 436"/>
                  <a:gd name="T8" fmla="*/ 216 w 435"/>
                  <a:gd name="T9" fmla="*/ 0 h 436"/>
                  <a:gd name="T10" fmla="*/ 216 w 435"/>
                  <a:gd name="T11" fmla="*/ 410 h 436"/>
                  <a:gd name="T12" fmla="*/ 27 w 435"/>
                  <a:gd name="T13" fmla="*/ 220 h 436"/>
                  <a:gd name="T14" fmla="*/ 216 w 435"/>
                  <a:gd name="T15" fmla="*/ 27 h 436"/>
                  <a:gd name="T16" fmla="*/ 409 w 435"/>
                  <a:gd name="T17" fmla="*/ 220 h 436"/>
                  <a:gd name="T18" fmla="*/ 216 w 435"/>
                  <a:gd name="T19" fmla="*/ 41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5" h="436">
                    <a:moveTo>
                      <a:pt x="216" y="0"/>
                    </a:moveTo>
                    <a:cubicBezTo>
                      <a:pt x="97" y="0"/>
                      <a:pt x="0" y="97"/>
                      <a:pt x="0" y="220"/>
                    </a:cubicBezTo>
                    <a:cubicBezTo>
                      <a:pt x="0" y="340"/>
                      <a:pt x="97" y="436"/>
                      <a:pt x="216" y="436"/>
                    </a:cubicBezTo>
                    <a:cubicBezTo>
                      <a:pt x="339" y="436"/>
                      <a:pt x="435" y="340"/>
                      <a:pt x="435" y="220"/>
                    </a:cubicBezTo>
                    <a:cubicBezTo>
                      <a:pt x="435" y="97"/>
                      <a:pt x="339" y="0"/>
                      <a:pt x="216" y="0"/>
                    </a:cubicBezTo>
                    <a:close/>
                    <a:moveTo>
                      <a:pt x="216" y="410"/>
                    </a:moveTo>
                    <a:cubicBezTo>
                      <a:pt x="111" y="410"/>
                      <a:pt x="27" y="325"/>
                      <a:pt x="27" y="220"/>
                    </a:cubicBezTo>
                    <a:cubicBezTo>
                      <a:pt x="27" y="114"/>
                      <a:pt x="111" y="27"/>
                      <a:pt x="216" y="27"/>
                    </a:cubicBezTo>
                    <a:cubicBezTo>
                      <a:pt x="321" y="27"/>
                      <a:pt x="409" y="114"/>
                      <a:pt x="409" y="220"/>
                    </a:cubicBezTo>
                    <a:cubicBezTo>
                      <a:pt x="409" y="325"/>
                      <a:pt x="321" y="410"/>
                      <a:pt x="216" y="410"/>
                    </a:cubicBezTo>
                    <a:close/>
                  </a:path>
                </a:pathLst>
              </a:custGeom>
              <a:solidFill>
                <a:schemeClr val="accent2"/>
              </a:solidFill>
              <a:ln w="25400" cap="flat" cmpd="sng" algn="ctr">
                <a:noFill/>
                <a:prstDash val="solid"/>
                <a:headEnd type="none" w="med" len="med"/>
                <a:tailEnd type="none" w="med" len="med"/>
              </a:ln>
              <a:effectLst/>
              <a:extLst/>
            </p:spPr>
            <p:txBody>
              <a:bodyPr vert="horz" wrap="square" lIns="209891" tIns="209891" rIns="69961" bIns="34980" numCol="1" rtlCol="0" anchor="t" anchorCtr="0" compatLnSpc="1">
                <a:prstTxWarp prst="textNoShape">
                  <a:avLst/>
                </a:prstTxWarp>
              </a:bodyPr>
              <a:lstStyle/>
              <a:p>
                <a:pPr defTabSz="699404" fontAlgn="base">
                  <a:lnSpc>
                    <a:spcPct val="90000"/>
                  </a:lnSpc>
                  <a:spcBef>
                    <a:spcPct val="0"/>
                  </a:spcBef>
                  <a:spcAft>
                    <a:spcPct val="0"/>
                  </a:spcAft>
                </a:pPr>
                <a:endParaRPr lang="en-US" sz="3061" kern="0">
                  <a:gradFill>
                    <a:gsLst>
                      <a:gs pos="0">
                        <a:srgbClr val="FFFFFF"/>
                      </a:gs>
                      <a:gs pos="100000">
                        <a:srgbClr val="FFFFFF"/>
                      </a:gs>
                    </a:gsLst>
                    <a:lin ang="16200000" scaled="0"/>
                  </a:gradFill>
                  <a:latin typeface="Segoe UI Light"/>
                </a:endParaRPr>
              </a:p>
            </p:txBody>
          </p:sp>
          <p:sp>
            <p:nvSpPr>
              <p:cNvPr id="205" name="Freeform 21"/>
              <p:cNvSpPr>
                <a:spLocks noEditPoints="1"/>
              </p:cNvSpPr>
              <p:nvPr/>
            </p:nvSpPr>
            <p:spPr bwMode="auto">
              <a:xfrm>
                <a:off x="10839328" y="4604443"/>
                <a:ext cx="278247" cy="225075"/>
              </a:xfrm>
              <a:custGeom>
                <a:avLst/>
                <a:gdLst>
                  <a:gd name="T0" fmla="*/ 776 w 875"/>
                  <a:gd name="T1" fmla="*/ 207 h 708"/>
                  <a:gd name="T2" fmla="*/ 98 w 875"/>
                  <a:gd name="T3" fmla="*/ 207 h 708"/>
                  <a:gd name="T4" fmla="*/ 98 w 875"/>
                  <a:gd name="T5" fmla="*/ 610 h 708"/>
                  <a:gd name="T6" fmla="*/ 98 w 875"/>
                  <a:gd name="T7" fmla="*/ 621 h 708"/>
                  <a:gd name="T8" fmla="*/ 765 w 875"/>
                  <a:gd name="T9" fmla="*/ 621 h 708"/>
                  <a:gd name="T10" fmla="*/ 776 w 875"/>
                  <a:gd name="T11" fmla="*/ 610 h 708"/>
                  <a:gd name="T12" fmla="*/ 776 w 875"/>
                  <a:gd name="T13" fmla="*/ 207 h 708"/>
                  <a:gd name="T14" fmla="*/ 776 w 875"/>
                  <a:gd name="T15" fmla="*/ 207 h 708"/>
                  <a:gd name="T16" fmla="*/ 831 w 875"/>
                  <a:gd name="T17" fmla="*/ 0 h 708"/>
                  <a:gd name="T18" fmla="*/ 875 w 875"/>
                  <a:gd name="T19" fmla="*/ 43 h 708"/>
                  <a:gd name="T20" fmla="*/ 875 w 875"/>
                  <a:gd name="T21" fmla="*/ 675 h 708"/>
                  <a:gd name="T22" fmla="*/ 831 w 875"/>
                  <a:gd name="T23" fmla="*/ 708 h 708"/>
                  <a:gd name="T24" fmla="*/ 43 w 875"/>
                  <a:gd name="T25" fmla="*/ 708 h 708"/>
                  <a:gd name="T26" fmla="*/ 0 w 875"/>
                  <a:gd name="T27" fmla="*/ 675 h 708"/>
                  <a:gd name="T28" fmla="*/ 0 w 875"/>
                  <a:gd name="T29" fmla="*/ 43 h 708"/>
                  <a:gd name="T30" fmla="*/ 43 w 875"/>
                  <a:gd name="T31" fmla="*/ 0 h 708"/>
                  <a:gd name="T32" fmla="*/ 831 w 875"/>
                  <a:gd name="T33" fmla="*/ 0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5" h="708">
                    <a:moveTo>
                      <a:pt x="776" y="207"/>
                    </a:moveTo>
                    <a:cubicBezTo>
                      <a:pt x="98" y="207"/>
                      <a:pt x="98" y="207"/>
                      <a:pt x="98" y="207"/>
                    </a:cubicBezTo>
                    <a:cubicBezTo>
                      <a:pt x="98" y="610"/>
                      <a:pt x="98" y="610"/>
                      <a:pt x="98" y="610"/>
                    </a:cubicBezTo>
                    <a:cubicBezTo>
                      <a:pt x="98" y="621"/>
                      <a:pt x="98" y="621"/>
                      <a:pt x="98" y="621"/>
                    </a:cubicBezTo>
                    <a:cubicBezTo>
                      <a:pt x="765" y="621"/>
                      <a:pt x="765" y="621"/>
                      <a:pt x="765" y="621"/>
                    </a:cubicBezTo>
                    <a:cubicBezTo>
                      <a:pt x="776" y="621"/>
                      <a:pt x="776" y="621"/>
                      <a:pt x="776" y="610"/>
                    </a:cubicBezTo>
                    <a:cubicBezTo>
                      <a:pt x="776" y="207"/>
                      <a:pt x="776" y="207"/>
                      <a:pt x="776" y="207"/>
                    </a:cubicBezTo>
                    <a:cubicBezTo>
                      <a:pt x="776" y="207"/>
                      <a:pt x="776" y="207"/>
                      <a:pt x="776" y="207"/>
                    </a:cubicBezTo>
                    <a:close/>
                    <a:moveTo>
                      <a:pt x="831" y="0"/>
                    </a:moveTo>
                    <a:cubicBezTo>
                      <a:pt x="853" y="0"/>
                      <a:pt x="875" y="11"/>
                      <a:pt x="875" y="43"/>
                    </a:cubicBezTo>
                    <a:cubicBezTo>
                      <a:pt x="875" y="675"/>
                      <a:pt x="875" y="675"/>
                      <a:pt x="875" y="675"/>
                    </a:cubicBezTo>
                    <a:cubicBezTo>
                      <a:pt x="875" y="697"/>
                      <a:pt x="853" y="708"/>
                      <a:pt x="831" y="708"/>
                    </a:cubicBezTo>
                    <a:cubicBezTo>
                      <a:pt x="43" y="708"/>
                      <a:pt x="43" y="708"/>
                      <a:pt x="43" y="708"/>
                    </a:cubicBezTo>
                    <a:cubicBezTo>
                      <a:pt x="22" y="708"/>
                      <a:pt x="0" y="697"/>
                      <a:pt x="0" y="675"/>
                    </a:cubicBezTo>
                    <a:cubicBezTo>
                      <a:pt x="0" y="43"/>
                      <a:pt x="0" y="43"/>
                      <a:pt x="0" y="43"/>
                    </a:cubicBezTo>
                    <a:cubicBezTo>
                      <a:pt x="0" y="11"/>
                      <a:pt x="22" y="0"/>
                      <a:pt x="43" y="0"/>
                    </a:cubicBezTo>
                    <a:cubicBezTo>
                      <a:pt x="831" y="0"/>
                      <a:pt x="831" y="0"/>
                      <a:pt x="831" y="0"/>
                    </a:cubicBezTo>
                  </a:path>
                </a:pathLst>
              </a:custGeom>
              <a:solidFill>
                <a:schemeClr val="accent2"/>
              </a:solidFill>
              <a:ln w="25400" cap="flat" cmpd="sng" algn="ctr">
                <a:noFill/>
                <a:prstDash val="solid"/>
                <a:headEnd type="none" w="med" len="med"/>
                <a:tailEnd type="none" w="med" len="med"/>
              </a:ln>
              <a:effectLst/>
            </p:spPr>
            <p:txBody>
              <a:bodyPr vert="horz" wrap="square" lIns="209891" tIns="209891" rIns="69961" bIns="34980" numCol="1" rtlCol="0" anchor="t" anchorCtr="0" compatLnSpc="1">
                <a:prstTxWarp prst="textNoShape">
                  <a:avLst/>
                </a:prstTxWarp>
              </a:bodyPr>
              <a:lstStyle/>
              <a:p>
                <a:pPr defTabSz="699404" fontAlgn="base">
                  <a:lnSpc>
                    <a:spcPct val="90000"/>
                  </a:lnSpc>
                  <a:spcBef>
                    <a:spcPct val="0"/>
                  </a:spcBef>
                  <a:spcAft>
                    <a:spcPct val="0"/>
                  </a:spcAft>
                </a:pPr>
                <a:endParaRPr lang="en-US" sz="3061" kern="0">
                  <a:gradFill>
                    <a:gsLst>
                      <a:gs pos="0">
                        <a:srgbClr val="FFFFFF"/>
                      </a:gs>
                      <a:gs pos="100000">
                        <a:srgbClr val="FFFFFF"/>
                      </a:gs>
                    </a:gsLst>
                    <a:lin ang="16200000" scaled="0"/>
                  </a:gradFill>
                  <a:latin typeface="Segoe UI Light"/>
                </a:endParaRPr>
              </a:p>
            </p:txBody>
          </p:sp>
          <p:sp>
            <p:nvSpPr>
              <p:cNvPr id="206" name="Rectangle 205"/>
              <p:cNvSpPr/>
              <p:nvPr/>
            </p:nvSpPr>
            <p:spPr>
              <a:xfrm>
                <a:off x="9909408" y="4660888"/>
                <a:ext cx="581154" cy="239616"/>
              </a:xfrm>
              <a:prstGeom prst="rect">
                <a:avLst/>
              </a:prstGeom>
            </p:spPr>
            <p:txBody>
              <a:bodyPr wrap="none">
                <a:spAutoFit/>
              </a:bodyPr>
              <a:lstStyle/>
              <a:p>
                <a:pPr defTabSz="699404" fontAlgn="base">
                  <a:lnSpc>
                    <a:spcPct val="90000"/>
                  </a:lnSpc>
                  <a:spcBef>
                    <a:spcPct val="0"/>
                  </a:spcBef>
                  <a:spcAft>
                    <a:spcPct val="0"/>
                  </a:spcAft>
                </a:pPr>
                <a:r>
                  <a:rPr lang="en-US" sz="1224" kern="0" dirty="0" err="1">
                    <a:ln>
                      <a:solidFill>
                        <a:srgbClr val="FFFFFF">
                          <a:alpha val="0"/>
                        </a:srgbClr>
                      </a:solidFill>
                    </a:ln>
                    <a:solidFill>
                      <a:srgbClr val="64BE00"/>
                    </a:solidFill>
                  </a:rPr>
                  <a:t>PaaS</a:t>
                </a:r>
                <a:endParaRPr lang="en-US" sz="1224" kern="0" dirty="0">
                  <a:ln>
                    <a:solidFill>
                      <a:srgbClr val="FFFFFF">
                        <a:alpha val="0"/>
                      </a:srgbClr>
                    </a:solidFill>
                  </a:ln>
                  <a:solidFill>
                    <a:srgbClr val="64BE00"/>
                  </a:solidFill>
                </a:endParaRPr>
              </a:p>
            </p:txBody>
          </p:sp>
        </p:grpSp>
        <p:grpSp>
          <p:nvGrpSpPr>
            <p:cNvPr id="207" name="Group 206"/>
            <p:cNvGrpSpPr/>
            <p:nvPr/>
          </p:nvGrpSpPr>
          <p:grpSpPr>
            <a:xfrm>
              <a:off x="5842543" y="4040381"/>
              <a:ext cx="1026374" cy="592254"/>
              <a:chOff x="5736268" y="4232255"/>
              <a:chExt cx="1408722" cy="812882"/>
            </a:xfrm>
          </p:grpSpPr>
          <p:sp>
            <p:nvSpPr>
              <p:cNvPr id="208" name="Freeform 6"/>
              <p:cNvSpPr>
                <a:spLocks/>
              </p:cNvSpPr>
              <p:nvPr/>
            </p:nvSpPr>
            <p:spPr bwMode="auto">
              <a:xfrm>
                <a:off x="5736268" y="4232255"/>
                <a:ext cx="1408722" cy="812882"/>
              </a:xfrm>
              <a:custGeom>
                <a:avLst/>
                <a:gdLst>
                  <a:gd name="T0" fmla="*/ 674 w 874"/>
                  <a:gd name="T1" fmla="*/ 86 h 504"/>
                  <a:gd name="T2" fmla="*/ 646 w 874"/>
                  <a:gd name="T3" fmla="*/ 87 h 504"/>
                  <a:gd name="T4" fmla="*/ 460 w 874"/>
                  <a:gd name="T5" fmla="*/ 262 h 504"/>
                  <a:gd name="T6" fmla="*/ 537 w 874"/>
                  <a:gd name="T7" fmla="*/ 66 h 504"/>
                  <a:gd name="T8" fmla="*/ 378 w 874"/>
                  <a:gd name="T9" fmla="*/ 0 h 504"/>
                  <a:gd name="T10" fmla="*/ 151 w 874"/>
                  <a:gd name="T11" fmla="*/ 216 h 504"/>
                  <a:gd name="T12" fmla="*/ 144 w 874"/>
                  <a:gd name="T13" fmla="*/ 216 h 504"/>
                  <a:gd name="T14" fmla="*/ 0 w 874"/>
                  <a:gd name="T15" fmla="*/ 360 h 504"/>
                  <a:gd name="T16" fmla="*/ 144 w 874"/>
                  <a:gd name="T17" fmla="*/ 504 h 504"/>
                  <a:gd name="T18" fmla="*/ 665 w 874"/>
                  <a:gd name="T19" fmla="*/ 504 h 504"/>
                  <a:gd name="T20" fmla="*/ 665 w 874"/>
                  <a:gd name="T21" fmla="*/ 503 h 504"/>
                  <a:gd name="T22" fmla="*/ 665 w 874"/>
                  <a:gd name="T23" fmla="*/ 503 h 504"/>
                  <a:gd name="T24" fmla="*/ 874 w 874"/>
                  <a:gd name="T25" fmla="*/ 295 h 504"/>
                  <a:gd name="T26" fmla="*/ 674 w 874"/>
                  <a:gd name="T27" fmla="*/ 86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4" h="504">
                    <a:moveTo>
                      <a:pt x="674" y="86"/>
                    </a:moveTo>
                    <a:cubicBezTo>
                      <a:pt x="665" y="86"/>
                      <a:pt x="655" y="86"/>
                      <a:pt x="646" y="87"/>
                    </a:cubicBezTo>
                    <a:cubicBezTo>
                      <a:pt x="550" y="97"/>
                      <a:pt x="475" y="170"/>
                      <a:pt x="460" y="262"/>
                    </a:cubicBezTo>
                    <a:cubicBezTo>
                      <a:pt x="445" y="228"/>
                      <a:pt x="452" y="123"/>
                      <a:pt x="537" y="66"/>
                    </a:cubicBezTo>
                    <a:cubicBezTo>
                      <a:pt x="496" y="25"/>
                      <a:pt x="440" y="0"/>
                      <a:pt x="378" y="0"/>
                    </a:cubicBezTo>
                    <a:cubicBezTo>
                      <a:pt x="256" y="0"/>
                      <a:pt x="157" y="96"/>
                      <a:pt x="151" y="216"/>
                    </a:cubicBezTo>
                    <a:cubicBezTo>
                      <a:pt x="149" y="216"/>
                      <a:pt x="146" y="216"/>
                      <a:pt x="144" y="216"/>
                    </a:cubicBezTo>
                    <a:cubicBezTo>
                      <a:pt x="64" y="216"/>
                      <a:pt x="0" y="280"/>
                      <a:pt x="0" y="360"/>
                    </a:cubicBezTo>
                    <a:cubicBezTo>
                      <a:pt x="0" y="439"/>
                      <a:pt x="64" y="504"/>
                      <a:pt x="144" y="504"/>
                    </a:cubicBezTo>
                    <a:cubicBezTo>
                      <a:pt x="665" y="504"/>
                      <a:pt x="665" y="504"/>
                      <a:pt x="665" y="504"/>
                    </a:cubicBezTo>
                    <a:cubicBezTo>
                      <a:pt x="665" y="503"/>
                      <a:pt x="665" y="503"/>
                      <a:pt x="665" y="503"/>
                    </a:cubicBezTo>
                    <a:cubicBezTo>
                      <a:pt x="665" y="503"/>
                      <a:pt x="665" y="503"/>
                      <a:pt x="665" y="503"/>
                    </a:cubicBezTo>
                    <a:cubicBezTo>
                      <a:pt x="781" y="503"/>
                      <a:pt x="874" y="410"/>
                      <a:pt x="874" y="295"/>
                    </a:cubicBezTo>
                    <a:cubicBezTo>
                      <a:pt x="874" y="182"/>
                      <a:pt x="785" y="91"/>
                      <a:pt x="674" y="86"/>
                    </a:cubicBezTo>
                    <a:close/>
                  </a:path>
                </a:pathLst>
              </a:custGeom>
              <a:solidFill>
                <a:srgbClr val="FFFFFF"/>
              </a:solidFill>
              <a:ln>
                <a:noFill/>
              </a:ln>
            </p:spPr>
            <p:txBody>
              <a:bodyPr vert="horz" wrap="square" lIns="69964" tIns="34982" rIns="69964" bIns="34982" numCol="1" anchor="t" anchorCtr="0" compatLnSpc="1">
                <a:prstTxWarp prst="textNoShape">
                  <a:avLst/>
                </a:prstTxWarp>
              </a:bodyPr>
              <a:lstStyle/>
              <a:p>
                <a:pPr defTabSz="699634">
                  <a:defRPr/>
                </a:pPr>
                <a:endParaRPr lang="en-US" sz="1836" kern="0">
                  <a:solidFill>
                    <a:srgbClr val="FFFFFF"/>
                  </a:solidFill>
                </a:endParaRPr>
              </a:p>
            </p:txBody>
          </p:sp>
          <p:sp>
            <p:nvSpPr>
              <p:cNvPr id="209" name="Freeform 7"/>
              <p:cNvSpPr>
                <a:spLocks noEditPoints="1"/>
              </p:cNvSpPr>
              <p:nvPr/>
            </p:nvSpPr>
            <p:spPr bwMode="auto">
              <a:xfrm rot="10800000" flipH="1">
                <a:off x="6567835" y="4469453"/>
                <a:ext cx="495054" cy="495055"/>
              </a:xfrm>
              <a:custGeom>
                <a:avLst/>
                <a:gdLst>
                  <a:gd name="T0" fmla="*/ 216 w 435"/>
                  <a:gd name="T1" fmla="*/ 0 h 436"/>
                  <a:gd name="T2" fmla="*/ 0 w 435"/>
                  <a:gd name="T3" fmla="*/ 220 h 436"/>
                  <a:gd name="T4" fmla="*/ 216 w 435"/>
                  <a:gd name="T5" fmla="*/ 436 h 436"/>
                  <a:gd name="T6" fmla="*/ 435 w 435"/>
                  <a:gd name="T7" fmla="*/ 220 h 436"/>
                  <a:gd name="T8" fmla="*/ 216 w 435"/>
                  <a:gd name="T9" fmla="*/ 0 h 436"/>
                  <a:gd name="T10" fmla="*/ 216 w 435"/>
                  <a:gd name="T11" fmla="*/ 410 h 436"/>
                  <a:gd name="T12" fmla="*/ 27 w 435"/>
                  <a:gd name="T13" fmla="*/ 220 h 436"/>
                  <a:gd name="T14" fmla="*/ 216 w 435"/>
                  <a:gd name="T15" fmla="*/ 27 h 436"/>
                  <a:gd name="T16" fmla="*/ 409 w 435"/>
                  <a:gd name="T17" fmla="*/ 220 h 436"/>
                  <a:gd name="T18" fmla="*/ 216 w 435"/>
                  <a:gd name="T19" fmla="*/ 41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5" h="436">
                    <a:moveTo>
                      <a:pt x="216" y="0"/>
                    </a:moveTo>
                    <a:cubicBezTo>
                      <a:pt x="97" y="0"/>
                      <a:pt x="0" y="97"/>
                      <a:pt x="0" y="220"/>
                    </a:cubicBezTo>
                    <a:cubicBezTo>
                      <a:pt x="0" y="340"/>
                      <a:pt x="97" y="436"/>
                      <a:pt x="216" y="436"/>
                    </a:cubicBezTo>
                    <a:cubicBezTo>
                      <a:pt x="339" y="436"/>
                      <a:pt x="435" y="340"/>
                      <a:pt x="435" y="220"/>
                    </a:cubicBezTo>
                    <a:cubicBezTo>
                      <a:pt x="435" y="97"/>
                      <a:pt x="339" y="0"/>
                      <a:pt x="216" y="0"/>
                    </a:cubicBezTo>
                    <a:close/>
                    <a:moveTo>
                      <a:pt x="216" y="410"/>
                    </a:moveTo>
                    <a:cubicBezTo>
                      <a:pt x="111" y="410"/>
                      <a:pt x="27" y="325"/>
                      <a:pt x="27" y="220"/>
                    </a:cubicBezTo>
                    <a:cubicBezTo>
                      <a:pt x="27" y="114"/>
                      <a:pt x="111" y="27"/>
                      <a:pt x="216" y="27"/>
                    </a:cubicBezTo>
                    <a:cubicBezTo>
                      <a:pt x="321" y="27"/>
                      <a:pt x="409" y="114"/>
                      <a:pt x="409" y="220"/>
                    </a:cubicBezTo>
                    <a:cubicBezTo>
                      <a:pt x="409" y="325"/>
                      <a:pt x="321" y="410"/>
                      <a:pt x="216" y="410"/>
                    </a:cubicBezTo>
                    <a:close/>
                  </a:path>
                </a:pathLst>
              </a:custGeom>
              <a:solidFill>
                <a:schemeClr val="accent2"/>
              </a:solidFill>
              <a:ln w="25400" cap="flat" cmpd="sng" algn="ctr">
                <a:noFill/>
                <a:prstDash val="solid"/>
                <a:headEnd type="none" w="med" len="med"/>
                <a:tailEnd type="none" w="med" len="med"/>
              </a:ln>
              <a:effectLst/>
              <a:extLst/>
            </p:spPr>
            <p:txBody>
              <a:bodyPr vert="horz" wrap="square" lIns="209891" tIns="209891" rIns="69961" bIns="34980" numCol="1" rtlCol="0" anchor="t" anchorCtr="0" compatLnSpc="1">
                <a:prstTxWarp prst="textNoShape">
                  <a:avLst/>
                </a:prstTxWarp>
              </a:bodyPr>
              <a:lstStyle/>
              <a:p>
                <a:pPr defTabSz="699404" fontAlgn="base">
                  <a:lnSpc>
                    <a:spcPct val="90000"/>
                  </a:lnSpc>
                  <a:spcBef>
                    <a:spcPct val="0"/>
                  </a:spcBef>
                  <a:spcAft>
                    <a:spcPct val="0"/>
                  </a:spcAft>
                </a:pPr>
                <a:endParaRPr lang="en-US" sz="3061" kern="0">
                  <a:gradFill>
                    <a:gsLst>
                      <a:gs pos="0">
                        <a:srgbClr val="FFFFFF"/>
                      </a:gs>
                      <a:gs pos="100000">
                        <a:srgbClr val="FFFFFF"/>
                      </a:gs>
                    </a:gsLst>
                    <a:lin ang="16200000" scaled="0"/>
                  </a:gradFill>
                  <a:latin typeface="Segoe UI Light"/>
                </a:endParaRPr>
              </a:p>
            </p:txBody>
          </p:sp>
          <p:sp>
            <p:nvSpPr>
              <p:cNvPr id="210" name="Rectangle 209"/>
              <p:cNvSpPr/>
              <p:nvPr/>
            </p:nvSpPr>
            <p:spPr>
              <a:xfrm>
                <a:off x="5741270" y="4660888"/>
                <a:ext cx="738076" cy="239616"/>
              </a:xfrm>
              <a:prstGeom prst="rect">
                <a:avLst/>
              </a:prstGeom>
            </p:spPr>
            <p:txBody>
              <a:bodyPr wrap="none">
                <a:spAutoFit/>
              </a:bodyPr>
              <a:lstStyle/>
              <a:p>
                <a:pPr defTabSz="699404" fontAlgn="base">
                  <a:lnSpc>
                    <a:spcPct val="90000"/>
                  </a:lnSpc>
                  <a:spcBef>
                    <a:spcPct val="0"/>
                  </a:spcBef>
                  <a:spcAft>
                    <a:spcPct val="0"/>
                  </a:spcAft>
                </a:pPr>
                <a:r>
                  <a:rPr lang="en-US" sz="1224" kern="0" dirty="0">
                    <a:ln>
                      <a:solidFill>
                        <a:srgbClr val="FFFFFF">
                          <a:alpha val="0"/>
                        </a:srgbClr>
                      </a:solidFill>
                    </a:ln>
                    <a:solidFill>
                      <a:srgbClr val="64BE00"/>
                    </a:solidFill>
                  </a:rPr>
                  <a:t>Private</a:t>
                </a:r>
              </a:p>
            </p:txBody>
          </p:sp>
          <p:grpSp>
            <p:nvGrpSpPr>
              <p:cNvPr id="211" name="Group 210"/>
              <p:cNvGrpSpPr/>
              <p:nvPr/>
            </p:nvGrpSpPr>
            <p:grpSpPr>
              <a:xfrm>
                <a:off x="6693254" y="4575509"/>
                <a:ext cx="244214" cy="282945"/>
                <a:chOff x="5394326" y="4936834"/>
                <a:chExt cx="720725" cy="835025"/>
              </a:xfrm>
            </p:grpSpPr>
            <p:sp>
              <p:nvSpPr>
                <p:cNvPr id="212" name="Freeform 17"/>
                <p:cNvSpPr>
                  <a:spLocks noEditPoints="1"/>
                </p:cNvSpPr>
                <p:nvPr/>
              </p:nvSpPr>
              <p:spPr bwMode="auto">
                <a:xfrm>
                  <a:off x="5394326" y="4936834"/>
                  <a:ext cx="460375" cy="835025"/>
                </a:xfrm>
                <a:custGeom>
                  <a:avLst/>
                  <a:gdLst>
                    <a:gd name="T0" fmla="*/ 196 w 440"/>
                    <a:gd name="T1" fmla="*/ 576 h 796"/>
                    <a:gd name="T2" fmla="*/ 178 w 440"/>
                    <a:gd name="T3" fmla="*/ 490 h 796"/>
                    <a:gd name="T4" fmla="*/ 206 w 440"/>
                    <a:gd name="T5" fmla="*/ 472 h 796"/>
                    <a:gd name="T6" fmla="*/ 207 w 440"/>
                    <a:gd name="T7" fmla="*/ 423 h 796"/>
                    <a:gd name="T8" fmla="*/ 178 w 440"/>
                    <a:gd name="T9" fmla="*/ 405 h 796"/>
                    <a:gd name="T10" fmla="*/ 196 w 440"/>
                    <a:gd name="T11" fmla="*/ 320 h 796"/>
                    <a:gd name="T12" fmla="*/ 262 w 440"/>
                    <a:gd name="T13" fmla="*/ 337 h 796"/>
                    <a:gd name="T14" fmla="*/ 312 w 440"/>
                    <a:gd name="T15" fmla="*/ 379 h 796"/>
                    <a:gd name="T16" fmla="*/ 330 w 440"/>
                    <a:gd name="T17" fmla="*/ 320 h 796"/>
                    <a:gd name="T18" fmla="*/ 395 w 440"/>
                    <a:gd name="T19" fmla="*/ 337 h 796"/>
                    <a:gd name="T20" fmla="*/ 440 w 440"/>
                    <a:gd name="T21" fmla="*/ 379 h 796"/>
                    <a:gd name="T22" fmla="*/ 422 w 440"/>
                    <a:gd name="T23" fmla="*/ 0 h 796"/>
                    <a:gd name="T24" fmla="*/ 0 w 440"/>
                    <a:gd name="T25" fmla="*/ 18 h 796"/>
                    <a:gd name="T26" fmla="*/ 0 w 440"/>
                    <a:gd name="T27" fmla="*/ 623 h 796"/>
                    <a:gd name="T28" fmla="*/ 0 w 440"/>
                    <a:gd name="T29" fmla="*/ 778 h 796"/>
                    <a:gd name="T30" fmla="*/ 206 w 440"/>
                    <a:gd name="T31" fmla="*/ 796 h 796"/>
                    <a:gd name="T32" fmla="*/ 312 w 440"/>
                    <a:gd name="T33" fmla="*/ 63 h 796"/>
                    <a:gd name="T34" fmla="*/ 378 w 440"/>
                    <a:gd name="T35" fmla="*/ 45 h 796"/>
                    <a:gd name="T36" fmla="*/ 395 w 440"/>
                    <a:gd name="T37" fmla="*/ 130 h 796"/>
                    <a:gd name="T38" fmla="*/ 330 w 440"/>
                    <a:gd name="T39" fmla="*/ 148 h 796"/>
                    <a:gd name="T40" fmla="*/ 312 w 440"/>
                    <a:gd name="T41" fmla="*/ 63 h 796"/>
                    <a:gd name="T42" fmla="*/ 330 w 440"/>
                    <a:gd name="T43" fmla="*/ 180 h 796"/>
                    <a:gd name="T44" fmla="*/ 395 w 440"/>
                    <a:gd name="T45" fmla="*/ 198 h 796"/>
                    <a:gd name="T46" fmla="*/ 378 w 440"/>
                    <a:gd name="T47" fmla="*/ 283 h 796"/>
                    <a:gd name="T48" fmla="*/ 312 w 440"/>
                    <a:gd name="T49" fmla="*/ 266 h 796"/>
                    <a:gd name="T50" fmla="*/ 178 w 440"/>
                    <a:gd name="T51" fmla="*/ 63 h 796"/>
                    <a:gd name="T52" fmla="*/ 244 w 440"/>
                    <a:gd name="T53" fmla="*/ 45 h 796"/>
                    <a:gd name="T54" fmla="*/ 262 w 440"/>
                    <a:gd name="T55" fmla="*/ 130 h 796"/>
                    <a:gd name="T56" fmla="*/ 196 w 440"/>
                    <a:gd name="T57" fmla="*/ 148 h 796"/>
                    <a:gd name="T58" fmla="*/ 178 w 440"/>
                    <a:gd name="T59" fmla="*/ 63 h 796"/>
                    <a:gd name="T60" fmla="*/ 196 w 440"/>
                    <a:gd name="T61" fmla="*/ 180 h 796"/>
                    <a:gd name="T62" fmla="*/ 262 w 440"/>
                    <a:gd name="T63" fmla="*/ 198 h 796"/>
                    <a:gd name="T64" fmla="*/ 244 w 440"/>
                    <a:gd name="T65" fmla="*/ 283 h 796"/>
                    <a:gd name="T66" fmla="*/ 178 w 440"/>
                    <a:gd name="T67" fmla="*/ 266 h 796"/>
                    <a:gd name="T68" fmla="*/ 131 w 440"/>
                    <a:gd name="T69" fmla="*/ 558 h 796"/>
                    <a:gd name="T70" fmla="*/ 65 w 440"/>
                    <a:gd name="T71" fmla="*/ 576 h 796"/>
                    <a:gd name="T72" fmla="*/ 47 w 440"/>
                    <a:gd name="T73" fmla="*/ 490 h 796"/>
                    <a:gd name="T74" fmla="*/ 113 w 440"/>
                    <a:gd name="T75" fmla="*/ 472 h 796"/>
                    <a:gd name="T76" fmla="*/ 131 w 440"/>
                    <a:gd name="T77" fmla="*/ 558 h 796"/>
                    <a:gd name="T78" fmla="*/ 113 w 440"/>
                    <a:gd name="T79" fmla="*/ 423 h 796"/>
                    <a:gd name="T80" fmla="*/ 47 w 440"/>
                    <a:gd name="T81" fmla="*/ 405 h 796"/>
                    <a:gd name="T82" fmla="*/ 65 w 440"/>
                    <a:gd name="T83" fmla="*/ 320 h 796"/>
                    <a:gd name="T84" fmla="*/ 131 w 440"/>
                    <a:gd name="T85" fmla="*/ 337 h 796"/>
                    <a:gd name="T86" fmla="*/ 131 w 440"/>
                    <a:gd name="T87" fmla="*/ 266 h 796"/>
                    <a:gd name="T88" fmla="*/ 65 w 440"/>
                    <a:gd name="T89" fmla="*/ 283 h 796"/>
                    <a:gd name="T90" fmla="*/ 47 w 440"/>
                    <a:gd name="T91" fmla="*/ 198 h 796"/>
                    <a:gd name="T92" fmla="*/ 113 w 440"/>
                    <a:gd name="T93" fmla="*/ 180 h 796"/>
                    <a:gd name="T94" fmla="*/ 131 w 440"/>
                    <a:gd name="T95" fmla="*/ 266 h 796"/>
                    <a:gd name="T96" fmla="*/ 113 w 440"/>
                    <a:gd name="T97" fmla="*/ 148 h 796"/>
                    <a:gd name="T98" fmla="*/ 47 w 440"/>
                    <a:gd name="T99" fmla="*/ 130 h 796"/>
                    <a:gd name="T100" fmla="*/ 65 w 440"/>
                    <a:gd name="T101" fmla="*/ 45 h 796"/>
                    <a:gd name="T102" fmla="*/ 131 w 440"/>
                    <a:gd name="T103" fmla="*/ 63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0" h="796">
                      <a:moveTo>
                        <a:pt x="206" y="576"/>
                      </a:moveTo>
                      <a:cubicBezTo>
                        <a:pt x="196" y="576"/>
                        <a:pt x="196" y="576"/>
                        <a:pt x="196" y="576"/>
                      </a:cubicBezTo>
                      <a:cubicBezTo>
                        <a:pt x="186" y="576"/>
                        <a:pt x="178" y="568"/>
                        <a:pt x="178" y="558"/>
                      </a:cubicBezTo>
                      <a:cubicBezTo>
                        <a:pt x="178" y="490"/>
                        <a:pt x="178" y="490"/>
                        <a:pt x="178" y="490"/>
                      </a:cubicBezTo>
                      <a:cubicBezTo>
                        <a:pt x="178" y="480"/>
                        <a:pt x="186" y="472"/>
                        <a:pt x="196" y="472"/>
                      </a:cubicBezTo>
                      <a:cubicBezTo>
                        <a:pt x="206" y="472"/>
                        <a:pt x="206" y="472"/>
                        <a:pt x="206" y="472"/>
                      </a:cubicBezTo>
                      <a:cubicBezTo>
                        <a:pt x="206" y="432"/>
                        <a:pt x="206" y="432"/>
                        <a:pt x="206" y="432"/>
                      </a:cubicBezTo>
                      <a:cubicBezTo>
                        <a:pt x="206" y="429"/>
                        <a:pt x="206" y="426"/>
                        <a:pt x="207" y="423"/>
                      </a:cubicBezTo>
                      <a:cubicBezTo>
                        <a:pt x="196" y="423"/>
                        <a:pt x="196" y="423"/>
                        <a:pt x="196" y="423"/>
                      </a:cubicBezTo>
                      <a:cubicBezTo>
                        <a:pt x="186" y="423"/>
                        <a:pt x="178" y="415"/>
                        <a:pt x="178" y="405"/>
                      </a:cubicBezTo>
                      <a:cubicBezTo>
                        <a:pt x="178" y="337"/>
                        <a:pt x="178" y="337"/>
                        <a:pt x="178" y="337"/>
                      </a:cubicBezTo>
                      <a:cubicBezTo>
                        <a:pt x="178" y="328"/>
                        <a:pt x="186" y="320"/>
                        <a:pt x="196" y="320"/>
                      </a:cubicBezTo>
                      <a:cubicBezTo>
                        <a:pt x="244" y="320"/>
                        <a:pt x="244" y="320"/>
                        <a:pt x="244" y="320"/>
                      </a:cubicBezTo>
                      <a:cubicBezTo>
                        <a:pt x="254" y="320"/>
                        <a:pt x="262" y="328"/>
                        <a:pt x="262" y="337"/>
                      </a:cubicBezTo>
                      <a:cubicBezTo>
                        <a:pt x="262" y="379"/>
                        <a:pt x="262" y="379"/>
                        <a:pt x="262" y="379"/>
                      </a:cubicBezTo>
                      <a:cubicBezTo>
                        <a:pt x="312" y="379"/>
                        <a:pt x="312" y="379"/>
                        <a:pt x="312" y="379"/>
                      </a:cubicBezTo>
                      <a:cubicBezTo>
                        <a:pt x="312" y="337"/>
                        <a:pt x="312" y="337"/>
                        <a:pt x="312" y="337"/>
                      </a:cubicBezTo>
                      <a:cubicBezTo>
                        <a:pt x="312" y="328"/>
                        <a:pt x="320" y="320"/>
                        <a:pt x="330" y="320"/>
                      </a:cubicBezTo>
                      <a:cubicBezTo>
                        <a:pt x="378" y="320"/>
                        <a:pt x="378" y="320"/>
                        <a:pt x="378" y="320"/>
                      </a:cubicBezTo>
                      <a:cubicBezTo>
                        <a:pt x="387" y="320"/>
                        <a:pt x="395" y="328"/>
                        <a:pt x="395" y="337"/>
                      </a:cubicBezTo>
                      <a:cubicBezTo>
                        <a:pt x="395" y="379"/>
                        <a:pt x="395" y="379"/>
                        <a:pt x="395" y="379"/>
                      </a:cubicBezTo>
                      <a:cubicBezTo>
                        <a:pt x="440" y="379"/>
                        <a:pt x="440" y="379"/>
                        <a:pt x="440" y="379"/>
                      </a:cubicBezTo>
                      <a:cubicBezTo>
                        <a:pt x="440" y="18"/>
                        <a:pt x="440" y="18"/>
                        <a:pt x="440" y="18"/>
                      </a:cubicBezTo>
                      <a:cubicBezTo>
                        <a:pt x="440" y="8"/>
                        <a:pt x="432" y="0"/>
                        <a:pt x="422" y="0"/>
                      </a:cubicBezTo>
                      <a:cubicBezTo>
                        <a:pt x="18" y="0"/>
                        <a:pt x="18" y="0"/>
                        <a:pt x="18" y="0"/>
                      </a:cubicBezTo>
                      <a:cubicBezTo>
                        <a:pt x="8" y="0"/>
                        <a:pt x="0" y="8"/>
                        <a:pt x="0" y="18"/>
                      </a:cubicBezTo>
                      <a:cubicBezTo>
                        <a:pt x="0" y="590"/>
                        <a:pt x="0" y="590"/>
                        <a:pt x="0" y="590"/>
                      </a:cubicBezTo>
                      <a:cubicBezTo>
                        <a:pt x="0" y="599"/>
                        <a:pt x="0" y="614"/>
                        <a:pt x="0" y="623"/>
                      </a:cubicBezTo>
                      <a:cubicBezTo>
                        <a:pt x="0" y="631"/>
                        <a:pt x="0" y="646"/>
                        <a:pt x="0" y="656"/>
                      </a:cubicBezTo>
                      <a:cubicBezTo>
                        <a:pt x="0" y="778"/>
                        <a:pt x="0" y="778"/>
                        <a:pt x="0" y="778"/>
                      </a:cubicBezTo>
                      <a:cubicBezTo>
                        <a:pt x="0" y="788"/>
                        <a:pt x="8" y="796"/>
                        <a:pt x="18" y="796"/>
                      </a:cubicBezTo>
                      <a:cubicBezTo>
                        <a:pt x="206" y="796"/>
                        <a:pt x="206" y="796"/>
                        <a:pt x="206" y="796"/>
                      </a:cubicBezTo>
                      <a:lnTo>
                        <a:pt x="206" y="576"/>
                      </a:lnTo>
                      <a:close/>
                      <a:moveTo>
                        <a:pt x="312" y="63"/>
                      </a:moveTo>
                      <a:cubicBezTo>
                        <a:pt x="312" y="53"/>
                        <a:pt x="320" y="45"/>
                        <a:pt x="330" y="45"/>
                      </a:cubicBezTo>
                      <a:cubicBezTo>
                        <a:pt x="378" y="45"/>
                        <a:pt x="378" y="45"/>
                        <a:pt x="378" y="45"/>
                      </a:cubicBezTo>
                      <a:cubicBezTo>
                        <a:pt x="387" y="45"/>
                        <a:pt x="395" y="53"/>
                        <a:pt x="395" y="63"/>
                      </a:cubicBezTo>
                      <a:cubicBezTo>
                        <a:pt x="395" y="130"/>
                        <a:pt x="395" y="130"/>
                        <a:pt x="395" y="130"/>
                      </a:cubicBezTo>
                      <a:cubicBezTo>
                        <a:pt x="395" y="140"/>
                        <a:pt x="387" y="148"/>
                        <a:pt x="378" y="148"/>
                      </a:cubicBezTo>
                      <a:cubicBezTo>
                        <a:pt x="330" y="148"/>
                        <a:pt x="330" y="148"/>
                        <a:pt x="330" y="148"/>
                      </a:cubicBezTo>
                      <a:cubicBezTo>
                        <a:pt x="320" y="148"/>
                        <a:pt x="312" y="140"/>
                        <a:pt x="312" y="130"/>
                      </a:cubicBezTo>
                      <a:lnTo>
                        <a:pt x="312" y="63"/>
                      </a:lnTo>
                      <a:close/>
                      <a:moveTo>
                        <a:pt x="312" y="198"/>
                      </a:moveTo>
                      <a:cubicBezTo>
                        <a:pt x="312" y="188"/>
                        <a:pt x="320" y="180"/>
                        <a:pt x="330" y="180"/>
                      </a:cubicBezTo>
                      <a:cubicBezTo>
                        <a:pt x="378" y="180"/>
                        <a:pt x="378" y="180"/>
                        <a:pt x="378" y="180"/>
                      </a:cubicBezTo>
                      <a:cubicBezTo>
                        <a:pt x="387" y="180"/>
                        <a:pt x="395" y="188"/>
                        <a:pt x="395" y="198"/>
                      </a:cubicBezTo>
                      <a:cubicBezTo>
                        <a:pt x="395" y="266"/>
                        <a:pt x="395" y="266"/>
                        <a:pt x="395" y="266"/>
                      </a:cubicBezTo>
                      <a:cubicBezTo>
                        <a:pt x="395" y="275"/>
                        <a:pt x="387" y="283"/>
                        <a:pt x="378" y="283"/>
                      </a:cubicBezTo>
                      <a:cubicBezTo>
                        <a:pt x="330" y="283"/>
                        <a:pt x="330" y="283"/>
                        <a:pt x="330" y="283"/>
                      </a:cubicBezTo>
                      <a:cubicBezTo>
                        <a:pt x="320" y="283"/>
                        <a:pt x="312" y="275"/>
                        <a:pt x="312" y="266"/>
                      </a:cubicBezTo>
                      <a:lnTo>
                        <a:pt x="312" y="198"/>
                      </a:lnTo>
                      <a:close/>
                      <a:moveTo>
                        <a:pt x="178" y="63"/>
                      </a:moveTo>
                      <a:cubicBezTo>
                        <a:pt x="178" y="53"/>
                        <a:pt x="186" y="45"/>
                        <a:pt x="196" y="45"/>
                      </a:cubicBezTo>
                      <a:cubicBezTo>
                        <a:pt x="244" y="45"/>
                        <a:pt x="244" y="45"/>
                        <a:pt x="244" y="45"/>
                      </a:cubicBezTo>
                      <a:cubicBezTo>
                        <a:pt x="254" y="45"/>
                        <a:pt x="262" y="53"/>
                        <a:pt x="262" y="63"/>
                      </a:cubicBezTo>
                      <a:cubicBezTo>
                        <a:pt x="262" y="130"/>
                        <a:pt x="262" y="130"/>
                        <a:pt x="262" y="130"/>
                      </a:cubicBezTo>
                      <a:cubicBezTo>
                        <a:pt x="262" y="140"/>
                        <a:pt x="254" y="148"/>
                        <a:pt x="244" y="148"/>
                      </a:cubicBezTo>
                      <a:cubicBezTo>
                        <a:pt x="196" y="148"/>
                        <a:pt x="196" y="148"/>
                        <a:pt x="196" y="148"/>
                      </a:cubicBezTo>
                      <a:cubicBezTo>
                        <a:pt x="186" y="148"/>
                        <a:pt x="178" y="140"/>
                        <a:pt x="178" y="130"/>
                      </a:cubicBezTo>
                      <a:lnTo>
                        <a:pt x="178" y="63"/>
                      </a:lnTo>
                      <a:close/>
                      <a:moveTo>
                        <a:pt x="178" y="198"/>
                      </a:moveTo>
                      <a:cubicBezTo>
                        <a:pt x="178" y="188"/>
                        <a:pt x="186" y="180"/>
                        <a:pt x="196" y="180"/>
                      </a:cubicBezTo>
                      <a:cubicBezTo>
                        <a:pt x="244" y="180"/>
                        <a:pt x="244" y="180"/>
                        <a:pt x="244" y="180"/>
                      </a:cubicBezTo>
                      <a:cubicBezTo>
                        <a:pt x="254" y="180"/>
                        <a:pt x="262" y="188"/>
                        <a:pt x="262" y="198"/>
                      </a:cubicBezTo>
                      <a:cubicBezTo>
                        <a:pt x="262" y="266"/>
                        <a:pt x="262" y="266"/>
                        <a:pt x="262" y="266"/>
                      </a:cubicBezTo>
                      <a:cubicBezTo>
                        <a:pt x="262" y="275"/>
                        <a:pt x="254" y="283"/>
                        <a:pt x="244" y="283"/>
                      </a:cubicBezTo>
                      <a:cubicBezTo>
                        <a:pt x="196" y="283"/>
                        <a:pt x="196" y="283"/>
                        <a:pt x="196" y="283"/>
                      </a:cubicBezTo>
                      <a:cubicBezTo>
                        <a:pt x="186" y="283"/>
                        <a:pt x="178" y="275"/>
                        <a:pt x="178" y="266"/>
                      </a:cubicBezTo>
                      <a:lnTo>
                        <a:pt x="178" y="198"/>
                      </a:lnTo>
                      <a:close/>
                      <a:moveTo>
                        <a:pt x="131" y="558"/>
                      </a:moveTo>
                      <a:cubicBezTo>
                        <a:pt x="131" y="568"/>
                        <a:pt x="123" y="576"/>
                        <a:pt x="113" y="576"/>
                      </a:cubicBezTo>
                      <a:cubicBezTo>
                        <a:pt x="65" y="576"/>
                        <a:pt x="65" y="576"/>
                        <a:pt x="65" y="576"/>
                      </a:cubicBezTo>
                      <a:cubicBezTo>
                        <a:pt x="55" y="576"/>
                        <a:pt x="47" y="568"/>
                        <a:pt x="47" y="558"/>
                      </a:cubicBezTo>
                      <a:cubicBezTo>
                        <a:pt x="47" y="490"/>
                        <a:pt x="47" y="490"/>
                        <a:pt x="47" y="490"/>
                      </a:cubicBezTo>
                      <a:cubicBezTo>
                        <a:pt x="47" y="480"/>
                        <a:pt x="55" y="472"/>
                        <a:pt x="65" y="472"/>
                      </a:cubicBezTo>
                      <a:cubicBezTo>
                        <a:pt x="113" y="472"/>
                        <a:pt x="113" y="472"/>
                        <a:pt x="113" y="472"/>
                      </a:cubicBezTo>
                      <a:cubicBezTo>
                        <a:pt x="123" y="472"/>
                        <a:pt x="131" y="480"/>
                        <a:pt x="131" y="490"/>
                      </a:cubicBezTo>
                      <a:lnTo>
                        <a:pt x="131" y="558"/>
                      </a:lnTo>
                      <a:close/>
                      <a:moveTo>
                        <a:pt x="131" y="405"/>
                      </a:moveTo>
                      <a:cubicBezTo>
                        <a:pt x="131" y="415"/>
                        <a:pt x="123" y="423"/>
                        <a:pt x="113" y="423"/>
                      </a:cubicBezTo>
                      <a:cubicBezTo>
                        <a:pt x="65" y="423"/>
                        <a:pt x="65" y="423"/>
                        <a:pt x="65" y="423"/>
                      </a:cubicBezTo>
                      <a:cubicBezTo>
                        <a:pt x="55" y="423"/>
                        <a:pt x="47" y="415"/>
                        <a:pt x="47" y="405"/>
                      </a:cubicBezTo>
                      <a:cubicBezTo>
                        <a:pt x="47" y="337"/>
                        <a:pt x="47" y="337"/>
                        <a:pt x="47" y="337"/>
                      </a:cubicBezTo>
                      <a:cubicBezTo>
                        <a:pt x="47" y="328"/>
                        <a:pt x="55" y="320"/>
                        <a:pt x="65" y="320"/>
                      </a:cubicBezTo>
                      <a:cubicBezTo>
                        <a:pt x="113" y="320"/>
                        <a:pt x="113" y="320"/>
                        <a:pt x="113" y="320"/>
                      </a:cubicBezTo>
                      <a:cubicBezTo>
                        <a:pt x="123" y="320"/>
                        <a:pt x="131" y="328"/>
                        <a:pt x="131" y="337"/>
                      </a:cubicBezTo>
                      <a:lnTo>
                        <a:pt x="131" y="405"/>
                      </a:lnTo>
                      <a:close/>
                      <a:moveTo>
                        <a:pt x="131" y="266"/>
                      </a:moveTo>
                      <a:cubicBezTo>
                        <a:pt x="131" y="275"/>
                        <a:pt x="123" y="283"/>
                        <a:pt x="113" y="283"/>
                      </a:cubicBezTo>
                      <a:cubicBezTo>
                        <a:pt x="65" y="283"/>
                        <a:pt x="65" y="283"/>
                        <a:pt x="65" y="283"/>
                      </a:cubicBezTo>
                      <a:cubicBezTo>
                        <a:pt x="55" y="283"/>
                        <a:pt x="47" y="275"/>
                        <a:pt x="47" y="266"/>
                      </a:cubicBezTo>
                      <a:cubicBezTo>
                        <a:pt x="47" y="198"/>
                        <a:pt x="47" y="198"/>
                        <a:pt x="47" y="198"/>
                      </a:cubicBezTo>
                      <a:cubicBezTo>
                        <a:pt x="47" y="188"/>
                        <a:pt x="55" y="180"/>
                        <a:pt x="65" y="180"/>
                      </a:cubicBezTo>
                      <a:cubicBezTo>
                        <a:pt x="113" y="180"/>
                        <a:pt x="113" y="180"/>
                        <a:pt x="113" y="180"/>
                      </a:cubicBezTo>
                      <a:cubicBezTo>
                        <a:pt x="123" y="180"/>
                        <a:pt x="131" y="188"/>
                        <a:pt x="131" y="198"/>
                      </a:cubicBezTo>
                      <a:lnTo>
                        <a:pt x="131" y="266"/>
                      </a:lnTo>
                      <a:close/>
                      <a:moveTo>
                        <a:pt x="131" y="130"/>
                      </a:moveTo>
                      <a:cubicBezTo>
                        <a:pt x="131" y="140"/>
                        <a:pt x="123" y="148"/>
                        <a:pt x="113" y="148"/>
                      </a:cubicBezTo>
                      <a:cubicBezTo>
                        <a:pt x="65" y="148"/>
                        <a:pt x="65" y="148"/>
                        <a:pt x="65" y="148"/>
                      </a:cubicBezTo>
                      <a:cubicBezTo>
                        <a:pt x="55" y="148"/>
                        <a:pt x="47" y="140"/>
                        <a:pt x="47" y="130"/>
                      </a:cubicBezTo>
                      <a:cubicBezTo>
                        <a:pt x="47" y="63"/>
                        <a:pt x="47" y="63"/>
                        <a:pt x="47" y="63"/>
                      </a:cubicBezTo>
                      <a:cubicBezTo>
                        <a:pt x="47" y="53"/>
                        <a:pt x="55" y="45"/>
                        <a:pt x="65" y="45"/>
                      </a:cubicBezTo>
                      <a:cubicBezTo>
                        <a:pt x="113" y="45"/>
                        <a:pt x="113" y="45"/>
                        <a:pt x="113" y="45"/>
                      </a:cubicBezTo>
                      <a:cubicBezTo>
                        <a:pt x="123" y="45"/>
                        <a:pt x="131" y="53"/>
                        <a:pt x="131" y="63"/>
                      </a:cubicBezTo>
                      <a:lnTo>
                        <a:pt x="131" y="130"/>
                      </a:lnTo>
                      <a:close/>
                    </a:path>
                  </a:pathLst>
                </a:custGeom>
                <a:solidFill>
                  <a:schemeClr val="accent2"/>
                </a:solidFill>
                <a:ln w="25400" cap="flat" cmpd="sng" algn="ctr">
                  <a:noFill/>
                  <a:prstDash val="solid"/>
                  <a:headEnd type="none" w="med" len="med"/>
                  <a:tailEnd type="none" w="med" len="med"/>
                </a:ln>
                <a:effectLst/>
              </p:spPr>
              <p:txBody>
                <a:bodyPr vert="horz" wrap="square" lIns="69964" tIns="34982" rIns="69964" bIns="34982" numCol="1" anchor="t" anchorCtr="0" compatLnSpc="1">
                  <a:prstTxWarp prst="textNoShape">
                    <a:avLst/>
                  </a:prstTxWarp>
                </a:bodyPr>
                <a:lstStyle/>
                <a:p>
                  <a:pPr defTabSz="932559"/>
                  <a:endParaRPr lang="en-US" sz="1377">
                    <a:solidFill>
                      <a:srgbClr val="FFFFFF"/>
                    </a:solidFill>
                  </a:endParaRPr>
                </a:p>
              </p:txBody>
            </p:sp>
            <p:sp>
              <p:nvSpPr>
                <p:cNvPr id="213" name="Freeform 18"/>
                <p:cNvSpPr>
                  <a:spLocks noEditPoints="1"/>
                </p:cNvSpPr>
                <p:nvPr/>
              </p:nvSpPr>
              <p:spPr bwMode="auto">
                <a:xfrm>
                  <a:off x="5646738" y="5371809"/>
                  <a:ext cx="468313" cy="400050"/>
                </a:xfrm>
                <a:custGeom>
                  <a:avLst/>
                  <a:gdLst>
                    <a:gd name="T0" fmla="*/ 18 w 447"/>
                    <a:gd name="T1" fmla="*/ 0 h 382"/>
                    <a:gd name="T2" fmla="*/ 0 w 447"/>
                    <a:gd name="T3" fmla="*/ 18 h 382"/>
                    <a:gd name="T4" fmla="*/ 0 w 447"/>
                    <a:gd name="T5" fmla="*/ 364 h 382"/>
                    <a:gd name="T6" fmla="*/ 18 w 447"/>
                    <a:gd name="T7" fmla="*/ 382 h 382"/>
                    <a:gd name="T8" fmla="*/ 429 w 447"/>
                    <a:gd name="T9" fmla="*/ 382 h 382"/>
                    <a:gd name="T10" fmla="*/ 447 w 447"/>
                    <a:gd name="T11" fmla="*/ 364 h 382"/>
                    <a:gd name="T12" fmla="*/ 447 w 447"/>
                    <a:gd name="T13" fmla="*/ 18 h 382"/>
                    <a:gd name="T14" fmla="*/ 429 w 447"/>
                    <a:gd name="T15" fmla="*/ 0 h 382"/>
                    <a:gd name="T16" fmla="*/ 18 w 447"/>
                    <a:gd name="T17" fmla="*/ 0 h 382"/>
                    <a:gd name="T18" fmla="*/ 133 w 447"/>
                    <a:gd name="T19" fmla="*/ 301 h 382"/>
                    <a:gd name="T20" fmla="*/ 115 w 447"/>
                    <a:gd name="T21" fmla="*/ 319 h 382"/>
                    <a:gd name="T22" fmla="*/ 66 w 447"/>
                    <a:gd name="T23" fmla="*/ 319 h 382"/>
                    <a:gd name="T24" fmla="*/ 48 w 447"/>
                    <a:gd name="T25" fmla="*/ 301 h 382"/>
                    <a:gd name="T26" fmla="*/ 48 w 447"/>
                    <a:gd name="T27" fmla="*/ 232 h 382"/>
                    <a:gd name="T28" fmla="*/ 66 w 447"/>
                    <a:gd name="T29" fmla="*/ 214 h 382"/>
                    <a:gd name="T30" fmla="*/ 115 w 447"/>
                    <a:gd name="T31" fmla="*/ 214 h 382"/>
                    <a:gd name="T32" fmla="*/ 133 w 447"/>
                    <a:gd name="T33" fmla="*/ 232 h 382"/>
                    <a:gd name="T34" fmla="*/ 133 w 447"/>
                    <a:gd name="T35" fmla="*/ 301 h 382"/>
                    <a:gd name="T36" fmla="*/ 133 w 447"/>
                    <a:gd name="T37" fmla="*/ 146 h 382"/>
                    <a:gd name="T38" fmla="*/ 115 w 447"/>
                    <a:gd name="T39" fmla="*/ 164 h 382"/>
                    <a:gd name="T40" fmla="*/ 66 w 447"/>
                    <a:gd name="T41" fmla="*/ 164 h 382"/>
                    <a:gd name="T42" fmla="*/ 48 w 447"/>
                    <a:gd name="T43" fmla="*/ 146 h 382"/>
                    <a:gd name="T44" fmla="*/ 48 w 447"/>
                    <a:gd name="T45" fmla="*/ 77 h 382"/>
                    <a:gd name="T46" fmla="*/ 66 w 447"/>
                    <a:gd name="T47" fmla="*/ 59 h 382"/>
                    <a:gd name="T48" fmla="*/ 115 w 447"/>
                    <a:gd name="T49" fmla="*/ 59 h 382"/>
                    <a:gd name="T50" fmla="*/ 133 w 447"/>
                    <a:gd name="T51" fmla="*/ 77 h 382"/>
                    <a:gd name="T52" fmla="*/ 133 w 447"/>
                    <a:gd name="T53" fmla="*/ 146 h 382"/>
                    <a:gd name="T54" fmla="*/ 266 w 447"/>
                    <a:gd name="T55" fmla="*/ 301 h 382"/>
                    <a:gd name="T56" fmla="*/ 248 w 447"/>
                    <a:gd name="T57" fmla="*/ 319 h 382"/>
                    <a:gd name="T58" fmla="*/ 199 w 447"/>
                    <a:gd name="T59" fmla="*/ 319 h 382"/>
                    <a:gd name="T60" fmla="*/ 181 w 447"/>
                    <a:gd name="T61" fmla="*/ 301 h 382"/>
                    <a:gd name="T62" fmla="*/ 181 w 447"/>
                    <a:gd name="T63" fmla="*/ 232 h 382"/>
                    <a:gd name="T64" fmla="*/ 199 w 447"/>
                    <a:gd name="T65" fmla="*/ 214 h 382"/>
                    <a:gd name="T66" fmla="*/ 248 w 447"/>
                    <a:gd name="T67" fmla="*/ 214 h 382"/>
                    <a:gd name="T68" fmla="*/ 266 w 447"/>
                    <a:gd name="T69" fmla="*/ 232 h 382"/>
                    <a:gd name="T70" fmla="*/ 266 w 447"/>
                    <a:gd name="T71" fmla="*/ 301 h 382"/>
                    <a:gd name="T72" fmla="*/ 266 w 447"/>
                    <a:gd name="T73" fmla="*/ 146 h 382"/>
                    <a:gd name="T74" fmla="*/ 248 w 447"/>
                    <a:gd name="T75" fmla="*/ 164 h 382"/>
                    <a:gd name="T76" fmla="*/ 199 w 447"/>
                    <a:gd name="T77" fmla="*/ 164 h 382"/>
                    <a:gd name="T78" fmla="*/ 181 w 447"/>
                    <a:gd name="T79" fmla="*/ 146 h 382"/>
                    <a:gd name="T80" fmla="*/ 181 w 447"/>
                    <a:gd name="T81" fmla="*/ 77 h 382"/>
                    <a:gd name="T82" fmla="*/ 199 w 447"/>
                    <a:gd name="T83" fmla="*/ 59 h 382"/>
                    <a:gd name="T84" fmla="*/ 248 w 447"/>
                    <a:gd name="T85" fmla="*/ 59 h 382"/>
                    <a:gd name="T86" fmla="*/ 266 w 447"/>
                    <a:gd name="T87" fmla="*/ 77 h 382"/>
                    <a:gd name="T88" fmla="*/ 266 w 447"/>
                    <a:gd name="T89" fmla="*/ 146 h 382"/>
                    <a:gd name="T90" fmla="*/ 401 w 447"/>
                    <a:gd name="T91" fmla="*/ 301 h 382"/>
                    <a:gd name="T92" fmla="*/ 383 w 447"/>
                    <a:gd name="T93" fmla="*/ 319 h 382"/>
                    <a:gd name="T94" fmla="*/ 334 w 447"/>
                    <a:gd name="T95" fmla="*/ 319 h 382"/>
                    <a:gd name="T96" fmla="*/ 316 w 447"/>
                    <a:gd name="T97" fmla="*/ 301 h 382"/>
                    <a:gd name="T98" fmla="*/ 316 w 447"/>
                    <a:gd name="T99" fmla="*/ 232 h 382"/>
                    <a:gd name="T100" fmla="*/ 334 w 447"/>
                    <a:gd name="T101" fmla="*/ 214 h 382"/>
                    <a:gd name="T102" fmla="*/ 383 w 447"/>
                    <a:gd name="T103" fmla="*/ 214 h 382"/>
                    <a:gd name="T104" fmla="*/ 401 w 447"/>
                    <a:gd name="T105" fmla="*/ 232 h 382"/>
                    <a:gd name="T106" fmla="*/ 401 w 447"/>
                    <a:gd name="T107" fmla="*/ 301 h 382"/>
                    <a:gd name="T108" fmla="*/ 401 w 447"/>
                    <a:gd name="T109" fmla="*/ 146 h 382"/>
                    <a:gd name="T110" fmla="*/ 383 w 447"/>
                    <a:gd name="T111" fmla="*/ 164 h 382"/>
                    <a:gd name="T112" fmla="*/ 334 w 447"/>
                    <a:gd name="T113" fmla="*/ 164 h 382"/>
                    <a:gd name="T114" fmla="*/ 316 w 447"/>
                    <a:gd name="T115" fmla="*/ 146 h 382"/>
                    <a:gd name="T116" fmla="*/ 316 w 447"/>
                    <a:gd name="T117" fmla="*/ 77 h 382"/>
                    <a:gd name="T118" fmla="*/ 334 w 447"/>
                    <a:gd name="T119" fmla="*/ 59 h 382"/>
                    <a:gd name="T120" fmla="*/ 383 w 447"/>
                    <a:gd name="T121" fmla="*/ 59 h 382"/>
                    <a:gd name="T122" fmla="*/ 401 w 447"/>
                    <a:gd name="T123" fmla="*/ 77 h 382"/>
                    <a:gd name="T124" fmla="*/ 401 w 447"/>
                    <a:gd name="T125" fmla="*/ 146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7" h="382">
                      <a:moveTo>
                        <a:pt x="18" y="0"/>
                      </a:moveTo>
                      <a:cubicBezTo>
                        <a:pt x="8" y="0"/>
                        <a:pt x="0" y="8"/>
                        <a:pt x="0" y="18"/>
                      </a:cubicBezTo>
                      <a:cubicBezTo>
                        <a:pt x="0" y="364"/>
                        <a:pt x="0" y="364"/>
                        <a:pt x="0" y="364"/>
                      </a:cubicBezTo>
                      <a:cubicBezTo>
                        <a:pt x="0" y="374"/>
                        <a:pt x="8" y="382"/>
                        <a:pt x="18" y="382"/>
                      </a:cubicBezTo>
                      <a:cubicBezTo>
                        <a:pt x="429" y="382"/>
                        <a:pt x="429" y="382"/>
                        <a:pt x="429" y="382"/>
                      </a:cubicBezTo>
                      <a:cubicBezTo>
                        <a:pt x="439" y="382"/>
                        <a:pt x="447" y="374"/>
                        <a:pt x="447" y="364"/>
                      </a:cubicBezTo>
                      <a:cubicBezTo>
                        <a:pt x="447" y="18"/>
                        <a:pt x="447" y="18"/>
                        <a:pt x="447" y="18"/>
                      </a:cubicBezTo>
                      <a:cubicBezTo>
                        <a:pt x="447" y="8"/>
                        <a:pt x="439" y="0"/>
                        <a:pt x="429" y="0"/>
                      </a:cubicBezTo>
                      <a:lnTo>
                        <a:pt x="18" y="0"/>
                      </a:lnTo>
                      <a:close/>
                      <a:moveTo>
                        <a:pt x="133" y="301"/>
                      </a:moveTo>
                      <a:cubicBezTo>
                        <a:pt x="133" y="311"/>
                        <a:pt x="125" y="319"/>
                        <a:pt x="115" y="319"/>
                      </a:cubicBezTo>
                      <a:cubicBezTo>
                        <a:pt x="66" y="319"/>
                        <a:pt x="66" y="319"/>
                        <a:pt x="66" y="319"/>
                      </a:cubicBezTo>
                      <a:cubicBezTo>
                        <a:pt x="56" y="319"/>
                        <a:pt x="48" y="311"/>
                        <a:pt x="48" y="301"/>
                      </a:cubicBezTo>
                      <a:cubicBezTo>
                        <a:pt x="48" y="232"/>
                        <a:pt x="48" y="232"/>
                        <a:pt x="48" y="232"/>
                      </a:cubicBezTo>
                      <a:cubicBezTo>
                        <a:pt x="48" y="222"/>
                        <a:pt x="56" y="214"/>
                        <a:pt x="66" y="214"/>
                      </a:cubicBezTo>
                      <a:cubicBezTo>
                        <a:pt x="115" y="214"/>
                        <a:pt x="115" y="214"/>
                        <a:pt x="115" y="214"/>
                      </a:cubicBezTo>
                      <a:cubicBezTo>
                        <a:pt x="125" y="214"/>
                        <a:pt x="133" y="222"/>
                        <a:pt x="133" y="232"/>
                      </a:cubicBezTo>
                      <a:lnTo>
                        <a:pt x="133" y="301"/>
                      </a:lnTo>
                      <a:close/>
                      <a:moveTo>
                        <a:pt x="133" y="146"/>
                      </a:moveTo>
                      <a:cubicBezTo>
                        <a:pt x="133" y="156"/>
                        <a:pt x="125" y="164"/>
                        <a:pt x="115" y="164"/>
                      </a:cubicBezTo>
                      <a:cubicBezTo>
                        <a:pt x="66" y="164"/>
                        <a:pt x="66" y="164"/>
                        <a:pt x="66" y="164"/>
                      </a:cubicBezTo>
                      <a:cubicBezTo>
                        <a:pt x="56" y="164"/>
                        <a:pt x="48" y="156"/>
                        <a:pt x="48" y="146"/>
                      </a:cubicBezTo>
                      <a:cubicBezTo>
                        <a:pt x="48" y="77"/>
                        <a:pt x="48" y="77"/>
                        <a:pt x="48" y="77"/>
                      </a:cubicBezTo>
                      <a:cubicBezTo>
                        <a:pt x="48" y="67"/>
                        <a:pt x="56" y="59"/>
                        <a:pt x="66" y="59"/>
                      </a:cubicBezTo>
                      <a:cubicBezTo>
                        <a:pt x="115" y="59"/>
                        <a:pt x="115" y="59"/>
                        <a:pt x="115" y="59"/>
                      </a:cubicBezTo>
                      <a:cubicBezTo>
                        <a:pt x="125" y="59"/>
                        <a:pt x="133" y="67"/>
                        <a:pt x="133" y="77"/>
                      </a:cubicBezTo>
                      <a:lnTo>
                        <a:pt x="133" y="146"/>
                      </a:lnTo>
                      <a:close/>
                      <a:moveTo>
                        <a:pt x="266" y="301"/>
                      </a:moveTo>
                      <a:cubicBezTo>
                        <a:pt x="266" y="311"/>
                        <a:pt x="258" y="319"/>
                        <a:pt x="248" y="319"/>
                      </a:cubicBezTo>
                      <a:cubicBezTo>
                        <a:pt x="199" y="319"/>
                        <a:pt x="199" y="319"/>
                        <a:pt x="199" y="319"/>
                      </a:cubicBezTo>
                      <a:cubicBezTo>
                        <a:pt x="189" y="319"/>
                        <a:pt x="181" y="311"/>
                        <a:pt x="181" y="301"/>
                      </a:cubicBezTo>
                      <a:cubicBezTo>
                        <a:pt x="181" y="232"/>
                        <a:pt x="181" y="232"/>
                        <a:pt x="181" y="232"/>
                      </a:cubicBezTo>
                      <a:cubicBezTo>
                        <a:pt x="181" y="222"/>
                        <a:pt x="189" y="214"/>
                        <a:pt x="199" y="214"/>
                      </a:cubicBezTo>
                      <a:cubicBezTo>
                        <a:pt x="248" y="214"/>
                        <a:pt x="248" y="214"/>
                        <a:pt x="248" y="214"/>
                      </a:cubicBezTo>
                      <a:cubicBezTo>
                        <a:pt x="258" y="214"/>
                        <a:pt x="266" y="222"/>
                        <a:pt x="266" y="232"/>
                      </a:cubicBezTo>
                      <a:lnTo>
                        <a:pt x="266" y="301"/>
                      </a:lnTo>
                      <a:close/>
                      <a:moveTo>
                        <a:pt x="266" y="146"/>
                      </a:moveTo>
                      <a:cubicBezTo>
                        <a:pt x="266" y="156"/>
                        <a:pt x="258" y="164"/>
                        <a:pt x="248" y="164"/>
                      </a:cubicBezTo>
                      <a:cubicBezTo>
                        <a:pt x="199" y="164"/>
                        <a:pt x="199" y="164"/>
                        <a:pt x="199" y="164"/>
                      </a:cubicBezTo>
                      <a:cubicBezTo>
                        <a:pt x="189" y="164"/>
                        <a:pt x="181" y="156"/>
                        <a:pt x="181" y="146"/>
                      </a:cubicBezTo>
                      <a:cubicBezTo>
                        <a:pt x="181" y="77"/>
                        <a:pt x="181" y="77"/>
                        <a:pt x="181" y="77"/>
                      </a:cubicBezTo>
                      <a:cubicBezTo>
                        <a:pt x="181" y="67"/>
                        <a:pt x="189" y="59"/>
                        <a:pt x="199" y="59"/>
                      </a:cubicBezTo>
                      <a:cubicBezTo>
                        <a:pt x="248" y="59"/>
                        <a:pt x="248" y="59"/>
                        <a:pt x="248" y="59"/>
                      </a:cubicBezTo>
                      <a:cubicBezTo>
                        <a:pt x="258" y="59"/>
                        <a:pt x="266" y="67"/>
                        <a:pt x="266" y="77"/>
                      </a:cubicBezTo>
                      <a:lnTo>
                        <a:pt x="266" y="146"/>
                      </a:lnTo>
                      <a:close/>
                      <a:moveTo>
                        <a:pt x="401" y="301"/>
                      </a:moveTo>
                      <a:cubicBezTo>
                        <a:pt x="401" y="311"/>
                        <a:pt x="393" y="319"/>
                        <a:pt x="383" y="319"/>
                      </a:cubicBezTo>
                      <a:cubicBezTo>
                        <a:pt x="334" y="319"/>
                        <a:pt x="334" y="319"/>
                        <a:pt x="334" y="319"/>
                      </a:cubicBezTo>
                      <a:cubicBezTo>
                        <a:pt x="324" y="319"/>
                        <a:pt x="316" y="311"/>
                        <a:pt x="316" y="301"/>
                      </a:cubicBezTo>
                      <a:cubicBezTo>
                        <a:pt x="316" y="232"/>
                        <a:pt x="316" y="232"/>
                        <a:pt x="316" y="232"/>
                      </a:cubicBezTo>
                      <a:cubicBezTo>
                        <a:pt x="316" y="222"/>
                        <a:pt x="324" y="214"/>
                        <a:pt x="334" y="214"/>
                      </a:cubicBezTo>
                      <a:cubicBezTo>
                        <a:pt x="383" y="214"/>
                        <a:pt x="383" y="214"/>
                        <a:pt x="383" y="214"/>
                      </a:cubicBezTo>
                      <a:cubicBezTo>
                        <a:pt x="393" y="214"/>
                        <a:pt x="401" y="222"/>
                        <a:pt x="401" y="232"/>
                      </a:cubicBezTo>
                      <a:lnTo>
                        <a:pt x="401" y="301"/>
                      </a:lnTo>
                      <a:close/>
                      <a:moveTo>
                        <a:pt x="401" y="146"/>
                      </a:moveTo>
                      <a:cubicBezTo>
                        <a:pt x="401" y="156"/>
                        <a:pt x="393" y="164"/>
                        <a:pt x="383" y="164"/>
                      </a:cubicBezTo>
                      <a:cubicBezTo>
                        <a:pt x="334" y="164"/>
                        <a:pt x="334" y="164"/>
                        <a:pt x="334" y="164"/>
                      </a:cubicBezTo>
                      <a:cubicBezTo>
                        <a:pt x="324" y="164"/>
                        <a:pt x="316" y="156"/>
                        <a:pt x="316" y="146"/>
                      </a:cubicBezTo>
                      <a:cubicBezTo>
                        <a:pt x="316" y="77"/>
                        <a:pt x="316" y="77"/>
                        <a:pt x="316" y="77"/>
                      </a:cubicBezTo>
                      <a:cubicBezTo>
                        <a:pt x="316" y="67"/>
                        <a:pt x="324" y="59"/>
                        <a:pt x="334" y="59"/>
                      </a:cubicBezTo>
                      <a:cubicBezTo>
                        <a:pt x="383" y="59"/>
                        <a:pt x="383" y="59"/>
                        <a:pt x="383" y="59"/>
                      </a:cubicBezTo>
                      <a:cubicBezTo>
                        <a:pt x="393" y="59"/>
                        <a:pt x="401" y="67"/>
                        <a:pt x="401" y="77"/>
                      </a:cubicBezTo>
                      <a:lnTo>
                        <a:pt x="401" y="146"/>
                      </a:lnTo>
                      <a:close/>
                    </a:path>
                  </a:pathLst>
                </a:custGeom>
                <a:solidFill>
                  <a:schemeClr val="accent2"/>
                </a:solidFill>
                <a:ln w="25400" cap="flat" cmpd="sng" algn="ctr">
                  <a:noFill/>
                  <a:prstDash val="solid"/>
                  <a:headEnd type="none" w="med" len="med"/>
                  <a:tailEnd type="none" w="med" len="med"/>
                </a:ln>
                <a:effectLst/>
              </p:spPr>
              <p:txBody>
                <a:bodyPr vert="horz" wrap="square" lIns="69964" tIns="34982" rIns="69964" bIns="34982" numCol="1" anchor="t" anchorCtr="0" compatLnSpc="1">
                  <a:prstTxWarp prst="textNoShape">
                    <a:avLst/>
                  </a:prstTxWarp>
                </a:bodyPr>
                <a:lstStyle/>
                <a:p>
                  <a:pPr defTabSz="932559"/>
                  <a:endParaRPr lang="en-US" sz="1377">
                    <a:solidFill>
                      <a:srgbClr val="FFFFFF"/>
                    </a:solidFill>
                  </a:endParaRPr>
                </a:p>
              </p:txBody>
            </p:sp>
          </p:grpSp>
        </p:grpSp>
        <p:grpSp>
          <p:nvGrpSpPr>
            <p:cNvPr id="214" name="Group 213"/>
            <p:cNvGrpSpPr/>
            <p:nvPr/>
          </p:nvGrpSpPr>
          <p:grpSpPr>
            <a:xfrm>
              <a:off x="2236832" y="4058024"/>
              <a:ext cx="1387704" cy="552290"/>
              <a:chOff x="950195" y="4267479"/>
              <a:chExt cx="1849790" cy="736195"/>
            </a:xfrm>
          </p:grpSpPr>
          <p:grpSp>
            <p:nvGrpSpPr>
              <p:cNvPr id="215" name="Group 214"/>
              <p:cNvGrpSpPr/>
              <p:nvPr/>
            </p:nvGrpSpPr>
            <p:grpSpPr>
              <a:xfrm>
                <a:off x="1054465" y="4267479"/>
                <a:ext cx="1745520" cy="599796"/>
                <a:chOff x="971306" y="4286529"/>
                <a:chExt cx="1911837" cy="656946"/>
              </a:xfrm>
            </p:grpSpPr>
            <p:grpSp>
              <p:nvGrpSpPr>
                <p:cNvPr id="217" name="Group 216"/>
                <p:cNvGrpSpPr/>
                <p:nvPr/>
              </p:nvGrpSpPr>
              <p:grpSpPr>
                <a:xfrm>
                  <a:off x="971306" y="4372114"/>
                  <a:ext cx="845378" cy="485776"/>
                  <a:chOff x="1309291" y="4557161"/>
                  <a:chExt cx="556258" cy="319640"/>
                </a:xfrm>
              </p:grpSpPr>
              <p:sp>
                <p:nvSpPr>
                  <p:cNvPr id="223" name="Freeform 34"/>
                  <p:cNvSpPr>
                    <a:spLocks noEditPoints="1"/>
                  </p:cNvSpPr>
                  <p:nvPr/>
                </p:nvSpPr>
                <p:spPr bwMode="auto">
                  <a:xfrm>
                    <a:off x="1309291" y="4557161"/>
                    <a:ext cx="154970" cy="319640"/>
                  </a:xfrm>
                  <a:custGeom>
                    <a:avLst/>
                    <a:gdLst>
                      <a:gd name="T0" fmla="*/ 648 w 812"/>
                      <a:gd name="T1" fmla="*/ 917 h 1674"/>
                      <a:gd name="T2" fmla="*/ 648 w 812"/>
                      <a:gd name="T3" fmla="*/ 1034 h 1674"/>
                      <a:gd name="T4" fmla="*/ 596 w 812"/>
                      <a:gd name="T5" fmla="*/ 1038 h 1674"/>
                      <a:gd name="T6" fmla="*/ 366 w 812"/>
                      <a:gd name="T7" fmla="*/ 1038 h 1674"/>
                      <a:gd name="T8" fmla="*/ 163 w 812"/>
                      <a:gd name="T9" fmla="*/ 1038 h 1674"/>
                      <a:gd name="T10" fmla="*/ 159 w 812"/>
                      <a:gd name="T11" fmla="*/ 917 h 1674"/>
                      <a:gd name="T12" fmla="*/ 215 w 812"/>
                      <a:gd name="T13" fmla="*/ 908 h 1674"/>
                      <a:gd name="T14" fmla="*/ 439 w 812"/>
                      <a:gd name="T15" fmla="*/ 908 h 1674"/>
                      <a:gd name="T16" fmla="*/ 640 w 812"/>
                      <a:gd name="T17" fmla="*/ 908 h 1674"/>
                      <a:gd name="T18" fmla="*/ 575 w 812"/>
                      <a:gd name="T19" fmla="*/ 695 h 1674"/>
                      <a:gd name="T20" fmla="*/ 318 w 812"/>
                      <a:gd name="T21" fmla="*/ 695 h 1674"/>
                      <a:gd name="T22" fmla="*/ 163 w 812"/>
                      <a:gd name="T23" fmla="*/ 695 h 1674"/>
                      <a:gd name="T24" fmla="*/ 159 w 812"/>
                      <a:gd name="T25" fmla="*/ 816 h 1674"/>
                      <a:gd name="T26" fmla="*/ 230 w 812"/>
                      <a:gd name="T27" fmla="*/ 825 h 1674"/>
                      <a:gd name="T28" fmla="*/ 487 w 812"/>
                      <a:gd name="T29" fmla="*/ 825 h 1674"/>
                      <a:gd name="T30" fmla="*/ 640 w 812"/>
                      <a:gd name="T31" fmla="*/ 825 h 1674"/>
                      <a:gd name="T32" fmla="*/ 648 w 812"/>
                      <a:gd name="T33" fmla="*/ 816 h 1674"/>
                      <a:gd name="T34" fmla="*/ 640 w 812"/>
                      <a:gd name="T35" fmla="*/ 695 h 1674"/>
                      <a:gd name="T36" fmla="*/ 575 w 812"/>
                      <a:gd name="T37" fmla="*/ 486 h 1674"/>
                      <a:gd name="T38" fmla="*/ 318 w 812"/>
                      <a:gd name="T39" fmla="*/ 486 h 1674"/>
                      <a:gd name="T40" fmla="*/ 163 w 812"/>
                      <a:gd name="T41" fmla="*/ 486 h 1674"/>
                      <a:gd name="T42" fmla="*/ 159 w 812"/>
                      <a:gd name="T43" fmla="*/ 607 h 1674"/>
                      <a:gd name="T44" fmla="*/ 230 w 812"/>
                      <a:gd name="T45" fmla="*/ 615 h 1674"/>
                      <a:gd name="T46" fmla="*/ 487 w 812"/>
                      <a:gd name="T47" fmla="*/ 615 h 1674"/>
                      <a:gd name="T48" fmla="*/ 640 w 812"/>
                      <a:gd name="T49" fmla="*/ 615 h 1674"/>
                      <a:gd name="T50" fmla="*/ 648 w 812"/>
                      <a:gd name="T51" fmla="*/ 607 h 1674"/>
                      <a:gd name="T52" fmla="*/ 640 w 812"/>
                      <a:gd name="T53" fmla="*/ 486 h 1674"/>
                      <a:gd name="T54" fmla="*/ 575 w 812"/>
                      <a:gd name="T55" fmla="*/ 276 h 1674"/>
                      <a:gd name="T56" fmla="*/ 318 w 812"/>
                      <a:gd name="T57" fmla="*/ 276 h 1674"/>
                      <a:gd name="T58" fmla="*/ 163 w 812"/>
                      <a:gd name="T59" fmla="*/ 276 h 1674"/>
                      <a:gd name="T60" fmla="*/ 159 w 812"/>
                      <a:gd name="T61" fmla="*/ 392 h 1674"/>
                      <a:gd name="T62" fmla="*/ 230 w 812"/>
                      <a:gd name="T63" fmla="*/ 398 h 1674"/>
                      <a:gd name="T64" fmla="*/ 487 w 812"/>
                      <a:gd name="T65" fmla="*/ 398 h 1674"/>
                      <a:gd name="T66" fmla="*/ 640 w 812"/>
                      <a:gd name="T67" fmla="*/ 398 h 1674"/>
                      <a:gd name="T68" fmla="*/ 648 w 812"/>
                      <a:gd name="T69" fmla="*/ 392 h 1674"/>
                      <a:gd name="T70" fmla="*/ 640 w 812"/>
                      <a:gd name="T71" fmla="*/ 276 h 1674"/>
                      <a:gd name="T72" fmla="*/ 812 w 812"/>
                      <a:gd name="T73" fmla="*/ 169 h 1674"/>
                      <a:gd name="T74" fmla="*/ 755 w 812"/>
                      <a:gd name="T75" fmla="*/ 1674 h 1674"/>
                      <a:gd name="T76" fmla="*/ 0 w 812"/>
                      <a:gd name="T77" fmla="*/ 1618 h 1674"/>
                      <a:gd name="T78" fmla="*/ 46 w 812"/>
                      <a:gd name="T79" fmla="*/ 79 h 1674"/>
                      <a:gd name="T80" fmla="*/ 215 w 812"/>
                      <a:gd name="T81" fmla="*/ 0 h 1674"/>
                      <a:gd name="T82" fmla="*/ 699 w 812"/>
                      <a:gd name="T83" fmla="*/ 34 h 1674"/>
                      <a:gd name="T84" fmla="*/ 745 w 812"/>
                      <a:gd name="T85" fmla="*/ 1576 h 1674"/>
                      <a:gd name="T86" fmla="*/ 62 w 812"/>
                      <a:gd name="T87" fmla="*/ 1524 h 1674"/>
                      <a:gd name="T88" fmla="*/ 745 w 812"/>
                      <a:gd name="T89" fmla="*/ 1576 h 1674"/>
                      <a:gd name="T90" fmla="*/ 115 w 812"/>
                      <a:gd name="T91" fmla="*/ 1460 h 1674"/>
                      <a:gd name="T92" fmla="*/ 115 w 812"/>
                      <a:gd name="T93" fmla="*/ 1360 h 1674"/>
                      <a:gd name="T94" fmla="*/ 251 w 812"/>
                      <a:gd name="T95" fmla="*/ 1410 h 1674"/>
                      <a:gd name="T96" fmla="*/ 351 w 812"/>
                      <a:gd name="T97" fmla="*/ 1410 h 1674"/>
                      <a:gd name="T98" fmla="*/ 251 w 812"/>
                      <a:gd name="T99" fmla="*/ 1410 h 1674"/>
                      <a:gd name="T100" fmla="*/ 745 w 812"/>
                      <a:gd name="T101" fmla="*/ 1226 h 1674"/>
                      <a:gd name="T102" fmla="*/ 62 w 812"/>
                      <a:gd name="T103" fmla="*/ 1282 h 1674"/>
                      <a:gd name="T104" fmla="*/ 745 w 812"/>
                      <a:gd name="T105" fmla="*/ 1080 h 1674"/>
                      <a:gd name="T106" fmla="*/ 745 w 812"/>
                      <a:gd name="T107" fmla="*/ 236 h 1674"/>
                      <a:gd name="T108" fmla="*/ 119 w 812"/>
                      <a:gd name="T109" fmla="*/ 179 h 1674"/>
                      <a:gd name="T110" fmla="*/ 62 w 812"/>
                      <a:gd name="T111" fmla="*/ 1080 h 1674"/>
                      <a:gd name="T112" fmla="*/ 106 w 812"/>
                      <a:gd name="T113" fmla="*/ 1137 h 1674"/>
                      <a:gd name="T114" fmla="*/ 452 w 812"/>
                      <a:gd name="T115" fmla="*/ 1137 h 1674"/>
                      <a:gd name="T116" fmla="*/ 692 w 812"/>
                      <a:gd name="T117" fmla="*/ 1137 h 1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12" h="1674">
                        <a:moveTo>
                          <a:pt x="640" y="908"/>
                        </a:moveTo>
                        <a:cubicBezTo>
                          <a:pt x="644" y="908"/>
                          <a:pt x="648" y="913"/>
                          <a:pt x="648" y="917"/>
                        </a:cubicBezTo>
                        <a:cubicBezTo>
                          <a:pt x="648" y="954"/>
                          <a:pt x="648" y="994"/>
                          <a:pt x="648" y="1032"/>
                        </a:cubicBezTo>
                        <a:cubicBezTo>
                          <a:pt x="648" y="1032"/>
                          <a:pt x="648" y="1032"/>
                          <a:pt x="648" y="1034"/>
                        </a:cubicBezTo>
                        <a:cubicBezTo>
                          <a:pt x="644" y="1038"/>
                          <a:pt x="644" y="1038"/>
                          <a:pt x="640" y="1038"/>
                        </a:cubicBezTo>
                        <a:cubicBezTo>
                          <a:pt x="628" y="1038"/>
                          <a:pt x="609" y="1038"/>
                          <a:pt x="596" y="1038"/>
                        </a:cubicBezTo>
                        <a:cubicBezTo>
                          <a:pt x="535" y="1038"/>
                          <a:pt x="544" y="1038"/>
                          <a:pt x="487" y="1038"/>
                        </a:cubicBezTo>
                        <a:cubicBezTo>
                          <a:pt x="416" y="1038"/>
                          <a:pt x="439" y="1038"/>
                          <a:pt x="366" y="1038"/>
                        </a:cubicBezTo>
                        <a:cubicBezTo>
                          <a:pt x="307" y="1038"/>
                          <a:pt x="291" y="1038"/>
                          <a:pt x="230" y="1038"/>
                        </a:cubicBezTo>
                        <a:cubicBezTo>
                          <a:pt x="203" y="1038"/>
                          <a:pt x="190" y="1038"/>
                          <a:pt x="163" y="1038"/>
                        </a:cubicBezTo>
                        <a:cubicBezTo>
                          <a:pt x="159" y="1038"/>
                          <a:pt x="159" y="1032"/>
                          <a:pt x="159" y="1032"/>
                        </a:cubicBezTo>
                        <a:cubicBezTo>
                          <a:pt x="159" y="994"/>
                          <a:pt x="159" y="954"/>
                          <a:pt x="159" y="917"/>
                        </a:cubicBezTo>
                        <a:cubicBezTo>
                          <a:pt x="159" y="913"/>
                          <a:pt x="159" y="908"/>
                          <a:pt x="163" y="908"/>
                        </a:cubicBezTo>
                        <a:cubicBezTo>
                          <a:pt x="184" y="908"/>
                          <a:pt x="194" y="908"/>
                          <a:pt x="215" y="908"/>
                        </a:cubicBezTo>
                        <a:cubicBezTo>
                          <a:pt x="268" y="908"/>
                          <a:pt x="263" y="908"/>
                          <a:pt x="318" y="908"/>
                        </a:cubicBezTo>
                        <a:cubicBezTo>
                          <a:pt x="391" y="908"/>
                          <a:pt x="368" y="908"/>
                          <a:pt x="439" y="908"/>
                        </a:cubicBezTo>
                        <a:cubicBezTo>
                          <a:pt x="500" y="908"/>
                          <a:pt x="517" y="908"/>
                          <a:pt x="575" y="908"/>
                        </a:cubicBezTo>
                        <a:cubicBezTo>
                          <a:pt x="605" y="908"/>
                          <a:pt x="615" y="908"/>
                          <a:pt x="640" y="908"/>
                        </a:cubicBezTo>
                        <a:close/>
                        <a:moveTo>
                          <a:pt x="640" y="695"/>
                        </a:moveTo>
                        <a:cubicBezTo>
                          <a:pt x="615" y="695"/>
                          <a:pt x="605" y="695"/>
                          <a:pt x="575" y="695"/>
                        </a:cubicBezTo>
                        <a:cubicBezTo>
                          <a:pt x="517" y="695"/>
                          <a:pt x="500" y="695"/>
                          <a:pt x="439" y="695"/>
                        </a:cubicBezTo>
                        <a:cubicBezTo>
                          <a:pt x="368" y="695"/>
                          <a:pt x="391" y="695"/>
                          <a:pt x="318" y="695"/>
                        </a:cubicBezTo>
                        <a:cubicBezTo>
                          <a:pt x="263" y="695"/>
                          <a:pt x="268" y="695"/>
                          <a:pt x="215" y="695"/>
                        </a:cubicBezTo>
                        <a:cubicBezTo>
                          <a:pt x="194" y="695"/>
                          <a:pt x="184" y="695"/>
                          <a:pt x="163" y="695"/>
                        </a:cubicBezTo>
                        <a:cubicBezTo>
                          <a:pt x="159" y="695"/>
                          <a:pt x="159" y="699"/>
                          <a:pt x="159" y="703"/>
                        </a:cubicBezTo>
                        <a:cubicBezTo>
                          <a:pt x="159" y="739"/>
                          <a:pt x="159" y="781"/>
                          <a:pt x="159" y="816"/>
                        </a:cubicBezTo>
                        <a:cubicBezTo>
                          <a:pt x="159" y="821"/>
                          <a:pt x="159" y="825"/>
                          <a:pt x="163" y="825"/>
                        </a:cubicBezTo>
                        <a:cubicBezTo>
                          <a:pt x="190" y="825"/>
                          <a:pt x="203" y="825"/>
                          <a:pt x="230" y="825"/>
                        </a:cubicBezTo>
                        <a:cubicBezTo>
                          <a:pt x="291" y="825"/>
                          <a:pt x="307" y="825"/>
                          <a:pt x="366" y="825"/>
                        </a:cubicBezTo>
                        <a:cubicBezTo>
                          <a:pt x="439" y="825"/>
                          <a:pt x="416" y="825"/>
                          <a:pt x="487" y="825"/>
                        </a:cubicBezTo>
                        <a:cubicBezTo>
                          <a:pt x="544" y="825"/>
                          <a:pt x="535" y="825"/>
                          <a:pt x="596" y="825"/>
                        </a:cubicBezTo>
                        <a:cubicBezTo>
                          <a:pt x="609" y="825"/>
                          <a:pt x="628" y="825"/>
                          <a:pt x="640" y="825"/>
                        </a:cubicBezTo>
                        <a:cubicBezTo>
                          <a:pt x="644" y="825"/>
                          <a:pt x="644" y="825"/>
                          <a:pt x="648" y="825"/>
                        </a:cubicBezTo>
                        <a:cubicBezTo>
                          <a:pt x="648" y="821"/>
                          <a:pt x="648" y="821"/>
                          <a:pt x="648" y="816"/>
                        </a:cubicBezTo>
                        <a:cubicBezTo>
                          <a:pt x="648" y="781"/>
                          <a:pt x="648" y="739"/>
                          <a:pt x="648" y="703"/>
                        </a:cubicBezTo>
                        <a:cubicBezTo>
                          <a:pt x="648" y="699"/>
                          <a:pt x="644" y="695"/>
                          <a:pt x="640" y="695"/>
                        </a:cubicBezTo>
                        <a:close/>
                        <a:moveTo>
                          <a:pt x="640" y="486"/>
                        </a:moveTo>
                        <a:cubicBezTo>
                          <a:pt x="615" y="486"/>
                          <a:pt x="605" y="486"/>
                          <a:pt x="575" y="486"/>
                        </a:cubicBezTo>
                        <a:cubicBezTo>
                          <a:pt x="517" y="486"/>
                          <a:pt x="500" y="486"/>
                          <a:pt x="439" y="486"/>
                        </a:cubicBezTo>
                        <a:cubicBezTo>
                          <a:pt x="368" y="486"/>
                          <a:pt x="391" y="486"/>
                          <a:pt x="318" y="486"/>
                        </a:cubicBezTo>
                        <a:cubicBezTo>
                          <a:pt x="263" y="486"/>
                          <a:pt x="268" y="486"/>
                          <a:pt x="215" y="486"/>
                        </a:cubicBezTo>
                        <a:cubicBezTo>
                          <a:pt x="194" y="486"/>
                          <a:pt x="184" y="486"/>
                          <a:pt x="163" y="486"/>
                        </a:cubicBezTo>
                        <a:cubicBezTo>
                          <a:pt x="159" y="486"/>
                          <a:pt x="159" y="490"/>
                          <a:pt x="159" y="494"/>
                        </a:cubicBezTo>
                        <a:cubicBezTo>
                          <a:pt x="159" y="530"/>
                          <a:pt x="159" y="569"/>
                          <a:pt x="159" y="607"/>
                        </a:cubicBezTo>
                        <a:cubicBezTo>
                          <a:pt x="159" y="611"/>
                          <a:pt x="159" y="615"/>
                          <a:pt x="163" y="615"/>
                        </a:cubicBezTo>
                        <a:cubicBezTo>
                          <a:pt x="190" y="615"/>
                          <a:pt x="203" y="615"/>
                          <a:pt x="230" y="615"/>
                        </a:cubicBezTo>
                        <a:cubicBezTo>
                          <a:pt x="291" y="615"/>
                          <a:pt x="307" y="615"/>
                          <a:pt x="366" y="615"/>
                        </a:cubicBezTo>
                        <a:cubicBezTo>
                          <a:pt x="439" y="615"/>
                          <a:pt x="416" y="615"/>
                          <a:pt x="487" y="615"/>
                        </a:cubicBezTo>
                        <a:cubicBezTo>
                          <a:pt x="544" y="615"/>
                          <a:pt x="535" y="615"/>
                          <a:pt x="596" y="615"/>
                        </a:cubicBezTo>
                        <a:cubicBezTo>
                          <a:pt x="609" y="615"/>
                          <a:pt x="628" y="615"/>
                          <a:pt x="640" y="615"/>
                        </a:cubicBezTo>
                        <a:cubicBezTo>
                          <a:pt x="644" y="615"/>
                          <a:pt x="644" y="615"/>
                          <a:pt x="648" y="611"/>
                        </a:cubicBezTo>
                        <a:cubicBezTo>
                          <a:pt x="648" y="611"/>
                          <a:pt x="648" y="611"/>
                          <a:pt x="648" y="607"/>
                        </a:cubicBezTo>
                        <a:cubicBezTo>
                          <a:pt x="648" y="569"/>
                          <a:pt x="648" y="530"/>
                          <a:pt x="648" y="494"/>
                        </a:cubicBezTo>
                        <a:cubicBezTo>
                          <a:pt x="648" y="490"/>
                          <a:pt x="644" y="486"/>
                          <a:pt x="640" y="486"/>
                        </a:cubicBezTo>
                        <a:close/>
                        <a:moveTo>
                          <a:pt x="640" y="276"/>
                        </a:moveTo>
                        <a:cubicBezTo>
                          <a:pt x="615" y="276"/>
                          <a:pt x="605" y="276"/>
                          <a:pt x="575" y="276"/>
                        </a:cubicBezTo>
                        <a:cubicBezTo>
                          <a:pt x="517" y="276"/>
                          <a:pt x="500" y="276"/>
                          <a:pt x="439" y="276"/>
                        </a:cubicBezTo>
                        <a:cubicBezTo>
                          <a:pt x="368" y="276"/>
                          <a:pt x="391" y="276"/>
                          <a:pt x="318" y="276"/>
                        </a:cubicBezTo>
                        <a:cubicBezTo>
                          <a:pt x="263" y="276"/>
                          <a:pt x="268" y="276"/>
                          <a:pt x="215" y="276"/>
                        </a:cubicBezTo>
                        <a:cubicBezTo>
                          <a:pt x="194" y="276"/>
                          <a:pt x="184" y="276"/>
                          <a:pt x="163" y="276"/>
                        </a:cubicBezTo>
                        <a:cubicBezTo>
                          <a:pt x="159" y="276"/>
                          <a:pt x="159" y="280"/>
                          <a:pt x="159" y="285"/>
                        </a:cubicBezTo>
                        <a:cubicBezTo>
                          <a:pt x="159" y="319"/>
                          <a:pt x="159" y="357"/>
                          <a:pt x="159" y="392"/>
                        </a:cubicBezTo>
                        <a:cubicBezTo>
                          <a:pt x="159" y="394"/>
                          <a:pt x="159" y="398"/>
                          <a:pt x="163" y="398"/>
                        </a:cubicBezTo>
                        <a:cubicBezTo>
                          <a:pt x="190" y="398"/>
                          <a:pt x="203" y="398"/>
                          <a:pt x="230" y="398"/>
                        </a:cubicBezTo>
                        <a:cubicBezTo>
                          <a:pt x="291" y="398"/>
                          <a:pt x="307" y="398"/>
                          <a:pt x="366" y="398"/>
                        </a:cubicBezTo>
                        <a:cubicBezTo>
                          <a:pt x="439" y="398"/>
                          <a:pt x="416" y="398"/>
                          <a:pt x="487" y="398"/>
                        </a:cubicBezTo>
                        <a:cubicBezTo>
                          <a:pt x="544" y="398"/>
                          <a:pt x="535" y="398"/>
                          <a:pt x="596" y="398"/>
                        </a:cubicBezTo>
                        <a:cubicBezTo>
                          <a:pt x="609" y="398"/>
                          <a:pt x="628" y="398"/>
                          <a:pt x="640" y="398"/>
                        </a:cubicBezTo>
                        <a:cubicBezTo>
                          <a:pt x="644" y="398"/>
                          <a:pt x="644" y="398"/>
                          <a:pt x="648" y="394"/>
                        </a:cubicBezTo>
                        <a:cubicBezTo>
                          <a:pt x="648" y="394"/>
                          <a:pt x="648" y="394"/>
                          <a:pt x="648" y="392"/>
                        </a:cubicBezTo>
                        <a:cubicBezTo>
                          <a:pt x="648" y="357"/>
                          <a:pt x="648" y="319"/>
                          <a:pt x="648" y="285"/>
                        </a:cubicBezTo>
                        <a:cubicBezTo>
                          <a:pt x="648" y="280"/>
                          <a:pt x="644" y="276"/>
                          <a:pt x="640" y="276"/>
                        </a:cubicBezTo>
                        <a:close/>
                        <a:moveTo>
                          <a:pt x="766" y="79"/>
                        </a:moveTo>
                        <a:cubicBezTo>
                          <a:pt x="791" y="98"/>
                          <a:pt x="812" y="138"/>
                          <a:pt x="812" y="169"/>
                        </a:cubicBezTo>
                        <a:cubicBezTo>
                          <a:pt x="812" y="169"/>
                          <a:pt x="812" y="169"/>
                          <a:pt x="812" y="1618"/>
                        </a:cubicBezTo>
                        <a:cubicBezTo>
                          <a:pt x="812" y="1649"/>
                          <a:pt x="787" y="1674"/>
                          <a:pt x="755" y="1674"/>
                        </a:cubicBezTo>
                        <a:cubicBezTo>
                          <a:pt x="755" y="1674"/>
                          <a:pt x="755" y="1674"/>
                          <a:pt x="56" y="1674"/>
                        </a:cubicBezTo>
                        <a:cubicBezTo>
                          <a:pt x="25" y="1674"/>
                          <a:pt x="0" y="1649"/>
                          <a:pt x="0" y="1618"/>
                        </a:cubicBezTo>
                        <a:cubicBezTo>
                          <a:pt x="0" y="1618"/>
                          <a:pt x="0" y="1618"/>
                          <a:pt x="0" y="169"/>
                        </a:cubicBezTo>
                        <a:cubicBezTo>
                          <a:pt x="0" y="138"/>
                          <a:pt x="21" y="98"/>
                          <a:pt x="46" y="79"/>
                        </a:cubicBezTo>
                        <a:cubicBezTo>
                          <a:pt x="46" y="79"/>
                          <a:pt x="46" y="79"/>
                          <a:pt x="113" y="34"/>
                        </a:cubicBezTo>
                        <a:cubicBezTo>
                          <a:pt x="138" y="15"/>
                          <a:pt x="184" y="0"/>
                          <a:pt x="215" y="0"/>
                        </a:cubicBezTo>
                        <a:cubicBezTo>
                          <a:pt x="215" y="0"/>
                          <a:pt x="215" y="0"/>
                          <a:pt x="596" y="0"/>
                        </a:cubicBezTo>
                        <a:cubicBezTo>
                          <a:pt x="628" y="0"/>
                          <a:pt x="674" y="15"/>
                          <a:pt x="699" y="34"/>
                        </a:cubicBezTo>
                        <a:cubicBezTo>
                          <a:pt x="699" y="34"/>
                          <a:pt x="699" y="34"/>
                          <a:pt x="766" y="79"/>
                        </a:cubicBezTo>
                        <a:close/>
                        <a:moveTo>
                          <a:pt x="745" y="1576"/>
                        </a:moveTo>
                        <a:cubicBezTo>
                          <a:pt x="745" y="1576"/>
                          <a:pt x="745" y="1576"/>
                          <a:pt x="745" y="1524"/>
                        </a:cubicBezTo>
                        <a:cubicBezTo>
                          <a:pt x="724" y="1524"/>
                          <a:pt x="611" y="1524"/>
                          <a:pt x="62" y="1524"/>
                        </a:cubicBezTo>
                        <a:cubicBezTo>
                          <a:pt x="62" y="1524"/>
                          <a:pt x="62" y="1524"/>
                          <a:pt x="62" y="1576"/>
                        </a:cubicBezTo>
                        <a:cubicBezTo>
                          <a:pt x="83" y="1576"/>
                          <a:pt x="196" y="1576"/>
                          <a:pt x="745" y="1576"/>
                        </a:cubicBezTo>
                        <a:close/>
                        <a:moveTo>
                          <a:pt x="65" y="1410"/>
                        </a:moveTo>
                        <a:cubicBezTo>
                          <a:pt x="65" y="1437"/>
                          <a:pt x="88" y="1460"/>
                          <a:pt x="115" y="1460"/>
                        </a:cubicBezTo>
                        <a:cubicBezTo>
                          <a:pt x="142" y="1460"/>
                          <a:pt x="165" y="1437"/>
                          <a:pt x="165" y="1410"/>
                        </a:cubicBezTo>
                        <a:cubicBezTo>
                          <a:pt x="165" y="1383"/>
                          <a:pt x="142" y="1360"/>
                          <a:pt x="115" y="1360"/>
                        </a:cubicBezTo>
                        <a:cubicBezTo>
                          <a:pt x="88" y="1360"/>
                          <a:pt x="65" y="1383"/>
                          <a:pt x="65" y="1410"/>
                        </a:cubicBezTo>
                        <a:close/>
                        <a:moveTo>
                          <a:pt x="251" y="1410"/>
                        </a:moveTo>
                        <a:cubicBezTo>
                          <a:pt x="251" y="1437"/>
                          <a:pt x="272" y="1460"/>
                          <a:pt x="301" y="1460"/>
                        </a:cubicBezTo>
                        <a:cubicBezTo>
                          <a:pt x="328" y="1460"/>
                          <a:pt x="351" y="1437"/>
                          <a:pt x="351" y="1410"/>
                        </a:cubicBezTo>
                        <a:cubicBezTo>
                          <a:pt x="351" y="1383"/>
                          <a:pt x="328" y="1360"/>
                          <a:pt x="301" y="1360"/>
                        </a:cubicBezTo>
                        <a:cubicBezTo>
                          <a:pt x="272" y="1360"/>
                          <a:pt x="251" y="1383"/>
                          <a:pt x="251" y="1410"/>
                        </a:cubicBezTo>
                        <a:close/>
                        <a:moveTo>
                          <a:pt x="745" y="1282"/>
                        </a:moveTo>
                        <a:cubicBezTo>
                          <a:pt x="745" y="1282"/>
                          <a:pt x="745" y="1282"/>
                          <a:pt x="745" y="1226"/>
                        </a:cubicBezTo>
                        <a:cubicBezTo>
                          <a:pt x="724" y="1226"/>
                          <a:pt x="611" y="1226"/>
                          <a:pt x="62" y="1226"/>
                        </a:cubicBezTo>
                        <a:cubicBezTo>
                          <a:pt x="62" y="1226"/>
                          <a:pt x="62" y="1226"/>
                          <a:pt x="62" y="1282"/>
                        </a:cubicBezTo>
                        <a:cubicBezTo>
                          <a:pt x="83" y="1282"/>
                          <a:pt x="196" y="1282"/>
                          <a:pt x="745" y="1282"/>
                        </a:cubicBezTo>
                        <a:close/>
                        <a:moveTo>
                          <a:pt x="745" y="1080"/>
                        </a:moveTo>
                        <a:cubicBezTo>
                          <a:pt x="745" y="1080"/>
                          <a:pt x="745" y="1080"/>
                          <a:pt x="745" y="1080"/>
                        </a:cubicBezTo>
                        <a:cubicBezTo>
                          <a:pt x="745" y="236"/>
                          <a:pt x="745" y="236"/>
                          <a:pt x="745" y="236"/>
                        </a:cubicBezTo>
                        <a:cubicBezTo>
                          <a:pt x="745" y="205"/>
                          <a:pt x="720" y="179"/>
                          <a:pt x="688" y="179"/>
                        </a:cubicBezTo>
                        <a:cubicBezTo>
                          <a:pt x="688" y="179"/>
                          <a:pt x="688" y="179"/>
                          <a:pt x="119" y="179"/>
                        </a:cubicBezTo>
                        <a:cubicBezTo>
                          <a:pt x="88" y="179"/>
                          <a:pt x="62" y="205"/>
                          <a:pt x="62" y="236"/>
                        </a:cubicBezTo>
                        <a:cubicBezTo>
                          <a:pt x="62" y="236"/>
                          <a:pt x="62" y="236"/>
                          <a:pt x="62" y="1080"/>
                        </a:cubicBezTo>
                        <a:cubicBezTo>
                          <a:pt x="62" y="1111"/>
                          <a:pt x="77" y="1137"/>
                          <a:pt x="96" y="1137"/>
                        </a:cubicBezTo>
                        <a:cubicBezTo>
                          <a:pt x="96" y="1137"/>
                          <a:pt x="96" y="1137"/>
                          <a:pt x="106" y="1137"/>
                        </a:cubicBezTo>
                        <a:cubicBezTo>
                          <a:pt x="171" y="1137"/>
                          <a:pt x="234" y="1137"/>
                          <a:pt x="299" y="1137"/>
                        </a:cubicBezTo>
                        <a:cubicBezTo>
                          <a:pt x="383" y="1137"/>
                          <a:pt x="372" y="1137"/>
                          <a:pt x="452" y="1137"/>
                        </a:cubicBezTo>
                        <a:cubicBezTo>
                          <a:pt x="525" y="1137"/>
                          <a:pt x="596" y="1137"/>
                          <a:pt x="665" y="1137"/>
                        </a:cubicBezTo>
                        <a:cubicBezTo>
                          <a:pt x="692" y="1137"/>
                          <a:pt x="692" y="1137"/>
                          <a:pt x="692" y="1137"/>
                        </a:cubicBezTo>
                        <a:cubicBezTo>
                          <a:pt x="722" y="1137"/>
                          <a:pt x="745" y="1111"/>
                          <a:pt x="745" y="1080"/>
                        </a:cubicBezTo>
                        <a:close/>
                      </a:path>
                    </a:pathLst>
                  </a:custGeom>
                  <a:solidFill>
                    <a:schemeClr val="tx1"/>
                  </a:solidFill>
                  <a:ln w="25400" cap="flat" cmpd="sng" algn="ctr">
                    <a:noFill/>
                    <a:prstDash val="solid"/>
                    <a:headEnd type="none" w="med" len="med"/>
                    <a:tailEnd type="none" w="med" len="med"/>
                  </a:ln>
                  <a:effectLst/>
                  <a:extLst/>
                </p:spPr>
                <p:txBody>
                  <a:bodyPr vert="horz" wrap="square" lIns="209891" tIns="209891" rIns="69961" bIns="34980" numCol="1" rtlCol="0" anchor="t" anchorCtr="0" compatLnSpc="1">
                    <a:prstTxWarp prst="textNoShape">
                      <a:avLst/>
                    </a:prstTxWarp>
                  </a:bodyPr>
                  <a:lstStyle/>
                  <a:p>
                    <a:pPr defTabSz="699404" fontAlgn="base">
                      <a:lnSpc>
                        <a:spcPct val="90000"/>
                      </a:lnSpc>
                      <a:spcBef>
                        <a:spcPct val="0"/>
                      </a:spcBef>
                      <a:spcAft>
                        <a:spcPct val="0"/>
                      </a:spcAft>
                    </a:pPr>
                    <a:endParaRPr lang="en-US" sz="3061" kern="0">
                      <a:gradFill>
                        <a:gsLst>
                          <a:gs pos="0">
                            <a:srgbClr val="FFFFFF"/>
                          </a:gs>
                          <a:gs pos="100000">
                            <a:srgbClr val="FFFFFF"/>
                          </a:gs>
                        </a:gsLst>
                        <a:lin ang="16200000" scaled="0"/>
                      </a:gradFill>
                      <a:latin typeface="Segoe UI Light"/>
                    </a:endParaRPr>
                  </a:p>
                </p:txBody>
              </p:sp>
              <p:sp>
                <p:nvSpPr>
                  <p:cNvPr id="224" name="Freeform 34"/>
                  <p:cNvSpPr>
                    <a:spLocks noEditPoints="1"/>
                  </p:cNvSpPr>
                  <p:nvPr/>
                </p:nvSpPr>
                <p:spPr bwMode="auto">
                  <a:xfrm>
                    <a:off x="1509935" y="4557161"/>
                    <a:ext cx="154970" cy="319640"/>
                  </a:xfrm>
                  <a:custGeom>
                    <a:avLst/>
                    <a:gdLst>
                      <a:gd name="T0" fmla="*/ 648 w 812"/>
                      <a:gd name="T1" fmla="*/ 917 h 1674"/>
                      <a:gd name="T2" fmla="*/ 648 w 812"/>
                      <a:gd name="T3" fmla="*/ 1034 h 1674"/>
                      <a:gd name="T4" fmla="*/ 596 w 812"/>
                      <a:gd name="T5" fmla="*/ 1038 h 1674"/>
                      <a:gd name="T6" fmla="*/ 366 w 812"/>
                      <a:gd name="T7" fmla="*/ 1038 h 1674"/>
                      <a:gd name="T8" fmla="*/ 163 w 812"/>
                      <a:gd name="T9" fmla="*/ 1038 h 1674"/>
                      <a:gd name="T10" fmla="*/ 159 w 812"/>
                      <a:gd name="T11" fmla="*/ 917 h 1674"/>
                      <a:gd name="T12" fmla="*/ 215 w 812"/>
                      <a:gd name="T13" fmla="*/ 908 h 1674"/>
                      <a:gd name="T14" fmla="*/ 439 w 812"/>
                      <a:gd name="T15" fmla="*/ 908 h 1674"/>
                      <a:gd name="T16" fmla="*/ 640 w 812"/>
                      <a:gd name="T17" fmla="*/ 908 h 1674"/>
                      <a:gd name="T18" fmla="*/ 575 w 812"/>
                      <a:gd name="T19" fmla="*/ 695 h 1674"/>
                      <a:gd name="T20" fmla="*/ 318 w 812"/>
                      <a:gd name="T21" fmla="*/ 695 h 1674"/>
                      <a:gd name="T22" fmla="*/ 163 w 812"/>
                      <a:gd name="T23" fmla="*/ 695 h 1674"/>
                      <a:gd name="T24" fmla="*/ 159 w 812"/>
                      <a:gd name="T25" fmla="*/ 816 h 1674"/>
                      <a:gd name="T26" fmla="*/ 230 w 812"/>
                      <a:gd name="T27" fmla="*/ 825 h 1674"/>
                      <a:gd name="T28" fmla="*/ 487 w 812"/>
                      <a:gd name="T29" fmla="*/ 825 h 1674"/>
                      <a:gd name="T30" fmla="*/ 640 w 812"/>
                      <a:gd name="T31" fmla="*/ 825 h 1674"/>
                      <a:gd name="T32" fmla="*/ 648 w 812"/>
                      <a:gd name="T33" fmla="*/ 816 h 1674"/>
                      <a:gd name="T34" fmla="*/ 640 w 812"/>
                      <a:gd name="T35" fmla="*/ 695 h 1674"/>
                      <a:gd name="T36" fmla="*/ 575 w 812"/>
                      <a:gd name="T37" fmla="*/ 486 h 1674"/>
                      <a:gd name="T38" fmla="*/ 318 w 812"/>
                      <a:gd name="T39" fmla="*/ 486 h 1674"/>
                      <a:gd name="T40" fmla="*/ 163 w 812"/>
                      <a:gd name="T41" fmla="*/ 486 h 1674"/>
                      <a:gd name="T42" fmla="*/ 159 w 812"/>
                      <a:gd name="T43" fmla="*/ 607 h 1674"/>
                      <a:gd name="T44" fmla="*/ 230 w 812"/>
                      <a:gd name="T45" fmla="*/ 615 h 1674"/>
                      <a:gd name="T46" fmla="*/ 487 w 812"/>
                      <a:gd name="T47" fmla="*/ 615 h 1674"/>
                      <a:gd name="T48" fmla="*/ 640 w 812"/>
                      <a:gd name="T49" fmla="*/ 615 h 1674"/>
                      <a:gd name="T50" fmla="*/ 648 w 812"/>
                      <a:gd name="T51" fmla="*/ 607 h 1674"/>
                      <a:gd name="T52" fmla="*/ 640 w 812"/>
                      <a:gd name="T53" fmla="*/ 486 h 1674"/>
                      <a:gd name="T54" fmla="*/ 575 w 812"/>
                      <a:gd name="T55" fmla="*/ 276 h 1674"/>
                      <a:gd name="T56" fmla="*/ 318 w 812"/>
                      <a:gd name="T57" fmla="*/ 276 h 1674"/>
                      <a:gd name="T58" fmla="*/ 163 w 812"/>
                      <a:gd name="T59" fmla="*/ 276 h 1674"/>
                      <a:gd name="T60" fmla="*/ 159 w 812"/>
                      <a:gd name="T61" fmla="*/ 392 h 1674"/>
                      <a:gd name="T62" fmla="*/ 230 w 812"/>
                      <a:gd name="T63" fmla="*/ 398 h 1674"/>
                      <a:gd name="T64" fmla="*/ 487 w 812"/>
                      <a:gd name="T65" fmla="*/ 398 h 1674"/>
                      <a:gd name="T66" fmla="*/ 640 w 812"/>
                      <a:gd name="T67" fmla="*/ 398 h 1674"/>
                      <a:gd name="T68" fmla="*/ 648 w 812"/>
                      <a:gd name="T69" fmla="*/ 392 h 1674"/>
                      <a:gd name="T70" fmla="*/ 640 w 812"/>
                      <a:gd name="T71" fmla="*/ 276 h 1674"/>
                      <a:gd name="T72" fmla="*/ 812 w 812"/>
                      <a:gd name="T73" fmla="*/ 169 h 1674"/>
                      <a:gd name="T74" fmla="*/ 755 w 812"/>
                      <a:gd name="T75" fmla="*/ 1674 h 1674"/>
                      <a:gd name="T76" fmla="*/ 0 w 812"/>
                      <a:gd name="T77" fmla="*/ 1618 h 1674"/>
                      <a:gd name="T78" fmla="*/ 46 w 812"/>
                      <a:gd name="T79" fmla="*/ 79 h 1674"/>
                      <a:gd name="T80" fmla="*/ 215 w 812"/>
                      <a:gd name="T81" fmla="*/ 0 h 1674"/>
                      <a:gd name="T82" fmla="*/ 699 w 812"/>
                      <a:gd name="T83" fmla="*/ 34 h 1674"/>
                      <a:gd name="T84" fmla="*/ 745 w 812"/>
                      <a:gd name="T85" fmla="*/ 1576 h 1674"/>
                      <a:gd name="T86" fmla="*/ 62 w 812"/>
                      <a:gd name="T87" fmla="*/ 1524 h 1674"/>
                      <a:gd name="T88" fmla="*/ 745 w 812"/>
                      <a:gd name="T89" fmla="*/ 1576 h 1674"/>
                      <a:gd name="T90" fmla="*/ 115 w 812"/>
                      <a:gd name="T91" fmla="*/ 1460 h 1674"/>
                      <a:gd name="T92" fmla="*/ 115 w 812"/>
                      <a:gd name="T93" fmla="*/ 1360 h 1674"/>
                      <a:gd name="T94" fmla="*/ 251 w 812"/>
                      <a:gd name="T95" fmla="*/ 1410 h 1674"/>
                      <a:gd name="T96" fmla="*/ 351 w 812"/>
                      <a:gd name="T97" fmla="*/ 1410 h 1674"/>
                      <a:gd name="T98" fmla="*/ 251 w 812"/>
                      <a:gd name="T99" fmla="*/ 1410 h 1674"/>
                      <a:gd name="T100" fmla="*/ 745 w 812"/>
                      <a:gd name="T101" fmla="*/ 1226 h 1674"/>
                      <a:gd name="T102" fmla="*/ 62 w 812"/>
                      <a:gd name="T103" fmla="*/ 1282 h 1674"/>
                      <a:gd name="T104" fmla="*/ 745 w 812"/>
                      <a:gd name="T105" fmla="*/ 1080 h 1674"/>
                      <a:gd name="T106" fmla="*/ 745 w 812"/>
                      <a:gd name="T107" fmla="*/ 236 h 1674"/>
                      <a:gd name="T108" fmla="*/ 119 w 812"/>
                      <a:gd name="T109" fmla="*/ 179 h 1674"/>
                      <a:gd name="T110" fmla="*/ 62 w 812"/>
                      <a:gd name="T111" fmla="*/ 1080 h 1674"/>
                      <a:gd name="T112" fmla="*/ 106 w 812"/>
                      <a:gd name="T113" fmla="*/ 1137 h 1674"/>
                      <a:gd name="T114" fmla="*/ 452 w 812"/>
                      <a:gd name="T115" fmla="*/ 1137 h 1674"/>
                      <a:gd name="T116" fmla="*/ 692 w 812"/>
                      <a:gd name="T117" fmla="*/ 1137 h 1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12" h="1674">
                        <a:moveTo>
                          <a:pt x="640" y="908"/>
                        </a:moveTo>
                        <a:cubicBezTo>
                          <a:pt x="644" y="908"/>
                          <a:pt x="648" y="913"/>
                          <a:pt x="648" y="917"/>
                        </a:cubicBezTo>
                        <a:cubicBezTo>
                          <a:pt x="648" y="954"/>
                          <a:pt x="648" y="994"/>
                          <a:pt x="648" y="1032"/>
                        </a:cubicBezTo>
                        <a:cubicBezTo>
                          <a:pt x="648" y="1032"/>
                          <a:pt x="648" y="1032"/>
                          <a:pt x="648" y="1034"/>
                        </a:cubicBezTo>
                        <a:cubicBezTo>
                          <a:pt x="644" y="1038"/>
                          <a:pt x="644" y="1038"/>
                          <a:pt x="640" y="1038"/>
                        </a:cubicBezTo>
                        <a:cubicBezTo>
                          <a:pt x="628" y="1038"/>
                          <a:pt x="609" y="1038"/>
                          <a:pt x="596" y="1038"/>
                        </a:cubicBezTo>
                        <a:cubicBezTo>
                          <a:pt x="535" y="1038"/>
                          <a:pt x="544" y="1038"/>
                          <a:pt x="487" y="1038"/>
                        </a:cubicBezTo>
                        <a:cubicBezTo>
                          <a:pt x="416" y="1038"/>
                          <a:pt x="439" y="1038"/>
                          <a:pt x="366" y="1038"/>
                        </a:cubicBezTo>
                        <a:cubicBezTo>
                          <a:pt x="307" y="1038"/>
                          <a:pt x="291" y="1038"/>
                          <a:pt x="230" y="1038"/>
                        </a:cubicBezTo>
                        <a:cubicBezTo>
                          <a:pt x="203" y="1038"/>
                          <a:pt x="190" y="1038"/>
                          <a:pt x="163" y="1038"/>
                        </a:cubicBezTo>
                        <a:cubicBezTo>
                          <a:pt x="159" y="1038"/>
                          <a:pt x="159" y="1032"/>
                          <a:pt x="159" y="1032"/>
                        </a:cubicBezTo>
                        <a:cubicBezTo>
                          <a:pt x="159" y="994"/>
                          <a:pt x="159" y="954"/>
                          <a:pt x="159" y="917"/>
                        </a:cubicBezTo>
                        <a:cubicBezTo>
                          <a:pt x="159" y="913"/>
                          <a:pt x="159" y="908"/>
                          <a:pt x="163" y="908"/>
                        </a:cubicBezTo>
                        <a:cubicBezTo>
                          <a:pt x="184" y="908"/>
                          <a:pt x="194" y="908"/>
                          <a:pt x="215" y="908"/>
                        </a:cubicBezTo>
                        <a:cubicBezTo>
                          <a:pt x="268" y="908"/>
                          <a:pt x="263" y="908"/>
                          <a:pt x="318" y="908"/>
                        </a:cubicBezTo>
                        <a:cubicBezTo>
                          <a:pt x="391" y="908"/>
                          <a:pt x="368" y="908"/>
                          <a:pt x="439" y="908"/>
                        </a:cubicBezTo>
                        <a:cubicBezTo>
                          <a:pt x="500" y="908"/>
                          <a:pt x="517" y="908"/>
                          <a:pt x="575" y="908"/>
                        </a:cubicBezTo>
                        <a:cubicBezTo>
                          <a:pt x="605" y="908"/>
                          <a:pt x="615" y="908"/>
                          <a:pt x="640" y="908"/>
                        </a:cubicBezTo>
                        <a:close/>
                        <a:moveTo>
                          <a:pt x="640" y="695"/>
                        </a:moveTo>
                        <a:cubicBezTo>
                          <a:pt x="615" y="695"/>
                          <a:pt x="605" y="695"/>
                          <a:pt x="575" y="695"/>
                        </a:cubicBezTo>
                        <a:cubicBezTo>
                          <a:pt x="517" y="695"/>
                          <a:pt x="500" y="695"/>
                          <a:pt x="439" y="695"/>
                        </a:cubicBezTo>
                        <a:cubicBezTo>
                          <a:pt x="368" y="695"/>
                          <a:pt x="391" y="695"/>
                          <a:pt x="318" y="695"/>
                        </a:cubicBezTo>
                        <a:cubicBezTo>
                          <a:pt x="263" y="695"/>
                          <a:pt x="268" y="695"/>
                          <a:pt x="215" y="695"/>
                        </a:cubicBezTo>
                        <a:cubicBezTo>
                          <a:pt x="194" y="695"/>
                          <a:pt x="184" y="695"/>
                          <a:pt x="163" y="695"/>
                        </a:cubicBezTo>
                        <a:cubicBezTo>
                          <a:pt x="159" y="695"/>
                          <a:pt x="159" y="699"/>
                          <a:pt x="159" y="703"/>
                        </a:cubicBezTo>
                        <a:cubicBezTo>
                          <a:pt x="159" y="739"/>
                          <a:pt x="159" y="781"/>
                          <a:pt x="159" y="816"/>
                        </a:cubicBezTo>
                        <a:cubicBezTo>
                          <a:pt x="159" y="821"/>
                          <a:pt x="159" y="825"/>
                          <a:pt x="163" y="825"/>
                        </a:cubicBezTo>
                        <a:cubicBezTo>
                          <a:pt x="190" y="825"/>
                          <a:pt x="203" y="825"/>
                          <a:pt x="230" y="825"/>
                        </a:cubicBezTo>
                        <a:cubicBezTo>
                          <a:pt x="291" y="825"/>
                          <a:pt x="307" y="825"/>
                          <a:pt x="366" y="825"/>
                        </a:cubicBezTo>
                        <a:cubicBezTo>
                          <a:pt x="439" y="825"/>
                          <a:pt x="416" y="825"/>
                          <a:pt x="487" y="825"/>
                        </a:cubicBezTo>
                        <a:cubicBezTo>
                          <a:pt x="544" y="825"/>
                          <a:pt x="535" y="825"/>
                          <a:pt x="596" y="825"/>
                        </a:cubicBezTo>
                        <a:cubicBezTo>
                          <a:pt x="609" y="825"/>
                          <a:pt x="628" y="825"/>
                          <a:pt x="640" y="825"/>
                        </a:cubicBezTo>
                        <a:cubicBezTo>
                          <a:pt x="644" y="825"/>
                          <a:pt x="644" y="825"/>
                          <a:pt x="648" y="825"/>
                        </a:cubicBezTo>
                        <a:cubicBezTo>
                          <a:pt x="648" y="821"/>
                          <a:pt x="648" y="821"/>
                          <a:pt x="648" y="816"/>
                        </a:cubicBezTo>
                        <a:cubicBezTo>
                          <a:pt x="648" y="781"/>
                          <a:pt x="648" y="739"/>
                          <a:pt x="648" y="703"/>
                        </a:cubicBezTo>
                        <a:cubicBezTo>
                          <a:pt x="648" y="699"/>
                          <a:pt x="644" y="695"/>
                          <a:pt x="640" y="695"/>
                        </a:cubicBezTo>
                        <a:close/>
                        <a:moveTo>
                          <a:pt x="640" y="486"/>
                        </a:moveTo>
                        <a:cubicBezTo>
                          <a:pt x="615" y="486"/>
                          <a:pt x="605" y="486"/>
                          <a:pt x="575" y="486"/>
                        </a:cubicBezTo>
                        <a:cubicBezTo>
                          <a:pt x="517" y="486"/>
                          <a:pt x="500" y="486"/>
                          <a:pt x="439" y="486"/>
                        </a:cubicBezTo>
                        <a:cubicBezTo>
                          <a:pt x="368" y="486"/>
                          <a:pt x="391" y="486"/>
                          <a:pt x="318" y="486"/>
                        </a:cubicBezTo>
                        <a:cubicBezTo>
                          <a:pt x="263" y="486"/>
                          <a:pt x="268" y="486"/>
                          <a:pt x="215" y="486"/>
                        </a:cubicBezTo>
                        <a:cubicBezTo>
                          <a:pt x="194" y="486"/>
                          <a:pt x="184" y="486"/>
                          <a:pt x="163" y="486"/>
                        </a:cubicBezTo>
                        <a:cubicBezTo>
                          <a:pt x="159" y="486"/>
                          <a:pt x="159" y="490"/>
                          <a:pt x="159" y="494"/>
                        </a:cubicBezTo>
                        <a:cubicBezTo>
                          <a:pt x="159" y="530"/>
                          <a:pt x="159" y="569"/>
                          <a:pt x="159" y="607"/>
                        </a:cubicBezTo>
                        <a:cubicBezTo>
                          <a:pt x="159" y="611"/>
                          <a:pt x="159" y="615"/>
                          <a:pt x="163" y="615"/>
                        </a:cubicBezTo>
                        <a:cubicBezTo>
                          <a:pt x="190" y="615"/>
                          <a:pt x="203" y="615"/>
                          <a:pt x="230" y="615"/>
                        </a:cubicBezTo>
                        <a:cubicBezTo>
                          <a:pt x="291" y="615"/>
                          <a:pt x="307" y="615"/>
                          <a:pt x="366" y="615"/>
                        </a:cubicBezTo>
                        <a:cubicBezTo>
                          <a:pt x="439" y="615"/>
                          <a:pt x="416" y="615"/>
                          <a:pt x="487" y="615"/>
                        </a:cubicBezTo>
                        <a:cubicBezTo>
                          <a:pt x="544" y="615"/>
                          <a:pt x="535" y="615"/>
                          <a:pt x="596" y="615"/>
                        </a:cubicBezTo>
                        <a:cubicBezTo>
                          <a:pt x="609" y="615"/>
                          <a:pt x="628" y="615"/>
                          <a:pt x="640" y="615"/>
                        </a:cubicBezTo>
                        <a:cubicBezTo>
                          <a:pt x="644" y="615"/>
                          <a:pt x="644" y="615"/>
                          <a:pt x="648" y="611"/>
                        </a:cubicBezTo>
                        <a:cubicBezTo>
                          <a:pt x="648" y="611"/>
                          <a:pt x="648" y="611"/>
                          <a:pt x="648" y="607"/>
                        </a:cubicBezTo>
                        <a:cubicBezTo>
                          <a:pt x="648" y="569"/>
                          <a:pt x="648" y="530"/>
                          <a:pt x="648" y="494"/>
                        </a:cubicBezTo>
                        <a:cubicBezTo>
                          <a:pt x="648" y="490"/>
                          <a:pt x="644" y="486"/>
                          <a:pt x="640" y="486"/>
                        </a:cubicBezTo>
                        <a:close/>
                        <a:moveTo>
                          <a:pt x="640" y="276"/>
                        </a:moveTo>
                        <a:cubicBezTo>
                          <a:pt x="615" y="276"/>
                          <a:pt x="605" y="276"/>
                          <a:pt x="575" y="276"/>
                        </a:cubicBezTo>
                        <a:cubicBezTo>
                          <a:pt x="517" y="276"/>
                          <a:pt x="500" y="276"/>
                          <a:pt x="439" y="276"/>
                        </a:cubicBezTo>
                        <a:cubicBezTo>
                          <a:pt x="368" y="276"/>
                          <a:pt x="391" y="276"/>
                          <a:pt x="318" y="276"/>
                        </a:cubicBezTo>
                        <a:cubicBezTo>
                          <a:pt x="263" y="276"/>
                          <a:pt x="268" y="276"/>
                          <a:pt x="215" y="276"/>
                        </a:cubicBezTo>
                        <a:cubicBezTo>
                          <a:pt x="194" y="276"/>
                          <a:pt x="184" y="276"/>
                          <a:pt x="163" y="276"/>
                        </a:cubicBezTo>
                        <a:cubicBezTo>
                          <a:pt x="159" y="276"/>
                          <a:pt x="159" y="280"/>
                          <a:pt x="159" y="285"/>
                        </a:cubicBezTo>
                        <a:cubicBezTo>
                          <a:pt x="159" y="319"/>
                          <a:pt x="159" y="357"/>
                          <a:pt x="159" y="392"/>
                        </a:cubicBezTo>
                        <a:cubicBezTo>
                          <a:pt x="159" y="394"/>
                          <a:pt x="159" y="398"/>
                          <a:pt x="163" y="398"/>
                        </a:cubicBezTo>
                        <a:cubicBezTo>
                          <a:pt x="190" y="398"/>
                          <a:pt x="203" y="398"/>
                          <a:pt x="230" y="398"/>
                        </a:cubicBezTo>
                        <a:cubicBezTo>
                          <a:pt x="291" y="398"/>
                          <a:pt x="307" y="398"/>
                          <a:pt x="366" y="398"/>
                        </a:cubicBezTo>
                        <a:cubicBezTo>
                          <a:pt x="439" y="398"/>
                          <a:pt x="416" y="398"/>
                          <a:pt x="487" y="398"/>
                        </a:cubicBezTo>
                        <a:cubicBezTo>
                          <a:pt x="544" y="398"/>
                          <a:pt x="535" y="398"/>
                          <a:pt x="596" y="398"/>
                        </a:cubicBezTo>
                        <a:cubicBezTo>
                          <a:pt x="609" y="398"/>
                          <a:pt x="628" y="398"/>
                          <a:pt x="640" y="398"/>
                        </a:cubicBezTo>
                        <a:cubicBezTo>
                          <a:pt x="644" y="398"/>
                          <a:pt x="644" y="398"/>
                          <a:pt x="648" y="394"/>
                        </a:cubicBezTo>
                        <a:cubicBezTo>
                          <a:pt x="648" y="394"/>
                          <a:pt x="648" y="394"/>
                          <a:pt x="648" y="392"/>
                        </a:cubicBezTo>
                        <a:cubicBezTo>
                          <a:pt x="648" y="357"/>
                          <a:pt x="648" y="319"/>
                          <a:pt x="648" y="285"/>
                        </a:cubicBezTo>
                        <a:cubicBezTo>
                          <a:pt x="648" y="280"/>
                          <a:pt x="644" y="276"/>
                          <a:pt x="640" y="276"/>
                        </a:cubicBezTo>
                        <a:close/>
                        <a:moveTo>
                          <a:pt x="766" y="79"/>
                        </a:moveTo>
                        <a:cubicBezTo>
                          <a:pt x="791" y="98"/>
                          <a:pt x="812" y="138"/>
                          <a:pt x="812" y="169"/>
                        </a:cubicBezTo>
                        <a:cubicBezTo>
                          <a:pt x="812" y="169"/>
                          <a:pt x="812" y="169"/>
                          <a:pt x="812" y="1618"/>
                        </a:cubicBezTo>
                        <a:cubicBezTo>
                          <a:pt x="812" y="1649"/>
                          <a:pt x="787" y="1674"/>
                          <a:pt x="755" y="1674"/>
                        </a:cubicBezTo>
                        <a:cubicBezTo>
                          <a:pt x="755" y="1674"/>
                          <a:pt x="755" y="1674"/>
                          <a:pt x="56" y="1674"/>
                        </a:cubicBezTo>
                        <a:cubicBezTo>
                          <a:pt x="25" y="1674"/>
                          <a:pt x="0" y="1649"/>
                          <a:pt x="0" y="1618"/>
                        </a:cubicBezTo>
                        <a:cubicBezTo>
                          <a:pt x="0" y="1618"/>
                          <a:pt x="0" y="1618"/>
                          <a:pt x="0" y="169"/>
                        </a:cubicBezTo>
                        <a:cubicBezTo>
                          <a:pt x="0" y="138"/>
                          <a:pt x="21" y="98"/>
                          <a:pt x="46" y="79"/>
                        </a:cubicBezTo>
                        <a:cubicBezTo>
                          <a:pt x="46" y="79"/>
                          <a:pt x="46" y="79"/>
                          <a:pt x="113" y="34"/>
                        </a:cubicBezTo>
                        <a:cubicBezTo>
                          <a:pt x="138" y="15"/>
                          <a:pt x="184" y="0"/>
                          <a:pt x="215" y="0"/>
                        </a:cubicBezTo>
                        <a:cubicBezTo>
                          <a:pt x="215" y="0"/>
                          <a:pt x="215" y="0"/>
                          <a:pt x="596" y="0"/>
                        </a:cubicBezTo>
                        <a:cubicBezTo>
                          <a:pt x="628" y="0"/>
                          <a:pt x="674" y="15"/>
                          <a:pt x="699" y="34"/>
                        </a:cubicBezTo>
                        <a:cubicBezTo>
                          <a:pt x="699" y="34"/>
                          <a:pt x="699" y="34"/>
                          <a:pt x="766" y="79"/>
                        </a:cubicBezTo>
                        <a:close/>
                        <a:moveTo>
                          <a:pt x="745" y="1576"/>
                        </a:moveTo>
                        <a:cubicBezTo>
                          <a:pt x="745" y="1576"/>
                          <a:pt x="745" y="1576"/>
                          <a:pt x="745" y="1524"/>
                        </a:cubicBezTo>
                        <a:cubicBezTo>
                          <a:pt x="724" y="1524"/>
                          <a:pt x="611" y="1524"/>
                          <a:pt x="62" y="1524"/>
                        </a:cubicBezTo>
                        <a:cubicBezTo>
                          <a:pt x="62" y="1524"/>
                          <a:pt x="62" y="1524"/>
                          <a:pt x="62" y="1576"/>
                        </a:cubicBezTo>
                        <a:cubicBezTo>
                          <a:pt x="83" y="1576"/>
                          <a:pt x="196" y="1576"/>
                          <a:pt x="745" y="1576"/>
                        </a:cubicBezTo>
                        <a:close/>
                        <a:moveTo>
                          <a:pt x="65" y="1410"/>
                        </a:moveTo>
                        <a:cubicBezTo>
                          <a:pt x="65" y="1437"/>
                          <a:pt x="88" y="1460"/>
                          <a:pt x="115" y="1460"/>
                        </a:cubicBezTo>
                        <a:cubicBezTo>
                          <a:pt x="142" y="1460"/>
                          <a:pt x="165" y="1437"/>
                          <a:pt x="165" y="1410"/>
                        </a:cubicBezTo>
                        <a:cubicBezTo>
                          <a:pt x="165" y="1383"/>
                          <a:pt x="142" y="1360"/>
                          <a:pt x="115" y="1360"/>
                        </a:cubicBezTo>
                        <a:cubicBezTo>
                          <a:pt x="88" y="1360"/>
                          <a:pt x="65" y="1383"/>
                          <a:pt x="65" y="1410"/>
                        </a:cubicBezTo>
                        <a:close/>
                        <a:moveTo>
                          <a:pt x="251" y="1410"/>
                        </a:moveTo>
                        <a:cubicBezTo>
                          <a:pt x="251" y="1437"/>
                          <a:pt x="272" y="1460"/>
                          <a:pt x="301" y="1460"/>
                        </a:cubicBezTo>
                        <a:cubicBezTo>
                          <a:pt x="328" y="1460"/>
                          <a:pt x="351" y="1437"/>
                          <a:pt x="351" y="1410"/>
                        </a:cubicBezTo>
                        <a:cubicBezTo>
                          <a:pt x="351" y="1383"/>
                          <a:pt x="328" y="1360"/>
                          <a:pt x="301" y="1360"/>
                        </a:cubicBezTo>
                        <a:cubicBezTo>
                          <a:pt x="272" y="1360"/>
                          <a:pt x="251" y="1383"/>
                          <a:pt x="251" y="1410"/>
                        </a:cubicBezTo>
                        <a:close/>
                        <a:moveTo>
                          <a:pt x="745" y="1282"/>
                        </a:moveTo>
                        <a:cubicBezTo>
                          <a:pt x="745" y="1282"/>
                          <a:pt x="745" y="1282"/>
                          <a:pt x="745" y="1226"/>
                        </a:cubicBezTo>
                        <a:cubicBezTo>
                          <a:pt x="724" y="1226"/>
                          <a:pt x="611" y="1226"/>
                          <a:pt x="62" y="1226"/>
                        </a:cubicBezTo>
                        <a:cubicBezTo>
                          <a:pt x="62" y="1226"/>
                          <a:pt x="62" y="1226"/>
                          <a:pt x="62" y="1282"/>
                        </a:cubicBezTo>
                        <a:cubicBezTo>
                          <a:pt x="83" y="1282"/>
                          <a:pt x="196" y="1282"/>
                          <a:pt x="745" y="1282"/>
                        </a:cubicBezTo>
                        <a:close/>
                        <a:moveTo>
                          <a:pt x="745" y="1080"/>
                        </a:moveTo>
                        <a:cubicBezTo>
                          <a:pt x="745" y="1080"/>
                          <a:pt x="745" y="1080"/>
                          <a:pt x="745" y="1080"/>
                        </a:cubicBezTo>
                        <a:cubicBezTo>
                          <a:pt x="745" y="236"/>
                          <a:pt x="745" y="236"/>
                          <a:pt x="745" y="236"/>
                        </a:cubicBezTo>
                        <a:cubicBezTo>
                          <a:pt x="745" y="205"/>
                          <a:pt x="720" y="179"/>
                          <a:pt x="688" y="179"/>
                        </a:cubicBezTo>
                        <a:cubicBezTo>
                          <a:pt x="688" y="179"/>
                          <a:pt x="688" y="179"/>
                          <a:pt x="119" y="179"/>
                        </a:cubicBezTo>
                        <a:cubicBezTo>
                          <a:pt x="88" y="179"/>
                          <a:pt x="62" y="205"/>
                          <a:pt x="62" y="236"/>
                        </a:cubicBezTo>
                        <a:cubicBezTo>
                          <a:pt x="62" y="236"/>
                          <a:pt x="62" y="236"/>
                          <a:pt x="62" y="1080"/>
                        </a:cubicBezTo>
                        <a:cubicBezTo>
                          <a:pt x="62" y="1111"/>
                          <a:pt x="77" y="1137"/>
                          <a:pt x="96" y="1137"/>
                        </a:cubicBezTo>
                        <a:cubicBezTo>
                          <a:pt x="96" y="1137"/>
                          <a:pt x="96" y="1137"/>
                          <a:pt x="106" y="1137"/>
                        </a:cubicBezTo>
                        <a:cubicBezTo>
                          <a:pt x="171" y="1137"/>
                          <a:pt x="234" y="1137"/>
                          <a:pt x="299" y="1137"/>
                        </a:cubicBezTo>
                        <a:cubicBezTo>
                          <a:pt x="383" y="1137"/>
                          <a:pt x="372" y="1137"/>
                          <a:pt x="452" y="1137"/>
                        </a:cubicBezTo>
                        <a:cubicBezTo>
                          <a:pt x="525" y="1137"/>
                          <a:pt x="596" y="1137"/>
                          <a:pt x="665" y="1137"/>
                        </a:cubicBezTo>
                        <a:cubicBezTo>
                          <a:pt x="692" y="1137"/>
                          <a:pt x="692" y="1137"/>
                          <a:pt x="692" y="1137"/>
                        </a:cubicBezTo>
                        <a:cubicBezTo>
                          <a:pt x="722" y="1137"/>
                          <a:pt x="745" y="1111"/>
                          <a:pt x="745" y="1080"/>
                        </a:cubicBezTo>
                        <a:close/>
                      </a:path>
                    </a:pathLst>
                  </a:custGeom>
                  <a:solidFill>
                    <a:schemeClr val="tx1"/>
                  </a:solidFill>
                  <a:ln w="25400" cap="flat" cmpd="sng" algn="ctr">
                    <a:noFill/>
                    <a:prstDash val="solid"/>
                    <a:headEnd type="none" w="med" len="med"/>
                    <a:tailEnd type="none" w="med" len="med"/>
                  </a:ln>
                  <a:effectLst/>
                  <a:extLst/>
                </p:spPr>
                <p:txBody>
                  <a:bodyPr vert="horz" wrap="square" lIns="209891" tIns="209891" rIns="69961" bIns="34980" numCol="1" rtlCol="0" anchor="t" anchorCtr="0" compatLnSpc="1">
                    <a:prstTxWarp prst="textNoShape">
                      <a:avLst/>
                    </a:prstTxWarp>
                  </a:bodyPr>
                  <a:lstStyle/>
                  <a:p>
                    <a:pPr defTabSz="699404" fontAlgn="base">
                      <a:lnSpc>
                        <a:spcPct val="90000"/>
                      </a:lnSpc>
                      <a:spcBef>
                        <a:spcPct val="0"/>
                      </a:spcBef>
                      <a:spcAft>
                        <a:spcPct val="0"/>
                      </a:spcAft>
                    </a:pPr>
                    <a:endParaRPr lang="en-US" sz="3061" kern="0">
                      <a:gradFill>
                        <a:gsLst>
                          <a:gs pos="0">
                            <a:srgbClr val="FFFFFF"/>
                          </a:gs>
                          <a:gs pos="100000">
                            <a:srgbClr val="FFFFFF"/>
                          </a:gs>
                        </a:gsLst>
                        <a:lin ang="16200000" scaled="0"/>
                      </a:gradFill>
                      <a:latin typeface="Segoe UI Light"/>
                    </a:endParaRPr>
                  </a:p>
                </p:txBody>
              </p:sp>
              <p:sp>
                <p:nvSpPr>
                  <p:cNvPr id="225" name="Freeform 34"/>
                  <p:cNvSpPr>
                    <a:spLocks noEditPoints="1"/>
                  </p:cNvSpPr>
                  <p:nvPr/>
                </p:nvSpPr>
                <p:spPr bwMode="auto">
                  <a:xfrm>
                    <a:off x="1710579" y="4557161"/>
                    <a:ext cx="154970" cy="319640"/>
                  </a:xfrm>
                  <a:custGeom>
                    <a:avLst/>
                    <a:gdLst>
                      <a:gd name="T0" fmla="*/ 648 w 812"/>
                      <a:gd name="T1" fmla="*/ 917 h 1674"/>
                      <a:gd name="T2" fmla="*/ 648 w 812"/>
                      <a:gd name="T3" fmla="*/ 1034 h 1674"/>
                      <a:gd name="T4" fmla="*/ 596 w 812"/>
                      <a:gd name="T5" fmla="*/ 1038 h 1674"/>
                      <a:gd name="T6" fmla="*/ 366 w 812"/>
                      <a:gd name="T7" fmla="*/ 1038 h 1674"/>
                      <a:gd name="T8" fmla="*/ 163 w 812"/>
                      <a:gd name="T9" fmla="*/ 1038 h 1674"/>
                      <a:gd name="T10" fmla="*/ 159 w 812"/>
                      <a:gd name="T11" fmla="*/ 917 h 1674"/>
                      <a:gd name="T12" fmla="*/ 215 w 812"/>
                      <a:gd name="T13" fmla="*/ 908 h 1674"/>
                      <a:gd name="T14" fmla="*/ 439 w 812"/>
                      <a:gd name="T15" fmla="*/ 908 h 1674"/>
                      <a:gd name="T16" fmla="*/ 640 w 812"/>
                      <a:gd name="T17" fmla="*/ 908 h 1674"/>
                      <a:gd name="T18" fmla="*/ 575 w 812"/>
                      <a:gd name="T19" fmla="*/ 695 h 1674"/>
                      <a:gd name="T20" fmla="*/ 318 w 812"/>
                      <a:gd name="T21" fmla="*/ 695 h 1674"/>
                      <a:gd name="T22" fmla="*/ 163 w 812"/>
                      <a:gd name="T23" fmla="*/ 695 h 1674"/>
                      <a:gd name="T24" fmla="*/ 159 w 812"/>
                      <a:gd name="T25" fmla="*/ 816 h 1674"/>
                      <a:gd name="T26" fmla="*/ 230 w 812"/>
                      <a:gd name="T27" fmla="*/ 825 h 1674"/>
                      <a:gd name="T28" fmla="*/ 487 w 812"/>
                      <a:gd name="T29" fmla="*/ 825 h 1674"/>
                      <a:gd name="T30" fmla="*/ 640 w 812"/>
                      <a:gd name="T31" fmla="*/ 825 h 1674"/>
                      <a:gd name="T32" fmla="*/ 648 w 812"/>
                      <a:gd name="T33" fmla="*/ 816 h 1674"/>
                      <a:gd name="T34" fmla="*/ 640 w 812"/>
                      <a:gd name="T35" fmla="*/ 695 h 1674"/>
                      <a:gd name="T36" fmla="*/ 575 w 812"/>
                      <a:gd name="T37" fmla="*/ 486 h 1674"/>
                      <a:gd name="T38" fmla="*/ 318 w 812"/>
                      <a:gd name="T39" fmla="*/ 486 h 1674"/>
                      <a:gd name="T40" fmla="*/ 163 w 812"/>
                      <a:gd name="T41" fmla="*/ 486 h 1674"/>
                      <a:gd name="T42" fmla="*/ 159 w 812"/>
                      <a:gd name="T43" fmla="*/ 607 h 1674"/>
                      <a:gd name="T44" fmla="*/ 230 w 812"/>
                      <a:gd name="T45" fmla="*/ 615 h 1674"/>
                      <a:gd name="T46" fmla="*/ 487 w 812"/>
                      <a:gd name="T47" fmla="*/ 615 h 1674"/>
                      <a:gd name="T48" fmla="*/ 640 w 812"/>
                      <a:gd name="T49" fmla="*/ 615 h 1674"/>
                      <a:gd name="T50" fmla="*/ 648 w 812"/>
                      <a:gd name="T51" fmla="*/ 607 h 1674"/>
                      <a:gd name="T52" fmla="*/ 640 w 812"/>
                      <a:gd name="T53" fmla="*/ 486 h 1674"/>
                      <a:gd name="T54" fmla="*/ 575 w 812"/>
                      <a:gd name="T55" fmla="*/ 276 h 1674"/>
                      <a:gd name="T56" fmla="*/ 318 w 812"/>
                      <a:gd name="T57" fmla="*/ 276 h 1674"/>
                      <a:gd name="T58" fmla="*/ 163 w 812"/>
                      <a:gd name="T59" fmla="*/ 276 h 1674"/>
                      <a:gd name="T60" fmla="*/ 159 w 812"/>
                      <a:gd name="T61" fmla="*/ 392 h 1674"/>
                      <a:gd name="T62" fmla="*/ 230 w 812"/>
                      <a:gd name="T63" fmla="*/ 398 h 1674"/>
                      <a:gd name="T64" fmla="*/ 487 w 812"/>
                      <a:gd name="T65" fmla="*/ 398 h 1674"/>
                      <a:gd name="T66" fmla="*/ 640 w 812"/>
                      <a:gd name="T67" fmla="*/ 398 h 1674"/>
                      <a:gd name="T68" fmla="*/ 648 w 812"/>
                      <a:gd name="T69" fmla="*/ 392 h 1674"/>
                      <a:gd name="T70" fmla="*/ 640 w 812"/>
                      <a:gd name="T71" fmla="*/ 276 h 1674"/>
                      <a:gd name="T72" fmla="*/ 812 w 812"/>
                      <a:gd name="T73" fmla="*/ 169 h 1674"/>
                      <a:gd name="T74" fmla="*/ 755 w 812"/>
                      <a:gd name="T75" fmla="*/ 1674 h 1674"/>
                      <a:gd name="T76" fmla="*/ 0 w 812"/>
                      <a:gd name="T77" fmla="*/ 1618 h 1674"/>
                      <a:gd name="T78" fmla="*/ 46 w 812"/>
                      <a:gd name="T79" fmla="*/ 79 h 1674"/>
                      <a:gd name="T80" fmla="*/ 215 w 812"/>
                      <a:gd name="T81" fmla="*/ 0 h 1674"/>
                      <a:gd name="T82" fmla="*/ 699 w 812"/>
                      <a:gd name="T83" fmla="*/ 34 h 1674"/>
                      <a:gd name="T84" fmla="*/ 745 w 812"/>
                      <a:gd name="T85" fmla="*/ 1576 h 1674"/>
                      <a:gd name="T86" fmla="*/ 62 w 812"/>
                      <a:gd name="T87" fmla="*/ 1524 h 1674"/>
                      <a:gd name="T88" fmla="*/ 745 w 812"/>
                      <a:gd name="T89" fmla="*/ 1576 h 1674"/>
                      <a:gd name="T90" fmla="*/ 115 w 812"/>
                      <a:gd name="T91" fmla="*/ 1460 h 1674"/>
                      <a:gd name="T92" fmla="*/ 115 w 812"/>
                      <a:gd name="T93" fmla="*/ 1360 h 1674"/>
                      <a:gd name="T94" fmla="*/ 251 w 812"/>
                      <a:gd name="T95" fmla="*/ 1410 h 1674"/>
                      <a:gd name="T96" fmla="*/ 351 w 812"/>
                      <a:gd name="T97" fmla="*/ 1410 h 1674"/>
                      <a:gd name="T98" fmla="*/ 251 w 812"/>
                      <a:gd name="T99" fmla="*/ 1410 h 1674"/>
                      <a:gd name="T100" fmla="*/ 745 w 812"/>
                      <a:gd name="T101" fmla="*/ 1226 h 1674"/>
                      <a:gd name="T102" fmla="*/ 62 w 812"/>
                      <a:gd name="T103" fmla="*/ 1282 h 1674"/>
                      <a:gd name="T104" fmla="*/ 745 w 812"/>
                      <a:gd name="T105" fmla="*/ 1080 h 1674"/>
                      <a:gd name="T106" fmla="*/ 745 w 812"/>
                      <a:gd name="T107" fmla="*/ 236 h 1674"/>
                      <a:gd name="T108" fmla="*/ 119 w 812"/>
                      <a:gd name="T109" fmla="*/ 179 h 1674"/>
                      <a:gd name="T110" fmla="*/ 62 w 812"/>
                      <a:gd name="T111" fmla="*/ 1080 h 1674"/>
                      <a:gd name="T112" fmla="*/ 106 w 812"/>
                      <a:gd name="T113" fmla="*/ 1137 h 1674"/>
                      <a:gd name="T114" fmla="*/ 452 w 812"/>
                      <a:gd name="T115" fmla="*/ 1137 h 1674"/>
                      <a:gd name="T116" fmla="*/ 692 w 812"/>
                      <a:gd name="T117" fmla="*/ 1137 h 1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12" h="1674">
                        <a:moveTo>
                          <a:pt x="640" y="908"/>
                        </a:moveTo>
                        <a:cubicBezTo>
                          <a:pt x="644" y="908"/>
                          <a:pt x="648" y="913"/>
                          <a:pt x="648" y="917"/>
                        </a:cubicBezTo>
                        <a:cubicBezTo>
                          <a:pt x="648" y="954"/>
                          <a:pt x="648" y="994"/>
                          <a:pt x="648" y="1032"/>
                        </a:cubicBezTo>
                        <a:cubicBezTo>
                          <a:pt x="648" y="1032"/>
                          <a:pt x="648" y="1032"/>
                          <a:pt x="648" y="1034"/>
                        </a:cubicBezTo>
                        <a:cubicBezTo>
                          <a:pt x="644" y="1038"/>
                          <a:pt x="644" y="1038"/>
                          <a:pt x="640" y="1038"/>
                        </a:cubicBezTo>
                        <a:cubicBezTo>
                          <a:pt x="628" y="1038"/>
                          <a:pt x="609" y="1038"/>
                          <a:pt x="596" y="1038"/>
                        </a:cubicBezTo>
                        <a:cubicBezTo>
                          <a:pt x="535" y="1038"/>
                          <a:pt x="544" y="1038"/>
                          <a:pt x="487" y="1038"/>
                        </a:cubicBezTo>
                        <a:cubicBezTo>
                          <a:pt x="416" y="1038"/>
                          <a:pt x="439" y="1038"/>
                          <a:pt x="366" y="1038"/>
                        </a:cubicBezTo>
                        <a:cubicBezTo>
                          <a:pt x="307" y="1038"/>
                          <a:pt x="291" y="1038"/>
                          <a:pt x="230" y="1038"/>
                        </a:cubicBezTo>
                        <a:cubicBezTo>
                          <a:pt x="203" y="1038"/>
                          <a:pt x="190" y="1038"/>
                          <a:pt x="163" y="1038"/>
                        </a:cubicBezTo>
                        <a:cubicBezTo>
                          <a:pt x="159" y="1038"/>
                          <a:pt x="159" y="1032"/>
                          <a:pt x="159" y="1032"/>
                        </a:cubicBezTo>
                        <a:cubicBezTo>
                          <a:pt x="159" y="994"/>
                          <a:pt x="159" y="954"/>
                          <a:pt x="159" y="917"/>
                        </a:cubicBezTo>
                        <a:cubicBezTo>
                          <a:pt x="159" y="913"/>
                          <a:pt x="159" y="908"/>
                          <a:pt x="163" y="908"/>
                        </a:cubicBezTo>
                        <a:cubicBezTo>
                          <a:pt x="184" y="908"/>
                          <a:pt x="194" y="908"/>
                          <a:pt x="215" y="908"/>
                        </a:cubicBezTo>
                        <a:cubicBezTo>
                          <a:pt x="268" y="908"/>
                          <a:pt x="263" y="908"/>
                          <a:pt x="318" y="908"/>
                        </a:cubicBezTo>
                        <a:cubicBezTo>
                          <a:pt x="391" y="908"/>
                          <a:pt x="368" y="908"/>
                          <a:pt x="439" y="908"/>
                        </a:cubicBezTo>
                        <a:cubicBezTo>
                          <a:pt x="500" y="908"/>
                          <a:pt x="517" y="908"/>
                          <a:pt x="575" y="908"/>
                        </a:cubicBezTo>
                        <a:cubicBezTo>
                          <a:pt x="605" y="908"/>
                          <a:pt x="615" y="908"/>
                          <a:pt x="640" y="908"/>
                        </a:cubicBezTo>
                        <a:close/>
                        <a:moveTo>
                          <a:pt x="640" y="695"/>
                        </a:moveTo>
                        <a:cubicBezTo>
                          <a:pt x="615" y="695"/>
                          <a:pt x="605" y="695"/>
                          <a:pt x="575" y="695"/>
                        </a:cubicBezTo>
                        <a:cubicBezTo>
                          <a:pt x="517" y="695"/>
                          <a:pt x="500" y="695"/>
                          <a:pt x="439" y="695"/>
                        </a:cubicBezTo>
                        <a:cubicBezTo>
                          <a:pt x="368" y="695"/>
                          <a:pt x="391" y="695"/>
                          <a:pt x="318" y="695"/>
                        </a:cubicBezTo>
                        <a:cubicBezTo>
                          <a:pt x="263" y="695"/>
                          <a:pt x="268" y="695"/>
                          <a:pt x="215" y="695"/>
                        </a:cubicBezTo>
                        <a:cubicBezTo>
                          <a:pt x="194" y="695"/>
                          <a:pt x="184" y="695"/>
                          <a:pt x="163" y="695"/>
                        </a:cubicBezTo>
                        <a:cubicBezTo>
                          <a:pt x="159" y="695"/>
                          <a:pt x="159" y="699"/>
                          <a:pt x="159" y="703"/>
                        </a:cubicBezTo>
                        <a:cubicBezTo>
                          <a:pt x="159" y="739"/>
                          <a:pt x="159" y="781"/>
                          <a:pt x="159" y="816"/>
                        </a:cubicBezTo>
                        <a:cubicBezTo>
                          <a:pt x="159" y="821"/>
                          <a:pt x="159" y="825"/>
                          <a:pt x="163" y="825"/>
                        </a:cubicBezTo>
                        <a:cubicBezTo>
                          <a:pt x="190" y="825"/>
                          <a:pt x="203" y="825"/>
                          <a:pt x="230" y="825"/>
                        </a:cubicBezTo>
                        <a:cubicBezTo>
                          <a:pt x="291" y="825"/>
                          <a:pt x="307" y="825"/>
                          <a:pt x="366" y="825"/>
                        </a:cubicBezTo>
                        <a:cubicBezTo>
                          <a:pt x="439" y="825"/>
                          <a:pt x="416" y="825"/>
                          <a:pt x="487" y="825"/>
                        </a:cubicBezTo>
                        <a:cubicBezTo>
                          <a:pt x="544" y="825"/>
                          <a:pt x="535" y="825"/>
                          <a:pt x="596" y="825"/>
                        </a:cubicBezTo>
                        <a:cubicBezTo>
                          <a:pt x="609" y="825"/>
                          <a:pt x="628" y="825"/>
                          <a:pt x="640" y="825"/>
                        </a:cubicBezTo>
                        <a:cubicBezTo>
                          <a:pt x="644" y="825"/>
                          <a:pt x="644" y="825"/>
                          <a:pt x="648" y="825"/>
                        </a:cubicBezTo>
                        <a:cubicBezTo>
                          <a:pt x="648" y="821"/>
                          <a:pt x="648" y="821"/>
                          <a:pt x="648" y="816"/>
                        </a:cubicBezTo>
                        <a:cubicBezTo>
                          <a:pt x="648" y="781"/>
                          <a:pt x="648" y="739"/>
                          <a:pt x="648" y="703"/>
                        </a:cubicBezTo>
                        <a:cubicBezTo>
                          <a:pt x="648" y="699"/>
                          <a:pt x="644" y="695"/>
                          <a:pt x="640" y="695"/>
                        </a:cubicBezTo>
                        <a:close/>
                        <a:moveTo>
                          <a:pt x="640" y="486"/>
                        </a:moveTo>
                        <a:cubicBezTo>
                          <a:pt x="615" y="486"/>
                          <a:pt x="605" y="486"/>
                          <a:pt x="575" y="486"/>
                        </a:cubicBezTo>
                        <a:cubicBezTo>
                          <a:pt x="517" y="486"/>
                          <a:pt x="500" y="486"/>
                          <a:pt x="439" y="486"/>
                        </a:cubicBezTo>
                        <a:cubicBezTo>
                          <a:pt x="368" y="486"/>
                          <a:pt x="391" y="486"/>
                          <a:pt x="318" y="486"/>
                        </a:cubicBezTo>
                        <a:cubicBezTo>
                          <a:pt x="263" y="486"/>
                          <a:pt x="268" y="486"/>
                          <a:pt x="215" y="486"/>
                        </a:cubicBezTo>
                        <a:cubicBezTo>
                          <a:pt x="194" y="486"/>
                          <a:pt x="184" y="486"/>
                          <a:pt x="163" y="486"/>
                        </a:cubicBezTo>
                        <a:cubicBezTo>
                          <a:pt x="159" y="486"/>
                          <a:pt x="159" y="490"/>
                          <a:pt x="159" y="494"/>
                        </a:cubicBezTo>
                        <a:cubicBezTo>
                          <a:pt x="159" y="530"/>
                          <a:pt x="159" y="569"/>
                          <a:pt x="159" y="607"/>
                        </a:cubicBezTo>
                        <a:cubicBezTo>
                          <a:pt x="159" y="611"/>
                          <a:pt x="159" y="615"/>
                          <a:pt x="163" y="615"/>
                        </a:cubicBezTo>
                        <a:cubicBezTo>
                          <a:pt x="190" y="615"/>
                          <a:pt x="203" y="615"/>
                          <a:pt x="230" y="615"/>
                        </a:cubicBezTo>
                        <a:cubicBezTo>
                          <a:pt x="291" y="615"/>
                          <a:pt x="307" y="615"/>
                          <a:pt x="366" y="615"/>
                        </a:cubicBezTo>
                        <a:cubicBezTo>
                          <a:pt x="439" y="615"/>
                          <a:pt x="416" y="615"/>
                          <a:pt x="487" y="615"/>
                        </a:cubicBezTo>
                        <a:cubicBezTo>
                          <a:pt x="544" y="615"/>
                          <a:pt x="535" y="615"/>
                          <a:pt x="596" y="615"/>
                        </a:cubicBezTo>
                        <a:cubicBezTo>
                          <a:pt x="609" y="615"/>
                          <a:pt x="628" y="615"/>
                          <a:pt x="640" y="615"/>
                        </a:cubicBezTo>
                        <a:cubicBezTo>
                          <a:pt x="644" y="615"/>
                          <a:pt x="644" y="615"/>
                          <a:pt x="648" y="611"/>
                        </a:cubicBezTo>
                        <a:cubicBezTo>
                          <a:pt x="648" y="611"/>
                          <a:pt x="648" y="611"/>
                          <a:pt x="648" y="607"/>
                        </a:cubicBezTo>
                        <a:cubicBezTo>
                          <a:pt x="648" y="569"/>
                          <a:pt x="648" y="530"/>
                          <a:pt x="648" y="494"/>
                        </a:cubicBezTo>
                        <a:cubicBezTo>
                          <a:pt x="648" y="490"/>
                          <a:pt x="644" y="486"/>
                          <a:pt x="640" y="486"/>
                        </a:cubicBezTo>
                        <a:close/>
                        <a:moveTo>
                          <a:pt x="640" y="276"/>
                        </a:moveTo>
                        <a:cubicBezTo>
                          <a:pt x="615" y="276"/>
                          <a:pt x="605" y="276"/>
                          <a:pt x="575" y="276"/>
                        </a:cubicBezTo>
                        <a:cubicBezTo>
                          <a:pt x="517" y="276"/>
                          <a:pt x="500" y="276"/>
                          <a:pt x="439" y="276"/>
                        </a:cubicBezTo>
                        <a:cubicBezTo>
                          <a:pt x="368" y="276"/>
                          <a:pt x="391" y="276"/>
                          <a:pt x="318" y="276"/>
                        </a:cubicBezTo>
                        <a:cubicBezTo>
                          <a:pt x="263" y="276"/>
                          <a:pt x="268" y="276"/>
                          <a:pt x="215" y="276"/>
                        </a:cubicBezTo>
                        <a:cubicBezTo>
                          <a:pt x="194" y="276"/>
                          <a:pt x="184" y="276"/>
                          <a:pt x="163" y="276"/>
                        </a:cubicBezTo>
                        <a:cubicBezTo>
                          <a:pt x="159" y="276"/>
                          <a:pt x="159" y="280"/>
                          <a:pt x="159" y="285"/>
                        </a:cubicBezTo>
                        <a:cubicBezTo>
                          <a:pt x="159" y="319"/>
                          <a:pt x="159" y="357"/>
                          <a:pt x="159" y="392"/>
                        </a:cubicBezTo>
                        <a:cubicBezTo>
                          <a:pt x="159" y="394"/>
                          <a:pt x="159" y="398"/>
                          <a:pt x="163" y="398"/>
                        </a:cubicBezTo>
                        <a:cubicBezTo>
                          <a:pt x="190" y="398"/>
                          <a:pt x="203" y="398"/>
                          <a:pt x="230" y="398"/>
                        </a:cubicBezTo>
                        <a:cubicBezTo>
                          <a:pt x="291" y="398"/>
                          <a:pt x="307" y="398"/>
                          <a:pt x="366" y="398"/>
                        </a:cubicBezTo>
                        <a:cubicBezTo>
                          <a:pt x="439" y="398"/>
                          <a:pt x="416" y="398"/>
                          <a:pt x="487" y="398"/>
                        </a:cubicBezTo>
                        <a:cubicBezTo>
                          <a:pt x="544" y="398"/>
                          <a:pt x="535" y="398"/>
                          <a:pt x="596" y="398"/>
                        </a:cubicBezTo>
                        <a:cubicBezTo>
                          <a:pt x="609" y="398"/>
                          <a:pt x="628" y="398"/>
                          <a:pt x="640" y="398"/>
                        </a:cubicBezTo>
                        <a:cubicBezTo>
                          <a:pt x="644" y="398"/>
                          <a:pt x="644" y="398"/>
                          <a:pt x="648" y="394"/>
                        </a:cubicBezTo>
                        <a:cubicBezTo>
                          <a:pt x="648" y="394"/>
                          <a:pt x="648" y="394"/>
                          <a:pt x="648" y="392"/>
                        </a:cubicBezTo>
                        <a:cubicBezTo>
                          <a:pt x="648" y="357"/>
                          <a:pt x="648" y="319"/>
                          <a:pt x="648" y="285"/>
                        </a:cubicBezTo>
                        <a:cubicBezTo>
                          <a:pt x="648" y="280"/>
                          <a:pt x="644" y="276"/>
                          <a:pt x="640" y="276"/>
                        </a:cubicBezTo>
                        <a:close/>
                        <a:moveTo>
                          <a:pt x="766" y="79"/>
                        </a:moveTo>
                        <a:cubicBezTo>
                          <a:pt x="791" y="98"/>
                          <a:pt x="812" y="138"/>
                          <a:pt x="812" y="169"/>
                        </a:cubicBezTo>
                        <a:cubicBezTo>
                          <a:pt x="812" y="169"/>
                          <a:pt x="812" y="169"/>
                          <a:pt x="812" y="1618"/>
                        </a:cubicBezTo>
                        <a:cubicBezTo>
                          <a:pt x="812" y="1649"/>
                          <a:pt x="787" y="1674"/>
                          <a:pt x="755" y="1674"/>
                        </a:cubicBezTo>
                        <a:cubicBezTo>
                          <a:pt x="755" y="1674"/>
                          <a:pt x="755" y="1674"/>
                          <a:pt x="56" y="1674"/>
                        </a:cubicBezTo>
                        <a:cubicBezTo>
                          <a:pt x="25" y="1674"/>
                          <a:pt x="0" y="1649"/>
                          <a:pt x="0" y="1618"/>
                        </a:cubicBezTo>
                        <a:cubicBezTo>
                          <a:pt x="0" y="1618"/>
                          <a:pt x="0" y="1618"/>
                          <a:pt x="0" y="169"/>
                        </a:cubicBezTo>
                        <a:cubicBezTo>
                          <a:pt x="0" y="138"/>
                          <a:pt x="21" y="98"/>
                          <a:pt x="46" y="79"/>
                        </a:cubicBezTo>
                        <a:cubicBezTo>
                          <a:pt x="46" y="79"/>
                          <a:pt x="46" y="79"/>
                          <a:pt x="113" y="34"/>
                        </a:cubicBezTo>
                        <a:cubicBezTo>
                          <a:pt x="138" y="15"/>
                          <a:pt x="184" y="0"/>
                          <a:pt x="215" y="0"/>
                        </a:cubicBezTo>
                        <a:cubicBezTo>
                          <a:pt x="215" y="0"/>
                          <a:pt x="215" y="0"/>
                          <a:pt x="596" y="0"/>
                        </a:cubicBezTo>
                        <a:cubicBezTo>
                          <a:pt x="628" y="0"/>
                          <a:pt x="674" y="15"/>
                          <a:pt x="699" y="34"/>
                        </a:cubicBezTo>
                        <a:cubicBezTo>
                          <a:pt x="699" y="34"/>
                          <a:pt x="699" y="34"/>
                          <a:pt x="766" y="79"/>
                        </a:cubicBezTo>
                        <a:close/>
                        <a:moveTo>
                          <a:pt x="745" y="1576"/>
                        </a:moveTo>
                        <a:cubicBezTo>
                          <a:pt x="745" y="1576"/>
                          <a:pt x="745" y="1576"/>
                          <a:pt x="745" y="1524"/>
                        </a:cubicBezTo>
                        <a:cubicBezTo>
                          <a:pt x="724" y="1524"/>
                          <a:pt x="611" y="1524"/>
                          <a:pt x="62" y="1524"/>
                        </a:cubicBezTo>
                        <a:cubicBezTo>
                          <a:pt x="62" y="1524"/>
                          <a:pt x="62" y="1524"/>
                          <a:pt x="62" y="1576"/>
                        </a:cubicBezTo>
                        <a:cubicBezTo>
                          <a:pt x="83" y="1576"/>
                          <a:pt x="196" y="1576"/>
                          <a:pt x="745" y="1576"/>
                        </a:cubicBezTo>
                        <a:close/>
                        <a:moveTo>
                          <a:pt x="65" y="1410"/>
                        </a:moveTo>
                        <a:cubicBezTo>
                          <a:pt x="65" y="1437"/>
                          <a:pt x="88" y="1460"/>
                          <a:pt x="115" y="1460"/>
                        </a:cubicBezTo>
                        <a:cubicBezTo>
                          <a:pt x="142" y="1460"/>
                          <a:pt x="165" y="1437"/>
                          <a:pt x="165" y="1410"/>
                        </a:cubicBezTo>
                        <a:cubicBezTo>
                          <a:pt x="165" y="1383"/>
                          <a:pt x="142" y="1360"/>
                          <a:pt x="115" y="1360"/>
                        </a:cubicBezTo>
                        <a:cubicBezTo>
                          <a:pt x="88" y="1360"/>
                          <a:pt x="65" y="1383"/>
                          <a:pt x="65" y="1410"/>
                        </a:cubicBezTo>
                        <a:close/>
                        <a:moveTo>
                          <a:pt x="251" y="1410"/>
                        </a:moveTo>
                        <a:cubicBezTo>
                          <a:pt x="251" y="1437"/>
                          <a:pt x="272" y="1460"/>
                          <a:pt x="301" y="1460"/>
                        </a:cubicBezTo>
                        <a:cubicBezTo>
                          <a:pt x="328" y="1460"/>
                          <a:pt x="351" y="1437"/>
                          <a:pt x="351" y="1410"/>
                        </a:cubicBezTo>
                        <a:cubicBezTo>
                          <a:pt x="351" y="1383"/>
                          <a:pt x="328" y="1360"/>
                          <a:pt x="301" y="1360"/>
                        </a:cubicBezTo>
                        <a:cubicBezTo>
                          <a:pt x="272" y="1360"/>
                          <a:pt x="251" y="1383"/>
                          <a:pt x="251" y="1410"/>
                        </a:cubicBezTo>
                        <a:close/>
                        <a:moveTo>
                          <a:pt x="745" y="1282"/>
                        </a:moveTo>
                        <a:cubicBezTo>
                          <a:pt x="745" y="1282"/>
                          <a:pt x="745" y="1282"/>
                          <a:pt x="745" y="1226"/>
                        </a:cubicBezTo>
                        <a:cubicBezTo>
                          <a:pt x="724" y="1226"/>
                          <a:pt x="611" y="1226"/>
                          <a:pt x="62" y="1226"/>
                        </a:cubicBezTo>
                        <a:cubicBezTo>
                          <a:pt x="62" y="1226"/>
                          <a:pt x="62" y="1226"/>
                          <a:pt x="62" y="1282"/>
                        </a:cubicBezTo>
                        <a:cubicBezTo>
                          <a:pt x="83" y="1282"/>
                          <a:pt x="196" y="1282"/>
                          <a:pt x="745" y="1282"/>
                        </a:cubicBezTo>
                        <a:close/>
                        <a:moveTo>
                          <a:pt x="745" y="1080"/>
                        </a:moveTo>
                        <a:cubicBezTo>
                          <a:pt x="745" y="1080"/>
                          <a:pt x="745" y="1080"/>
                          <a:pt x="745" y="1080"/>
                        </a:cubicBezTo>
                        <a:cubicBezTo>
                          <a:pt x="745" y="236"/>
                          <a:pt x="745" y="236"/>
                          <a:pt x="745" y="236"/>
                        </a:cubicBezTo>
                        <a:cubicBezTo>
                          <a:pt x="745" y="205"/>
                          <a:pt x="720" y="179"/>
                          <a:pt x="688" y="179"/>
                        </a:cubicBezTo>
                        <a:cubicBezTo>
                          <a:pt x="688" y="179"/>
                          <a:pt x="688" y="179"/>
                          <a:pt x="119" y="179"/>
                        </a:cubicBezTo>
                        <a:cubicBezTo>
                          <a:pt x="88" y="179"/>
                          <a:pt x="62" y="205"/>
                          <a:pt x="62" y="236"/>
                        </a:cubicBezTo>
                        <a:cubicBezTo>
                          <a:pt x="62" y="236"/>
                          <a:pt x="62" y="236"/>
                          <a:pt x="62" y="1080"/>
                        </a:cubicBezTo>
                        <a:cubicBezTo>
                          <a:pt x="62" y="1111"/>
                          <a:pt x="77" y="1137"/>
                          <a:pt x="96" y="1137"/>
                        </a:cubicBezTo>
                        <a:cubicBezTo>
                          <a:pt x="96" y="1137"/>
                          <a:pt x="96" y="1137"/>
                          <a:pt x="106" y="1137"/>
                        </a:cubicBezTo>
                        <a:cubicBezTo>
                          <a:pt x="171" y="1137"/>
                          <a:pt x="234" y="1137"/>
                          <a:pt x="299" y="1137"/>
                        </a:cubicBezTo>
                        <a:cubicBezTo>
                          <a:pt x="383" y="1137"/>
                          <a:pt x="372" y="1137"/>
                          <a:pt x="452" y="1137"/>
                        </a:cubicBezTo>
                        <a:cubicBezTo>
                          <a:pt x="525" y="1137"/>
                          <a:pt x="596" y="1137"/>
                          <a:pt x="665" y="1137"/>
                        </a:cubicBezTo>
                        <a:cubicBezTo>
                          <a:pt x="692" y="1137"/>
                          <a:pt x="692" y="1137"/>
                          <a:pt x="692" y="1137"/>
                        </a:cubicBezTo>
                        <a:cubicBezTo>
                          <a:pt x="722" y="1137"/>
                          <a:pt x="745" y="1111"/>
                          <a:pt x="745" y="1080"/>
                        </a:cubicBezTo>
                        <a:close/>
                      </a:path>
                    </a:pathLst>
                  </a:custGeom>
                  <a:solidFill>
                    <a:schemeClr val="tx1"/>
                  </a:solidFill>
                  <a:ln w="25400" cap="flat" cmpd="sng" algn="ctr">
                    <a:noFill/>
                    <a:prstDash val="solid"/>
                    <a:headEnd type="none" w="med" len="med"/>
                    <a:tailEnd type="none" w="med" len="med"/>
                  </a:ln>
                  <a:effectLst/>
                  <a:extLst/>
                </p:spPr>
                <p:txBody>
                  <a:bodyPr vert="horz" wrap="square" lIns="209891" tIns="209891" rIns="69961" bIns="34980" numCol="1" rtlCol="0" anchor="t" anchorCtr="0" compatLnSpc="1">
                    <a:prstTxWarp prst="textNoShape">
                      <a:avLst/>
                    </a:prstTxWarp>
                  </a:bodyPr>
                  <a:lstStyle/>
                  <a:p>
                    <a:pPr defTabSz="699404" fontAlgn="base">
                      <a:lnSpc>
                        <a:spcPct val="90000"/>
                      </a:lnSpc>
                      <a:spcBef>
                        <a:spcPct val="0"/>
                      </a:spcBef>
                      <a:spcAft>
                        <a:spcPct val="0"/>
                      </a:spcAft>
                    </a:pPr>
                    <a:endParaRPr lang="en-US" sz="3061" kern="0">
                      <a:gradFill>
                        <a:gsLst>
                          <a:gs pos="0">
                            <a:srgbClr val="FFFFFF"/>
                          </a:gs>
                          <a:gs pos="100000">
                            <a:srgbClr val="FFFFFF"/>
                          </a:gs>
                        </a:gsLst>
                        <a:lin ang="16200000" scaled="0"/>
                      </a:gradFill>
                      <a:latin typeface="Segoe UI Light"/>
                    </a:endParaRPr>
                  </a:p>
                </p:txBody>
              </p:sp>
            </p:grpSp>
            <p:grpSp>
              <p:nvGrpSpPr>
                <p:cNvPr id="218" name="Group 217"/>
                <p:cNvGrpSpPr/>
                <p:nvPr/>
              </p:nvGrpSpPr>
              <p:grpSpPr>
                <a:xfrm>
                  <a:off x="1921991" y="4286529"/>
                  <a:ext cx="961152" cy="656946"/>
                  <a:chOff x="2083916" y="4286529"/>
                  <a:chExt cx="961152" cy="656946"/>
                </a:xfrm>
              </p:grpSpPr>
              <p:sp>
                <p:nvSpPr>
                  <p:cNvPr id="219" name="Freeform 626"/>
                  <p:cNvSpPr>
                    <a:spLocks noChangeAspect="1" noEditPoints="1"/>
                  </p:cNvSpPr>
                  <p:nvPr/>
                </p:nvSpPr>
                <p:spPr bwMode="auto">
                  <a:xfrm>
                    <a:off x="2083916" y="4286529"/>
                    <a:ext cx="446802" cy="285471"/>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rgbClr val="FFFFFF"/>
                  </a:solidFill>
                  <a:ln>
                    <a:noFill/>
                  </a:ln>
                  <a:extLst/>
                </p:spPr>
                <p:txBody>
                  <a:bodyPr vert="horz" wrap="square" lIns="69964" tIns="34982" rIns="69964" bIns="34982" numCol="1" anchor="t" anchorCtr="0" compatLnSpc="1">
                    <a:prstTxWarp prst="textNoShape">
                      <a:avLst/>
                    </a:prstTxWarp>
                  </a:bodyPr>
                  <a:lstStyle/>
                  <a:p>
                    <a:pPr defTabSz="932559">
                      <a:defRPr/>
                    </a:pPr>
                    <a:endParaRPr lang="en-US" sz="841" kern="0">
                      <a:gradFill>
                        <a:gsLst>
                          <a:gs pos="0">
                            <a:srgbClr val="FFFFFF"/>
                          </a:gs>
                          <a:gs pos="100000">
                            <a:srgbClr val="FFFFFF"/>
                          </a:gs>
                        </a:gsLst>
                        <a:lin ang="5400000" scaled="0"/>
                      </a:gradFill>
                    </a:endParaRPr>
                  </a:p>
                </p:txBody>
              </p:sp>
              <p:sp>
                <p:nvSpPr>
                  <p:cNvPr id="220" name="Freeform 626"/>
                  <p:cNvSpPr>
                    <a:spLocks noChangeAspect="1" noEditPoints="1"/>
                  </p:cNvSpPr>
                  <p:nvPr/>
                </p:nvSpPr>
                <p:spPr bwMode="auto">
                  <a:xfrm>
                    <a:off x="2598266" y="4286529"/>
                    <a:ext cx="446802" cy="285471"/>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rgbClr val="FFFFFF"/>
                  </a:solidFill>
                  <a:ln>
                    <a:noFill/>
                  </a:ln>
                  <a:extLst/>
                </p:spPr>
                <p:txBody>
                  <a:bodyPr vert="horz" wrap="square" lIns="69964" tIns="34982" rIns="69964" bIns="34982" numCol="1" anchor="t" anchorCtr="0" compatLnSpc="1">
                    <a:prstTxWarp prst="textNoShape">
                      <a:avLst/>
                    </a:prstTxWarp>
                  </a:bodyPr>
                  <a:lstStyle/>
                  <a:p>
                    <a:pPr defTabSz="932559">
                      <a:defRPr/>
                    </a:pPr>
                    <a:endParaRPr lang="en-US" sz="841" kern="0">
                      <a:gradFill>
                        <a:gsLst>
                          <a:gs pos="0">
                            <a:srgbClr val="FFFFFF"/>
                          </a:gs>
                          <a:gs pos="100000">
                            <a:srgbClr val="FFFFFF"/>
                          </a:gs>
                        </a:gsLst>
                        <a:lin ang="5400000" scaled="0"/>
                      </a:gradFill>
                    </a:endParaRPr>
                  </a:p>
                </p:txBody>
              </p:sp>
              <p:sp>
                <p:nvSpPr>
                  <p:cNvPr id="221" name="Freeform 626"/>
                  <p:cNvSpPr>
                    <a:spLocks noChangeAspect="1" noEditPoints="1"/>
                  </p:cNvSpPr>
                  <p:nvPr/>
                </p:nvSpPr>
                <p:spPr bwMode="auto">
                  <a:xfrm>
                    <a:off x="2083916" y="4658004"/>
                    <a:ext cx="446802" cy="285471"/>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rgbClr val="FFFFFF"/>
                  </a:solidFill>
                  <a:ln>
                    <a:noFill/>
                  </a:ln>
                  <a:extLst/>
                </p:spPr>
                <p:txBody>
                  <a:bodyPr vert="horz" wrap="square" lIns="69964" tIns="34982" rIns="69964" bIns="34982" numCol="1" anchor="t" anchorCtr="0" compatLnSpc="1">
                    <a:prstTxWarp prst="textNoShape">
                      <a:avLst/>
                    </a:prstTxWarp>
                  </a:bodyPr>
                  <a:lstStyle/>
                  <a:p>
                    <a:pPr defTabSz="932559">
                      <a:defRPr/>
                    </a:pPr>
                    <a:endParaRPr lang="en-US" sz="841" kern="0">
                      <a:gradFill>
                        <a:gsLst>
                          <a:gs pos="0">
                            <a:srgbClr val="FFFFFF"/>
                          </a:gs>
                          <a:gs pos="100000">
                            <a:srgbClr val="FFFFFF"/>
                          </a:gs>
                        </a:gsLst>
                        <a:lin ang="5400000" scaled="0"/>
                      </a:gradFill>
                    </a:endParaRPr>
                  </a:p>
                </p:txBody>
              </p:sp>
              <p:sp>
                <p:nvSpPr>
                  <p:cNvPr id="222" name="Freeform 626"/>
                  <p:cNvSpPr>
                    <a:spLocks noChangeAspect="1" noEditPoints="1"/>
                  </p:cNvSpPr>
                  <p:nvPr/>
                </p:nvSpPr>
                <p:spPr bwMode="auto">
                  <a:xfrm>
                    <a:off x="2598266" y="4658004"/>
                    <a:ext cx="446802" cy="285471"/>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rgbClr val="FFFFFF"/>
                  </a:solidFill>
                  <a:ln>
                    <a:noFill/>
                  </a:ln>
                  <a:extLst/>
                </p:spPr>
                <p:txBody>
                  <a:bodyPr vert="horz" wrap="square" lIns="69964" tIns="34982" rIns="69964" bIns="34982" numCol="1" anchor="t" anchorCtr="0" compatLnSpc="1">
                    <a:prstTxWarp prst="textNoShape">
                      <a:avLst/>
                    </a:prstTxWarp>
                  </a:bodyPr>
                  <a:lstStyle/>
                  <a:p>
                    <a:pPr defTabSz="932559">
                      <a:defRPr/>
                    </a:pPr>
                    <a:endParaRPr lang="en-US" sz="841" kern="0">
                      <a:gradFill>
                        <a:gsLst>
                          <a:gs pos="0">
                            <a:srgbClr val="FFFFFF"/>
                          </a:gs>
                          <a:gs pos="100000">
                            <a:srgbClr val="FFFFFF"/>
                          </a:gs>
                        </a:gsLst>
                        <a:lin ang="5400000" scaled="0"/>
                      </a:gradFill>
                    </a:endParaRPr>
                  </a:p>
                </p:txBody>
              </p:sp>
            </p:grpSp>
          </p:grpSp>
          <p:sp>
            <p:nvSpPr>
              <p:cNvPr id="216" name="Rectangle 215"/>
              <p:cNvSpPr/>
              <p:nvPr/>
            </p:nvSpPr>
            <p:spPr>
              <a:xfrm>
                <a:off x="950195" y="4754208"/>
                <a:ext cx="911260" cy="249466"/>
              </a:xfrm>
              <a:prstGeom prst="rect">
                <a:avLst/>
              </a:prstGeom>
            </p:spPr>
            <p:txBody>
              <a:bodyPr wrap="none">
                <a:spAutoFit/>
              </a:bodyPr>
              <a:lstStyle/>
              <a:p>
                <a:pPr defTabSz="931280"/>
                <a:r>
                  <a:rPr lang="en-US" sz="1224" dirty="0">
                    <a:ln>
                      <a:solidFill>
                        <a:srgbClr val="FFFFFF">
                          <a:alpha val="0"/>
                        </a:srgbClr>
                      </a:solidFill>
                    </a:ln>
                    <a:solidFill>
                      <a:srgbClr val="FFFFFF"/>
                    </a:solidFill>
                  </a:rPr>
                  <a:t>Multi-tier</a:t>
                </a:r>
              </a:p>
            </p:txBody>
          </p:sp>
        </p:grpSp>
        <p:grpSp>
          <p:nvGrpSpPr>
            <p:cNvPr id="226" name="Group 225"/>
            <p:cNvGrpSpPr/>
            <p:nvPr/>
          </p:nvGrpSpPr>
          <p:grpSpPr>
            <a:xfrm>
              <a:off x="4269016" y="4036182"/>
              <a:ext cx="913829" cy="574135"/>
              <a:chOff x="3645770" y="4238362"/>
              <a:chExt cx="1218121" cy="765313"/>
            </a:xfrm>
          </p:grpSpPr>
          <p:grpSp>
            <p:nvGrpSpPr>
              <p:cNvPr id="227" name="Group 226"/>
              <p:cNvGrpSpPr/>
              <p:nvPr/>
            </p:nvGrpSpPr>
            <p:grpSpPr>
              <a:xfrm>
                <a:off x="3721441" y="4238362"/>
                <a:ext cx="1142450" cy="660926"/>
                <a:chOff x="3667014" y="4254500"/>
                <a:chExt cx="1251304" cy="723900"/>
              </a:xfrm>
            </p:grpSpPr>
            <p:grpSp>
              <p:nvGrpSpPr>
                <p:cNvPr id="229" name="Group 228"/>
                <p:cNvGrpSpPr/>
                <p:nvPr/>
              </p:nvGrpSpPr>
              <p:grpSpPr>
                <a:xfrm>
                  <a:off x="3667014" y="4372114"/>
                  <a:ext cx="540448" cy="485776"/>
                  <a:chOff x="1509935" y="4557161"/>
                  <a:chExt cx="355614" cy="319640"/>
                </a:xfrm>
              </p:grpSpPr>
              <p:sp>
                <p:nvSpPr>
                  <p:cNvPr id="234" name="Freeform 34"/>
                  <p:cNvSpPr>
                    <a:spLocks noEditPoints="1"/>
                  </p:cNvSpPr>
                  <p:nvPr/>
                </p:nvSpPr>
                <p:spPr bwMode="auto">
                  <a:xfrm>
                    <a:off x="1509935" y="4557161"/>
                    <a:ext cx="154970" cy="319640"/>
                  </a:xfrm>
                  <a:custGeom>
                    <a:avLst/>
                    <a:gdLst>
                      <a:gd name="T0" fmla="*/ 648 w 812"/>
                      <a:gd name="T1" fmla="*/ 917 h 1674"/>
                      <a:gd name="T2" fmla="*/ 648 w 812"/>
                      <a:gd name="T3" fmla="*/ 1034 h 1674"/>
                      <a:gd name="T4" fmla="*/ 596 w 812"/>
                      <a:gd name="T5" fmla="*/ 1038 h 1674"/>
                      <a:gd name="T6" fmla="*/ 366 w 812"/>
                      <a:gd name="T7" fmla="*/ 1038 h 1674"/>
                      <a:gd name="T8" fmla="*/ 163 w 812"/>
                      <a:gd name="T9" fmla="*/ 1038 h 1674"/>
                      <a:gd name="T10" fmla="*/ 159 w 812"/>
                      <a:gd name="T11" fmla="*/ 917 h 1674"/>
                      <a:gd name="T12" fmla="*/ 215 w 812"/>
                      <a:gd name="T13" fmla="*/ 908 h 1674"/>
                      <a:gd name="T14" fmla="*/ 439 w 812"/>
                      <a:gd name="T15" fmla="*/ 908 h 1674"/>
                      <a:gd name="T16" fmla="*/ 640 w 812"/>
                      <a:gd name="T17" fmla="*/ 908 h 1674"/>
                      <a:gd name="T18" fmla="*/ 575 w 812"/>
                      <a:gd name="T19" fmla="*/ 695 h 1674"/>
                      <a:gd name="T20" fmla="*/ 318 w 812"/>
                      <a:gd name="T21" fmla="*/ 695 h 1674"/>
                      <a:gd name="T22" fmla="*/ 163 w 812"/>
                      <a:gd name="T23" fmla="*/ 695 h 1674"/>
                      <a:gd name="T24" fmla="*/ 159 w 812"/>
                      <a:gd name="T25" fmla="*/ 816 h 1674"/>
                      <a:gd name="T26" fmla="*/ 230 w 812"/>
                      <a:gd name="T27" fmla="*/ 825 h 1674"/>
                      <a:gd name="T28" fmla="*/ 487 w 812"/>
                      <a:gd name="T29" fmla="*/ 825 h 1674"/>
                      <a:gd name="T30" fmla="*/ 640 w 812"/>
                      <a:gd name="T31" fmla="*/ 825 h 1674"/>
                      <a:gd name="T32" fmla="*/ 648 w 812"/>
                      <a:gd name="T33" fmla="*/ 816 h 1674"/>
                      <a:gd name="T34" fmla="*/ 640 w 812"/>
                      <a:gd name="T35" fmla="*/ 695 h 1674"/>
                      <a:gd name="T36" fmla="*/ 575 w 812"/>
                      <a:gd name="T37" fmla="*/ 486 h 1674"/>
                      <a:gd name="T38" fmla="*/ 318 w 812"/>
                      <a:gd name="T39" fmla="*/ 486 h 1674"/>
                      <a:gd name="T40" fmla="*/ 163 w 812"/>
                      <a:gd name="T41" fmla="*/ 486 h 1674"/>
                      <a:gd name="T42" fmla="*/ 159 w 812"/>
                      <a:gd name="T43" fmla="*/ 607 h 1674"/>
                      <a:gd name="T44" fmla="*/ 230 w 812"/>
                      <a:gd name="T45" fmla="*/ 615 h 1674"/>
                      <a:gd name="T46" fmla="*/ 487 w 812"/>
                      <a:gd name="T47" fmla="*/ 615 h 1674"/>
                      <a:gd name="T48" fmla="*/ 640 w 812"/>
                      <a:gd name="T49" fmla="*/ 615 h 1674"/>
                      <a:gd name="T50" fmla="*/ 648 w 812"/>
                      <a:gd name="T51" fmla="*/ 607 h 1674"/>
                      <a:gd name="T52" fmla="*/ 640 w 812"/>
                      <a:gd name="T53" fmla="*/ 486 h 1674"/>
                      <a:gd name="T54" fmla="*/ 575 w 812"/>
                      <a:gd name="T55" fmla="*/ 276 h 1674"/>
                      <a:gd name="T56" fmla="*/ 318 w 812"/>
                      <a:gd name="T57" fmla="*/ 276 h 1674"/>
                      <a:gd name="T58" fmla="*/ 163 w 812"/>
                      <a:gd name="T59" fmla="*/ 276 h 1674"/>
                      <a:gd name="T60" fmla="*/ 159 w 812"/>
                      <a:gd name="T61" fmla="*/ 392 h 1674"/>
                      <a:gd name="T62" fmla="*/ 230 w 812"/>
                      <a:gd name="T63" fmla="*/ 398 h 1674"/>
                      <a:gd name="T64" fmla="*/ 487 w 812"/>
                      <a:gd name="T65" fmla="*/ 398 h 1674"/>
                      <a:gd name="T66" fmla="*/ 640 w 812"/>
                      <a:gd name="T67" fmla="*/ 398 h 1674"/>
                      <a:gd name="T68" fmla="*/ 648 w 812"/>
                      <a:gd name="T69" fmla="*/ 392 h 1674"/>
                      <a:gd name="T70" fmla="*/ 640 w 812"/>
                      <a:gd name="T71" fmla="*/ 276 h 1674"/>
                      <a:gd name="T72" fmla="*/ 812 w 812"/>
                      <a:gd name="T73" fmla="*/ 169 h 1674"/>
                      <a:gd name="T74" fmla="*/ 755 w 812"/>
                      <a:gd name="T75" fmla="*/ 1674 h 1674"/>
                      <a:gd name="T76" fmla="*/ 0 w 812"/>
                      <a:gd name="T77" fmla="*/ 1618 h 1674"/>
                      <a:gd name="T78" fmla="*/ 46 w 812"/>
                      <a:gd name="T79" fmla="*/ 79 h 1674"/>
                      <a:gd name="T80" fmla="*/ 215 w 812"/>
                      <a:gd name="T81" fmla="*/ 0 h 1674"/>
                      <a:gd name="T82" fmla="*/ 699 w 812"/>
                      <a:gd name="T83" fmla="*/ 34 h 1674"/>
                      <a:gd name="T84" fmla="*/ 745 w 812"/>
                      <a:gd name="T85" fmla="*/ 1576 h 1674"/>
                      <a:gd name="T86" fmla="*/ 62 w 812"/>
                      <a:gd name="T87" fmla="*/ 1524 h 1674"/>
                      <a:gd name="T88" fmla="*/ 745 w 812"/>
                      <a:gd name="T89" fmla="*/ 1576 h 1674"/>
                      <a:gd name="T90" fmla="*/ 115 w 812"/>
                      <a:gd name="T91" fmla="*/ 1460 h 1674"/>
                      <a:gd name="T92" fmla="*/ 115 w 812"/>
                      <a:gd name="T93" fmla="*/ 1360 h 1674"/>
                      <a:gd name="T94" fmla="*/ 251 w 812"/>
                      <a:gd name="T95" fmla="*/ 1410 h 1674"/>
                      <a:gd name="T96" fmla="*/ 351 w 812"/>
                      <a:gd name="T97" fmla="*/ 1410 h 1674"/>
                      <a:gd name="T98" fmla="*/ 251 w 812"/>
                      <a:gd name="T99" fmla="*/ 1410 h 1674"/>
                      <a:gd name="T100" fmla="*/ 745 w 812"/>
                      <a:gd name="T101" fmla="*/ 1226 h 1674"/>
                      <a:gd name="T102" fmla="*/ 62 w 812"/>
                      <a:gd name="T103" fmla="*/ 1282 h 1674"/>
                      <a:gd name="T104" fmla="*/ 745 w 812"/>
                      <a:gd name="T105" fmla="*/ 1080 h 1674"/>
                      <a:gd name="T106" fmla="*/ 745 w 812"/>
                      <a:gd name="T107" fmla="*/ 236 h 1674"/>
                      <a:gd name="T108" fmla="*/ 119 w 812"/>
                      <a:gd name="T109" fmla="*/ 179 h 1674"/>
                      <a:gd name="T110" fmla="*/ 62 w 812"/>
                      <a:gd name="T111" fmla="*/ 1080 h 1674"/>
                      <a:gd name="T112" fmla="*/ 106 w 812"/>
                      <a:gd name="T113" fmla="*/ 1137 h 1674"/>
                      <a:gd name="T114" fmla="*/ 452 w 812"/>
                      <a:gd name="T115" fmla="*/ 1137 h 1674"/>
                      <a:gd name="T116" fmla="*/ 692 w 812"/>
                      <a:gd name="T117" fmla="*/ 1137 h 1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12" h="1674">
                        <a:moveTo>
                          <a:pt x="640" y="908"/>
                        </a:moveTo>
                        <a:cubicBezTo>
                          <a:pt x="644" y="908"/>
                          <a:pt x="648" y="913"/>
                          <a:pt x="648" y="917"/>
                        </a:cubicBezTo>
                        <a:cubicBezTo>
                          <a:pt x="648" y="954"/>
                          <a:pt x="648" y="994"/>
                          <a:pt x="648" y="1032"/>
                        </a:cubicBezTo>
                        <a:cubicBezTo>
                          <a:pt x="648" y="1032"/>
                          <a:pt x="648" y="1032"/>
                          <a:pt x="648" y="1034"/>
                        </a:cubicBezTo>
                        <a:cubicBezTo>
                          <a:pt x="644" y="1038"/>
                          <a:pt x="644" y="1038"/>
                          <a:pt x="640" y="1038"/>
                        </a:cubicBezTo>
                        <a:cubicBezTo>
                          <a:pt x="628" y="1038"/>
                          <a:pt x="609" y="1038"/>
                          <a:pt x="596" y="1038"/>
                        </a:cubicBezTo>
                        <a:cubicBezTo>
                          <a:pt x="535" y="1038"/>
                          <a:pt x="544" y="1038"/>
                          <a:pt x="487" y="1038"/>
                        </a:cubicBezTo>
                        <a:cubicBezTo>
                          <a:pt x="416" y="1038"/>
                          <a:pt x="439" y="1038"/>
                          <a:pt x="366" y="1038"/>
                        </a:cubicBezTo>
                        <a:cubicBezTo>
                          <a:pt x="307" y="1038"/>
                          <a:pt x="291" y="1038"/>
                          <a:pt x="230" y="1038"/>
                        </a:cubicBezTo>
                        <a:cubicBezTo>
                          <a:pt x="203" y="1038"/>
                          <a:pt x="190" y="1038"/>
                          <a:pt x="163" y="1038"/>
                        </a:cubicBezTo>
                        <a:cubicBezTo>
                          <a:pt x="159" y="1038"/>
                          <a:pt x="159" y="1032"/>
                          <a:pt x="159" y="1032"/>
                        </a:cubicBezTo>
                        <a:cubicBezTo>
                          <a:pt x="159" y="994"/>
                          <a:pt x="159" y="954"/>
                          <a:pt x="159" y="917"/>
                        </a:cubicBezTo>
                        <a:cubicBezTo>
                          <a:pt x="159" y="913"/>
                          <a:pt x="159" y="908"/>
                          <a:pt x="163" y="908"/>
                        </a:cubicBezTo>
                        <a:cubicBezTo>
                          <a:pt x="184" y="908"/>
                          <a:pt x="194" y="908"/>
                          <a:pt x="215" y="908"/>
                        </a:cubicBezTo>
                        <a:cubicBezTo>
                          <a:pt x="268" y="908"/>
                          <a:pt x="263" y="908"/>
                          <a:pt x="318" y="908"/>
                        </a:cubicBezTo>
                        <a:cubicBezTo>
                          <a:pt x="391" y="908"/>
                          <a:pt x="368" y="908"/>
                          <a:pt x="439" y="908"/>
                        </a:cubicBezTo>
                        <a:cubicBezTo>
                          <a:pt x="500" y="908"/>
                          <a:pt x="517" y="908"/>
                          <a:pt x="575" y="908"/>
                        </a:cubicBezTo>
                        <a:cubicBezTo>
                          <a:pt x="605" y="908"/>
                          <a:pt x="615" y="908"/>
                          <a:pt x="640" y="908"/>
                        </a:cubicBezTo>
                        <a:close/>
                        <a:moveTo>
                          <a:pt x="640" y="695"/>
                        </a:moveTo>
                        <a:cubicBezTo>
                          <a:pt x="615" y="695"/>
                          <a:pt x="605" y="695"/>
                          <a:pt x="575" y="695"/>
                        </a:cubicBezTo>
                        <a:cubicBezTo>
                          <a:pt x="517" y="695"/>
                          <a:pt x="500" y="695"/>
                          <a:pt x="439" y="695"/>
                        </a:cubicBezTo>
                        <a:cubicBezTo>
                          <a:pt x="368" y="695"/>
                          <a:pt x="391" y="695"/>
                          <a:pt x="318" y="695"/>
                        </a:cubicBezTo>
                        <a:cubicBezTo>
                          <a:pt x="263" y="695"/>
                          <a:pt x="268" y="695"/>
                          <a:pt x="215" y="695"/>
                        </a:cubicBezTo>
                        <a:cubicBezTo>
                          <a:pt x="194" y="695"/>
                          <a:pt x="184" y="695"/>
                          <a:pt x="163" y="695"/>
                        </a:cubicBezTo>
                        <a:cubicBezTo>
                          <a:pt x="159" y="695"/>
                          <a:pt x="159" y="699"/>
                          <a:pt x="159" y="703"/>
                        </a:cubicBezTo>
                        <a:cubicBezTo>
                          <a:pt x="159" y="739"/>
                          <a:pt x="159" y="781"/>
                          <a:pt x="159" y="816"/>
                        </a:cubicBezTo>
                        <a:cubicBezTo>
                          <a:pt x="159" y="821"/>
                          <a:pt x="159" y="825"/>
                          <a:pt x="163" y="825"/>
                        </a:cubicBezTo>
                        <a:cubicBezTo>
                          <a:pt x="190" y="825"/>
                          <a:pt x="203" y="825"/>
                          <a:pt x="230" y="825"/>
                        </a:cubicBezTo>
                        <a:cubicBezTo>
                          <a:pt x="291" y="825"/>
                          <a:pt x="307" y="825"/>
                          <a:pt x="366" y="825"/>
                        </a:cubicBezTo>
                        <a:cubicBezTo>
                          <a:pt x="439" y="825"/>
                          <a:pt x="416" y="825"/>
                          <a:pt x="487" y="825"/>
                        </a:cubicBezTo>
                        <a:cubicBezTo>
                          <a:pt x="544" y="825"/>
                          <a:pt x="535" y="825"/>
                          <a:pt x="596" y="825"/>
                        </a:cubicBezTo>
                        <a:cubicBezTo>
                          <a:pt x="609" y="825"/>
                          <a:pt x="628" y="825"/>
                          <a:pt x="640" y="825"/>
                        </a:cubicBezTo>
                        <a:cubicBezTo>
                          <a:pt x="644" y="825"/>
                          <a:pt x="644" y="825"/>
                          <a:pt x="648" y="825"/>
                        </a:cubicBezTo>
                        <a:cubicBezTo>
                          <a:pt x="648" y="821"/>
                          <a:pt x="648" y="821"/>
                          <a:pt x="648" y="816"/>
                        </a:cubicBezTo>
                        <a:cubicBezTo>
                          <a:pt x="648" y="781"/>
                          <a:pt x="648" y="739"/>
                          <a:pt x="648" y="703"/>
                        </a:cubicBezTo>
                        <a:cubicBezTo>
                          <a:pt x="648" y="699"/>
                          <a:pt x="644" y="695"/>
                          <a:pt x="640" y="695"/>
                        </a:cubicBezTo>
                        <a:close/>
                        <a:moveTo>
                          <a:pt x="640" y="486"/>
                        </a:moveTo>
                        <a:cubicBezTo>
                          <a:pt x="615" y="486"/>
                          <a:pt x="605" y="486"/>
                          <a:pt x="575" y="486"/>
                        </a:cubicBezTo>
                        <a:cubicBezTo>
                          <a:pt x="517" y="486"/>
                          <a:pt x="500" y="486"/>
                          <a:pt x="439" y="486"/>
                        </a:cubicBezTo>
                        <a:cubicBezTo>
                          <a:pt x="368" y="486"/>
                          <a:pt x="391" y="486"/>
                          <a:pt x="318" y="486"/>
                        </a:cubicBezTo>
                        <a:cubicBezTo>
                          <a:pt x="263" y="486"/>
                          <a:pt x="268" y="486"/>
                          <a:pt x="215" y="486"/>
                        </a:cubicBezTo>
                        <a:cubicBezTo>
                          <a:pt x="194" y="486"/>
                          <a:pt x="184" y="486"/>
                          <a:pt x="163" y="486"/>
                        </a:cubicBezTo>
                        <a:cubicBezTo>
                          <a:pt x="159" y="486"/>
                          <a:pt x="159" y="490"/>
                          <a:pt x="159" y="494"/>
                        </a:cubicBezTo>
                        <a:cubicBezTo>
                          <a:pt x="159" y="530"/>
                          <a:pt x="159" y="569"/>
                          <a:pt x="159" y="607"/>
                        </a:cubicBezTo>
                        <a:cubicBezTo>
                          <a:pt x="159" y="611"/>
                          <a:pt x="159" y="615"/>
                          <a:pt x="163" y="615"/>
                        </a:cubicBezTo>
                        <a:cubicBezTo>
                          <a:pt x="190" y="615"/>
                          <a:pt x="203" y="615"/>
                          <a:pt x="230" y="615"/>
                        </a:cubicBezTo>
                        <a:cubicBezTo>
                          <a:pt x="291" y="615"/>
                          <a:pt x="307" y="615"/>
                          <a:pt x="366" y="615"/>
                        </a:cubicBezTo>
                        <a:cubicBezTo>
                          <a:pt x="439" y="615"/>
                          <a:pt x="416" y="615"/>
                          <a:pt x="487" y="615"/>
                        </a:cubicBezTo>
                        <a:cubicBezTo>
                          <a:pt x="544" y="615"/>
                          <a:pt x="535" y="615"/>
                          <a:pt x="596" y="615"/>
                        </a:cubicBezTo>
                        <a:cubicBezTo>
                          <a:pt x="609" y="615"/>
                          <a:pt x="628" y="615"/>
                          <a:pt x="640" y="615"/>
                        </a:cubicBezTo>
                        <a:cubicBezTo>
                          <a:pt x="644" y="615"/>
                          <a:pt x="644" y="615"/>
                          <a:pt x="648" y="611"/>
                        </a:cubicBezTo>
                        <a:cubicBezTo>
                          <a:pt x="648" y="611"/>
                          <a:pt x="648" y="611"/>
                          <a:pt x="648" y="607"/>
                        </a:cubicBezTo>
                        <a:cubicBezTo>
                          <a:pt x="648" y="569"/>
                          <a:pt x="648" y="530"/>
                          <a:pt x="648" y="494"/>
                        </a:cubicBezTo>
                        <a:cubicBezTo>
                          <a:pt x="648" y="490"/>
                          <a:pt x="644" y="486"/>
                          <a:pt x="640" y="486"/>
                        </a:cubicBezTo>
                        <a:close/>
                        <a:moveTo>
                          <a:pt x="640" y="276"/>
                        </a:moveTo>
                        <a:cubicBezTo>
                          <a:pt x="615" y="276"/>
                          <a:pt x="605" y="276"/>
                          <a:pt x="575" y="276"/>
                        </a:cubicBezTo>
                        <a:cubicBezTo>
                          <a:pt x="517" y="276"/>
                          <a:pt x="500" y="276"/>
                          <a:pt x="439" y="276"/>
                        </a:cubicBezTo>
                        <a:cubicBezTo>
                          <a:pt x="368" y="276"/>
                          <a:pt x="391" y="276"/>
                          <a:pt x="318" y="276"/>
                        </a:cubicBezTo>
                        <a:cubicBezTo>
                          <a:pt x="263" y="276"/>
                          <a:pt x="268" y="276"/>
                          <a:pt x="215" y="276"/>
                        </a:cubicBezTo>
                        <a:cubicBezTo>
                          <a:pt x="194" y="276"/>
                          <a:pt x="184" y="276"/>
                          <a:pt x="163" y="276"/>
                        </a:cubicBezTo>
                        <a:cubicBezTo>
                          <a:pt x="159" y="276"/>
                          <a:pt x="159" y="280"/>
                          <a:pt x="159" y="285"/>
                        </a:cubicBezTo>
                        <a:cubicBezTo>
                          <a:pt x="159" y="319"/>
                          <a:pt x="159" y="357"/>
                          <a:pt x="159" y="392"/>
                        </a:cubicBezTo>
                        <a:cubicBezTo>
                          <a:pt x="159" y="394"/>
                          <a:pt x="159" y="398"/>
                          <a:pt x="163" y="398"/>
                        </a:cubicBezTo>
                        <a:cubicBezTo>
                          <a:pt x="190" y="398"/>
                          <a:pt x="203" y="398"/>
                          <a:pt x="230" y="398"/>
                        </a:cubicBezTo>
                        <a:cubicBezTo>
                          <a:pt x="291" y="398"/>
                          <a:pt x="307" y="398"/>
                          <a:pt x="366" y="398"/>
                        </a:cubicBezTo>
                        <a:cubicBezTo>
                          <a:pt x="439" y="398"/>
                          <a:pt x="416" y="398"/>
                          <a:pt x="487" y="398"/>
                        </a:cubicBezTo>
                        <a:cubicBezTo>
                          <a:pt x="544" y="398"/>
                          <a:pt x="535" y="398"/>
                          <a:pt x="596" y="398"/>
                        </a:cubicBezTo>
                        <a:cubicBezTo>
                          <a:pt x="609" y="398"/>
                          <a:pt x="628" y="398"/>
                          <a:pt x="640" y="398"/>
                        </a:cubicBezTo>
                        <a:cubicBezTo>
                          <a:pt x="644" y="398"/>
                          <a:pt x="644" y="398"/>
                          <a:pt x="648" y="394"/>
                        </a:cubicBezTo>
                        <a:cubicBezTo>
                          <a:pt x="648" y="394"/>
                          <a:pt x="648" y="394"/>
                          <a:pt x="648" y="392"/>
                        </a:cubicBezTo>
                        <a:cubicBezTo>
                          <a:pt x="648" y="357"/>
                          <a:pt x="648" y="319"/>
                          <a:pt x="648" y="285"/>
                        </a:cubicBezTo>
                        <a:cubicBezTo>
                          <a:pt x="648" y="280"/>
                          <a:pt x="644" y="276"/>
                          <a:pt x="640" y="276"/>
                        </a:cubicBezTo>
                        <a:close/>
                        <a:moveTo>
                          <a:pt x="766" y="79"/>
                        </a:moveTo>
                        <a:cubicBezTo>
                          <a:pt x="791" y="98"/>
                          <a:pt x="812" y="138"/>
                          <a:pt x="812" y="169"/>
                        </a:cubicBezTo>
                        <a:cubicBezTo>
                          <a:pt x="812" y="169"/>
                          <a:pt x="812" y="169"/>
                          <a:pt x="812" y="1618"/>
                        </a:cubicBezTo>
                        <a:cubicBezTo>
                          <a:pt x="812" y="1649"/>
                          <a:pt x="787" y="1674"/>
                          <a:pt x="755" y="1674"/>
                        </a:cubicBezTo>
                        <a:cubicBezTo>
                          <a:pt x="755" y="1674"/>
                          <a:pt x="755" y="1674"/>
                          <a:pt x="56" y="1674"/>
                        </a:cubicBezTo>
                        <a:cubicBezTo>
                          <a:pt x="25" y="1674"/>
                          <a:pt x="0" y="1649"/>
                          <a:pt x="0" y="1618"/>
                        </a:cubicBezTo>
                        <a:cubicBezTo>
                          <a:pt x="0" y="1618"/>
                          <a:pt x="0" y="1618"/>
                          <a:pt x="0" y="169"/>
                        </a:cubicBezTo>
                        <a:cubicBezTo>
                          <a:pt x="0" y="138"/>
                          <a:pt x="21" y="98"/>
                          <a:pt x="46" y="79"/>
                        </a:cubicBezTo>
                        <a:cubicBezTo>
                          <a:pt x="46" y="79"/>
                          <a:pt x="46" y="79"/>
                          <a:pt x="113" y="34"/>
                        </a:cubicBezTo>
                        <a:cubicBezTo>
                          <a:pt x="138" y="15"/>
                          <a:pt x="184" y="0"/>
                          <a:pt x="215" y="0"/>
                        </a:cubicBezTo>
                        <a:cubicBezTo>
                          <a:pt x="215" y="0"/>
                          <a:pt x="215" y="0"/>
                          <a:pt x="596" y="0"/>
                        </a:cubicBezTo>
                        <a:cubicBezTo>
                          <a:pt x="628" y="0"/>
                          <a:pt x="674" y="15"/>
                          <a:pt x="699" y="34"/>
                        </a:cubicBezTo>
                        <a:cubicBezTo>
                          <a:pt x="699" y="34"/>
                          <a:pt x="699" y="34"/>
                          <a:pt x="766" y="79"/>
                        </a:cubicBezTo>
                        <a:close/>
                        <a:moveTo>
                          <a:pt x="745" y="1576"/>
                        </a:moveTo>
                        <a:cubicBezTo>
                          <a:pt x="745" y="1576"/>
                          <a:pt x="745" y="1576"/>
                          <a:pt x="745" y="1524"/>
                        </a:cubicBezTo>
                        <a:cubicBezTo>
                          <a:pt x="724" y="1524"/>
                          <a:pt x="611" y="1524"/>
                          <a:pt x="62" y="1524"/>
                        </a:cubicBezTo>
                        <a:cubicBezTo>
                          <a:pt x="62" y="1524"/>
                          <a:pt x="62" y="1524"/>
                          <a:pt x="62" y="1576"/>
                        </a:cubicBezTo>
                        <a:cubicBezTo>
                          <a:pt x="83" y="1576"/>
                          <a:pt x="196" y="1576"/>
                          <a:pt x="745" y="1576"/>
                        </a:cubicBezTo>
                        <a:close/>
                        <a:moveTo>
                          <a:pt x="65" y="1410"/>
                        </a:moveTo>
                        <a:cubicBezTo>
                          <a:pt x="65" y="1437"/>
                          <a:pt x="88" y="1460"/>
                          <a:pt x="115" y="1460"/>
                        </a:cubicBezTo>
                        <a:cubicBezTo>
                          <a:pt x="142" y="1460"/>
                          <a:pt x="165" y="1437"/>
                          <a:pt x="165" y="1410"/>
                        </a:cubicBezTo>
                        <a:cubicBezTo>
                          <a:pt x="165" y="1383"/>
                          <a:pt x="142" y="1360"/>
                          <a:pt x="115" y="1360"/>
                        </a:cubicBezTo>
                        <a:cubicBezTo>
                          <a:pt x="88" y="1360"/>
                          <a:pt x="65" y="1383"/>
                          <a:pt x="65" y="1410"/>
                        </a:cubicBezTo>
                        <a:close/>
                        <a:moveTo>
                          <a:pt x="251" y="1410"/>
                        </a:moveTo>
                        <a:cubicBezTo>
                          <a:pt x="251" y="1437"/>
                          <a:pt x="272" y="1460"/>
                          <a:pt x="301" y="1460"/>
                        </a:cubicBezTo>
                        <a:cubicBezTo>
                          <a:pt x="328" y="1460"/>
                          <a:pt x="351" y="1437"/>
                          <a:pt x="351" y="1410"/>
                        </a:cubicBezTo>
                        <a:cubicBezTo>
                          <a:pt x="351" y="1383"/>
                          <a:pt x="328" y="1360"/>
                          <a:pt x="301" y="1360"/>
                        </a:cubicBezTo>
                        <a:cubicBezTo>
                          <a:pt x="272" y="1360"/>
                          <a:pt x="251" y="1383"/>
                          <a:pt x="251" y="1410"/>
                        </a:cubicBezTo>
                        <a:close/>
                        <a:moveTo>
                          <a:pt x="745" y="1282"/>
                        </a:moveTo>
                        <a:cubicBezTo>
                          <a:pt x="745" y="1282"/>
                          <a:pt x="745" y="1282"/>
                          <a:pt x="745" y="1226"/>
                        </a:cubicBezTo>
                        <a:cubicBezTo>
                          <a:pt x="724" y="1226"/>
                          <a:pt x="611" y="1226"/>
                          <a:pt x="62" y="1226"/>
                        </a:cubicBezTo>
                        <a:cubicBezTo>
                          <a:pt x="62" y="1226"/>
                          <a:pt x="62" y="1226"/>
                          <a:pt x="62" y="1282"/>
                        </a:cubicBezTo>
                        <a:cubicBezTo>
                          <a:pt x="83" y="1282"/>
                          <a:pt x="196" y="1282"/>
                          <a:pt x="745" y="1282"/>
                        </a:cubicBezTo>
                        <a:close/>
                        <a:moveTo>
                          <a:pt x="745" y="1080"/>
                        </a:moveTo>
                        <a:cubicBezTo>
                          <a:pt x="745" y="1080"/>
                          <a:pt x="745" y="1080"/>
                          <a:pt x="745" y="1080"/>
                        </a:cubicBezTo>
                        <a:cubicBezTo>
                          <a:pt x="745" y="236"/>
                          <a:pt x="745" y="236"/>
                          <a:pt x="745" y="236"/>
                        </a:cubicBezTo>
                        <a:cubicBezTo>
                          <a:pt x="745" y="205"/>
                          <a:pt x="720" y="179"/>
                          <a:pt x="688" y="179"/>
                        </a:cubicBezTo>
                        <a:cubicBezTo>
                          <a:pt x="688" y="179"/>
                          <a:pt x="688" y="179"/>
                          <a:pt x="119" y="179"/>
                        </a:cubicBezTo>
                        <a:cubicBezTo>
                          <a:pt x="88" y="179"/>
                          <a:pt x="62" y="205"/>
                          <a:pt x="62" y="236"/>
                        </a:cubicBezTo>
                        <a:cubicBezTo>
                          <a:pt x="62" y="236"/>
                          <a:pt x="62" y="236"/>
                          <a:pt x="62" y="1080"/>
                        </a:cubicBezTo>
                        <a:cubicBezTo>
                          <a:pt x="62" y="1111"/>
                          <a:pt x="77" y="1137"/>
                          <a:pt x="96" y="1137"/>
                        </a:cubicBezTo>
                        <a:cubicBezTo>
                          <a:pt x="96" y="1137"/>
                          <a:pt x="96" y="1137"/>
                          <a:pt x="106" y="1137"/>
                        </a:cubicBezTo>
                        <a:cubicBezTo>
                          <a:pt x="171" y="1137"/>
                          <a:pt x="234" y="1137"/>
                          <a:pt x="299" y="1137"/>
                        </a:cubicBezTo>
                        <a:cubicBezTo>
                          <a:pt x="383" y="1137"/>
                          <a:pt x="372" y="1137"/>
                          <a:pt x="452" y="1137"/>
                        </a:cubicBezTo>
                        <a:cubicBezTo>
                          <a:pt x="525" y="1137"/>
                          <a:pt x="596" y="1137"/>
                          <a:pt x="665" y="1137"/>
                        </a:cubicBezTo>
                        <a:cubicBezTo>
                          <a:pt x="692" y="1137"/>
                          <a:pt x="692" y="1137"/>
                          <a:pt x="692" y="1137"/>
                        </a:cubicBezTo>
                        <a:cubicBezTo>
                          <a:pt x="722" y="1137"/>
                          <a:pt x="745" y="1111"/>
                          <a:pt x="745" y="1080"/>
                        </a:cubicBezTo>
                        <a:close/>
                      </a:path>
                    </a:pathLst>
                  </a:custGeom>
                  <a:solidFill>
                    <a:schemeClr val="tx1"/>
                  </a:solidFill>
                  <a:ln w="25400" cap="flat" cmpd="sng" algn="ctr">
                    <a:noFill/>
                    <a:prstDash val="solid"/>
                    <a:headEnd type="none" w="med" len="med"/>
                    <a:tailEnd type="none" w="med" len="med"/>
                  </a:ln>
                  <a:effectLst/>
                  <a:extLst/>
                </p:spPr>
                <p:txBody>
                  <a:bodyPr vert="horz" wrap="square" lIns="209891" tIns="209891" rIns="69961" bIns="34980" numCol="1" rtlCol="0" anchor="t" anchorCtr="0" compatLnSpc="1">
                    <a:prstTxWarp prst="textNoShape">
                      <a:avLst/>
                    </a:prstTxWarp>
                  </a:bodyPr>
                  <a:lstStyle/>
                  <a:p>
                    <a:pPr defTabSz="699404" fontAlgn="base">
                      <a:lnSpc>
                        <a:spcPct val="90000"/>
                      </a:lnSpc>
                      <a:spcBef>
                        <a:spcPct val="0"/>
                      </a:spcBef>
                      <a:spcAft>
                        <a:spcPct val="0"/>
                      </a:spcAft>
                    </a:pPr>
                    <a:endParaRPr lang="en-US" sz="3061" kern="0">
                      <a:gradFill>
                        <a:gsLst>
                          <a:gs pos="0">
                            <a:srgbClr val="FFFFFF"/>
                          </a:gs>
                          <a:gs pos="100000">
                            <a:srgbClr val="FFFFFF"/>
                          </a:gs>
                        </a:gsLst>
                        <a:lin ang="16200000" scaled="0"/>
                      </a:gradFill>
                      <a:latin typeface="Segoe UI Light"/>
                    </a:endParaRPr>
                  </a:p>
                </p:txBody>
              </p:sp>
              <p:sp>
                <p:nvSpPr>
                  <p:cNvPr id="235" name="Freeform 34"/>
                  <p:cNvSpPr>
                    <a:spLocks noEditPoints="1"/>
                  </p:cNvSpPr>
                  <p:nvPr/>
                </p:nvSpPr>
                <p:spPr bwMode="auto">
                  <a:xfrm>
                    <a:off x="1710579" y="4557161"/>
                    <a:ext cx="154970" cy="319640"/>
                  </a:xfrm>
                  <a:custGeom>
                    <a:avLst/>
                    <a:gdLst>
                      <a:gd name="T0" fmla="*/ 648 w 812"/>
                      <a:gd name="T1" fmla="*/ 917 h 1674"/>
                      <a:gd name="T2" fmla="*/ 648 w 812"/>
                      <a:gd name="T3" fmla="*/ 1034 h 1674"/>
                      <a:gd name="T4" fmla="*/ 596 w 812"/>
                      <a:gd name="T5" fmla="*/ 1038 h 1674"/>
                      <a:gd name="T6" fmla="*/ 366 w 812"/>
                      <a:gd name="T7" fmla="*/ 1038 h 1674"/>
                      <a:gd name="T8" fmla="*/ 163 w 812"/>
                      <a:gd name="T9" fmla="*/ 1038 h 1674"/>
                      <a:gd name="T10" fmla="*/ 159 w 812"/>
                      <a:gd name="T11" fmla="*/ 917 h 1674"/>
                      <a:gd name="T12" fmla="*/ 215 w 812"/>
                      <a:gd name="T13" fmla="*/ 908 h 1674"/>
                      <a:gd name="T14" fmla="*/ 439 w 812"/>
                      <a:gd name="T15" fmla="*/ 908 h 1674"/>
                      <a:gd name="T16" fmla="*/ 640 w 812"/>
                      <a:gd name="T17" fmla="*/ 908 h 1674"/>
                      <a:gd name="T18" fmla="*/ 575 w 812"/>
                      <a:gd name="T19" fmla="*/ 695 h 1674"/>
                      <a:gd name="T20" fmla="*/ 318 w 812"/>
                      <a:gd name="T21" fmla="*/ 695 h 1674"/>
                      <a:gd name="T22" fmla="*/ 163 w 812"/>
                      <a:gd name="T23" fmla="*/ 695 h 1674"/>
                      <a:gd name="T24" fmla="*/ 159 w 812"/>
                      <a:gd name="T25" fmla="*/ 816 h 1674"/>
                      <a:gd name="T26" fmla="*/ 230 w 812"/>
                      <a:gd name="T27" fmla="*/ 825 h 1674"/>
                      <a:gd name="T28" fmla="*/ 487 w 812"/>
                      <a:gd name="T29" fmla="*/ 825 h 1674"/>
                      <a:gd name="T30" fmla="*/ 640 w 812"/>
                      <a:gd name="T31" fmla="*/ 825 h 1674"/>
                      <a:gd name="T32" fmla="*/ 648 w 812"/>
                      <a:gd name="T33" fmla="*/ 816 h 1674"/>
                      <a:gd name="T34" fmla="*/ 640 w 812"/>
                      <a:gd name="T35" fmla="*/ 695 h 1674"/>
                      <a:gd name="T36" fmla="*/ 575 w 812"/>
                      <a:gd name="T37" fmla="*/ 486 h 1674"/>
                      <a:gd name="T38" fmla="*/ 318 w 812"/>
                      <a:gd name="T39" fmla="*/ 486 h 1674"/>
                      <a:gd name="T40" fmla="*/ 163 w 812"/>
                      <a:gd name="T41" fmla="*/ 486 h 1674"/>
                      <a:gd name="T42" fmla="*/ 159 w 812"/>
                      <a:gd name="T43" fmla="*/ 607 h 1674"/>
                      <a:gd name="T44" fmla="*/ 230 w 812"/>
                      <a:gd name="T45" fmla="*/ 615 h 1674"/>
                      <a:gd name="T46" fmla="*/ 487 w 812"/>
                      <a:gd name="T47" fmla="*/ 615 h 1674"/>
                      <a:gd name="T48" fmla="*/ 640 w 812"/>
                      <a:gd name="T49" fmla="*/ 615 h 1674"/>
                      <a:gd name="T50" fmla="*/ 648 w 812"/>
                      <a:gd name="T51" fmla="*/ 607 h 1674"/>
                      <a:gd name="T52" fmla="*/ 640 w 812"/>
                      <a:gd name="T53" fmla="*/ 486 h 1674"/>
                      <a:gd name="T54" fmla="*/ 575 w 812"/>
                      <a:gd name="T55" fmla="*/ 276 h 1674"/>
                      <a:gd name="T56" fmla="*/ 318 w 812"/>
                      <a:gd name="T57" fmla="*/ 276 h 1674"/>
                      <a:gd name="T58" fmla="*/ 163 w 812"/>
                      <a:gd name="T59" fmla="*/ 276 h 1674"/>
                      <a:gd name="T60" fmla="*/ 159 w 812"/>
                      <a:gd name="T61" fmla="*/ 392 h 1674"/>
                      <a:gd name="T62" fmla="*/ 230 w 812"/>
                      <a:gd name="T63" fmla="*/ 398 h 1674"/>
                      <a:gd name="T64" fmla="*/ 487 w 812"/>
                      <a:gd name="T65" fmla="*/ 398 h 1674"/>
                      <a:gd name="T66" fmla="*/ 640 w 812"/>
                      <a:gd name="T67" fmla="*/ 398 h 1674"/>
                      <a:gd name="T68" fmla="*/ 648 w 812"/>
                      <a:gd name="T69" fmla="*/ 392 h 1674"/>
                      <a:gd name="T70" fmla="*/ 640 w 812"/>
                      <a:gd name="T71" fmla="*/ 276 h 1674"/>
                      <a:gd name="T72" fmla="*/ 812 w 812"/>
                      <a:gd name="T73" fmla="*/ 169 h 1674"/>
                      <a:gd name="T74" fmla="*/ 755 w 812"/>
                      <a:gd name="T75" fmla="*/ 1674 h 1674"/>
                      <a:gd name="T76" fmla="*/ 0 w 812"/>
                      <a:gd name="T77" fmla="*/ 1618 h 1674"/>
                      <a:gd name="T78" fmla="*/ 46 w 812"/>
                      <a:gd name="T79" fmla="*/ 79 h 1674"/>
                      <a:gd name="T80" fmla="*/ 215 w 812"/>
                      <a:gd name="T81" fmla="*/ 0 h 1674"/>
                      <a:gd name="T82" fmla="*/ 699 w 812"/>
                      <a:gd name="T83" fmla="*/ 34 h 1674"/>
                      <a:gd name="T84" fmla="*/ 745 w 812"/>
                      <a:gd name="T85" fmla="*/ 1576 h 1674"/>
                      <a:gd name="T86" fmla="*/ 62 w 812"/>
                      <a:gd name="T87" fmla="*/ 1524 h 1674"/>
                      <a:gd name="T88" fmla="*/ 745 w 812"/>
                      <a:gd name="T89" fmla="*/ 1576 h 1674"/>
                      <a:gd name="T90" fmla="*/ 115 w 812"/>
                      <a:gd name="T91" fmla="*/ 1460 h 1674"/>
                      <a:gd name="T92" fmla="*/ 115 w 812"/>
                      <a:gd name="T93" fmla="*/ 1360 h 1674"/>
                      <a:gd name="T94" fmla="*/ 251 w 812"/>
                      <a:gd name="T95" fmla="*/ 1410 h 1674"/>
                      <a:gd name="T96" fmla="*/ 351 w 812"/>
                      <a:gd name="T97" fmla="*/ 1410 h 1674"/>
                      <a:gd name="T98" fmla="*/ 251 w 812"/>
                      <a:gd name="T99" fmla="*/ 1410 h 1674"/>
                      <a:gd name="T100" fmla="*/ 745 w 812"/>
                      <a:gd name="T101" fmla="*/ 1226 h 1674"/>
                      <a:gd name="T102" fmla="*/ 62 w 812"/>
                      <a:gd name="T103" fmla="*/ 1282 h 1674"/>
                      <a:gd name="T104" fmla="*/ 745 w 812"/>
                      <a:gd name="T105" fmla="*/ 1080 h 1674"/>
                      <a:gd name="T106" fmla="*/ 745 w 812"/>
                      <a:gd name="T107" fmla="*/ 236 h 1674"/>
                      <a:gd name="T108" fmla="*/ 119 w 812"/>
                      <a:gd name="T109" fmla="*/ 179 h 1674"/>
                      <a:gd name="T110" fmla="*/ 62 w 812"/>
                      <a:gd name="T111" fmla="*/ 1080 h 1674"/>
                      <a:gd name="T112" fmla="*/ 106 w 812"/>
                      <a:gd name="T113" fmla="*/ 1137 h 1674"/>
                      <a:gd name="T114" fmla="*/ 452 w 812"/>
                      <a:gd name="T115" fmla="*/ 1137 h 1674"/>
                      <a:gd name="T116" fmla="*/ 692 w 812"/>
                      <a:gd name="T117" fmla="*/ 1137 h 1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12" h="1674">
                        <a:moveTo>
                          <a:pt x="640" y="908"/>
                        </a:moveTo>
                        <a:cubicBezTo>
                          <a:pt x="644" y="908"/>
                          <a:pt x="648" y="913"/>
                          <a:pt x="648" y="917"/>
                        </a:cubicBezTo>
                        <a:cubicBezTo>
                          <a:pt x="648" y="954"/>
                          <a:pt x="648" y="994"/>
                          <a:pt x="648" y="1032"/>
                        </a:cubicBezTo>
                        <a:cubicBezTo>
                          <a:pt x="648" y="1032"/>
                          <a:pt x="648" y="1032"/>
                          <a:pt x="648" y="1034"/>
                        </a:cubicBezTo>
                        <a:cubicBezTo>
                          <a:pt x="644" y="1038"/>
                          <a:pt x="644" y="1038"/>
                          <a:pt x="640" y="1038"/>
                        </a:cubicBezTo>
                        <a:cubicBezTo>
                          <a:pt x="628" y="1038"/>
                          <a:pt x="609" y="1038"/>
                          <a:pt x="596" y="1038"/>
                        </a:cubicBezTo>
                        <a:cubicBezTo>
                          <a:pt x="535" y="1038"/>
                          <a:pt x="544" y="1038"/>
                          <a:pt x="487" y="1038"/>
                        </a:cubicBezTo>
                        <a:cubicBezTo>
                          <a:pt x="416" y="1038"/>
                          <a:pt x="439" y="1038"/>
                          <a:pt x="366" y="1038"/>
                        </a:cubicBezTo>
                        <a:cubicBezTo>
                          <a:pt x="307" y="1038"/>
                          <a:pt x="291" y="1038"/>
                          <a:pt x="230" y="1038"/>
                        </a:cubicBezTo>
                        <a:cubicBezTo>
                          <a:pt x="203" y="1038"/>
                          <a:pt x="190" y="1038"/>
                          <a:pt x="163" y="1038"/>
                        </a:cubicBezTo>
                        <a:cubicBezTo>
                          <a:pt x="159" y="1038"/>
                          <a:pt x="159" y="1032"/>
                          <a:pt x="159" y="1032"/>
                        </a:cubicBezTo>
                        <a:cubicBezTo>
                          <a:pt x="159" y="994"/>
                          <a:pt x="159" y="954"/>
                          <a:pt x="159" y="917"/>
                        </a:cubicBezTo>
                        <a:cubicBezTo>
                          <a:pt x="159" y="913"/>
                          <a:pt x="159" y="908"/>
                          <a:pt x="163" y="908"/>
                        </a:cubicBezTo>
                        <a:cubicBezTo>
                          <a:pt x="184" y="908"/>
                          <a:pt x="194" y="908"/>
                          <a:pt x="215" y="908"/>
                        </a:cubicBezTo>
                        <a:cubicBezTo>
                          <a:pt x="268" y="908"/>
                          <a:pt x="263" y="908"/>
                          <a:pt x="318" y="908"/>
                        </a:cubicBezTo>
                        <a:cubicBezTo>
                          <a:pt x="391" y="908"/>
                          <a:pt x="368" y="908"/>
                          <a:pt x="439" y="908"/>
                        </a:cubicBezTo>
                        <a:cubicBezTo>
                          <a:pt x="500" y="908"/>
                          <a:pt x="517" y="908"/>
                          <a:pt x="575" y="908"/>
                        </a:cubicBezTo>
                        <a:cubicBezTo>
                          <a:pt x="605" y="908"/>
                          <a:pt x="615" y="908"/>
                          <a:pt x="640" y="908"/>
                        </a:cubicBezTo>
                        <a:close/>
                        <a:moveTo>
                          <a:pt x="640" y="695"/>
                        </a:moveTo>
                        <a:cubicBezTo>
                          <a:pt x="615" y="695"/>
                          <a:pt x="605" y="695"/>
                          <a:pt x="575" y="695"/>
                        </a:cubicBezTo>
                        <a:cubicBezTo>
                          <a:pt x="517" y="695"/>
                          <a:pt x="500" y="695"/>
                          <a:pt x="439" y="695"/>
                        </a:cubicBezTo>
                        <a:cubicBezTo>
                          <a:pt x="368" y="695"/>
                          <a:pt x="391" y="695"/>
                          <a:pt x="318" y="695"/>
                        </a:cubicBezTo>
                        <a:cubicBezTo>
                          <a:pt x="263" y="695"/>
                          <a:pt x="268" y="695"/>
                          <a:pt x="215" y="695"/>
                        </a:cubicBezTo>
                        <a:cubicBezTo>
                          <a:pt x="194" y="695"/>
                          <a:pt x="184" y="695"/>
                          <a:pt x="163" y="695"/>
                        </a:cubicBezTo>
                        <a:cubicBezTo>
                          <a:pt x="159" y="695"/>
                          <a:pt x="159" y="699"/>
                          <a:pt x="159" y="703"/>
                        </a:cubicBezTo>
                        <a:cubicBezTo>
                          <a:pt x="159" y="739"/>
                          <a:pt x="159" y="781"/>
                          <a:pt x="159" y="816"/>
                        </a:cubicBezTo>
                        <a:cubicBezTo>
                          <a:pt x="159" y="821"/>
                          <a:pt x="159" y="825"/>
                          <a:pt x="163" y="825"/>
                        </a:cubicBezTo>
                        <a:cubicBezTo>
                          <a:pt x="190" y="825"/>
                          <a:pt x="203" y="825"/>
                          <a:pt x="230" y="825"/>
                        </a:cubicBezTo>
                        <a:cubicBezTo>
                          <a:pt x="291" y="825"/>
                          <a:pt x="307" y="825"/>
                          <a:pt x="366" y="825"/>
                        </a:cubicBezTo>
                        <a:cubicBezTo>
                          <a:pt x="439" y="825"/>
                          <a:pt x="416" y="825"/>
                          <a:pt x="487" y="825"/>
                        </a:cubicBezTo>
                        <a:cubicBezTo>
                          <a:pt x="544" y="825"/>
                          <a:pt x="535" y="825"/>
                          <a:pt x="596" y="825"/>
                        </a:cubicBezTo>
                        <a:cubicBezTo>
                          <a:pt x="609" y="825"/>
                          <a:pt x="628" y="825"/>
                          <a:pt x="640" y="825"/>
                        </a:cubicBezTo>
                        <a:cubicBezTo>
                          <a:pt x="644" y="825"/>
                          <a:pt x="644" y="825"/>
                          <a:pt x="648" y="825"/>
                        </a:cubicBezTo>
                        <a:cubicBezTo>
                          <a:pt x="648" y="821"/>
                          <a:pt x="648" y="821"/>
                          <a:pt x="648" y="816"/>
                        </a:cubicBezTo>
                        <a:cubicBezTo>
                          <a:pt x="648" y="781"/>
                          <a:pt x="648" y="739"/>
                          <a:pt x="648" y="703"/>
                        </a:cubicBezTo>
                        <a:cubicBezTo>
                          <a:pt x="648" y="699"/>
                          <a:pt x="644" y="695"/>
                          <a:pt x="640" y="695"/>
                        </a:cubicBezTo>
                        <a:close/>
                        <a:moveTo>
                          <a:pt x="640" y="486"/>
                        </a:moveTo>
                        <a:cubicBezTo>
                          <a:pt x="615" y="486"/>
                          <a:pt x="605" y="486"/>
                          <a:pt x="575" y="486"/>
                        </a:cubicBezTo>
                        <a:cubicBezTo>
                          <a:pt x="517" y="486"/>
                          <a:pt x="500" y="486"/>
                          <a:pt x="439" y="486"/>
                        </a:cubicBezTo>
                        <a:cubicBezTo>
                          <a:pt x="368" y="486"/>
                          <a:pt x="391" y="486"/>
                          <a:pt x="318" y="486"/>
                        </a:cubicBezTo>
                        <a:cubicBezTo>
                          <a:pt x="263" y="486"/>
                          <a:pt x="268" y="486"/>
                          <a:pt x="215" y="486"/>
                        </a:cubicBezTo>
                        <a:cubicBezTo>
                          <a:pt x="194" y="486"/>
                          <a:pt x="184" y="486"/>
                          <a:pt x="163" y="486"/>
                        </a:cubicBezTo>
                        <a:cubicBezTo>
                          <a:pt x="159" y="486"/>
                          <a:pt x="159" y="490"/>
                          <a:pt x="159" y="494"/>
                        </a:cubicBezTo>
                        <a:cubicBezTo>
                          <a:pt x="159" y="530"/>
                          <a:pt x="159" y="569"/>
                          <a:pt x="159" y="607"/>
                        </a:cubicBezTo>
                        <a:cubicBezTo>
                          <a:pt x="159" y="611"/>
                          <a:pt x="159" y="615"/>
                          <a:pt x="163" y="615"/>
                        </a:cubicBezTo>
                        <a:cubicBezTo>
                          <a:pt x="190" y="615"/>
                          <a:pt x="203" y="615"/>
                          <a:pt x="230" y="615"/>
                        </a:cubicBezTo>
                        <a:cubicBezTo>
                          <a:pt x="291" y="615"/>
                          <a:pt x="307" y="615"/>
                          <a:pt x="366" y="615"/>
                        </a:cubicBezTo>
                        <a:cubicBezTo>
                          <a:pt x="439" y="615"/>
                          <a:pt x="416" y="615"/>
                          <a:pt x="487" y="615"/>
                        </a:cubicBezTo>
                        <a:cubicBezTo>
                          <a:pt x="544" y="615"/>
                          <a:pt x="535" y="615"/>
                          <a:pt x="596" y="615"/>
                        </a:cubicBezTo>
                        <a:cubicBezTo>
                          <a:pt x="609" y="615"/>
                          <a:pt x="628" y="615"/>
                          <a:pt x="640" y="615"/>
                        </a:cubicBezTo>
                        <a:cubicBezTo>
                          <a:pt x="644" y="615"/>
                          <a:pt x="644" y="615"/>
                          <a:pt x="648" y="611"/>
                        </a:cubicBezTo>
                        <a:cubicBezTo>
                          <a:pt x="648" y="611"/>
                          <a:pt x="648" y="611"/>
                          <a:pt x="648" y="607"/>
                        </a:cubicBezTo>
                        <a:cubicBezTo>
                          <a:pt x="648" y="569"/>
                          <a:pt x="648" y="530"/>
                          <a:pt x="648" y="494"/>
                        </a:cubicBezTo>
                        <a:cubicBezTo>
                          <a:pt x="648" y="490"/>
                          <a:pt x="644" y="486"/>
                          <a:pt x="640" y="486"/>
                        </a:cubicBezTo>
                        <a:close/>
                        <a:moveTo>
                          <a:pt x="640" y="276"/>
                        </a:moveTo>
                        <a:cubicBezTo>
                          <a:pt x="615" y="276"/>
                          <a:pt x="605" y="276"/>
                          <a:pt x="575" y="276"/>
                        </a:cubicBezTo>
                        <a:cubicBezTo>
                          <a:pt x="517" y="276"/>
                          <a:pt x="500" y="276"/>
                          <a:pt x="439" y="276"/>
                        </a:cubicBezTo>
                        <a:cubicBezTo>
                          <a:pt x="368" y="276"/>
                          <a:pt x="391" y="276"/>
                          <a:pt x="318" y="276"/>
                        </a:cubicBezTo>
                        <a:cubicBezTo>
                          <a:pt x="263" y="276"/>
                          <a:pt x="268" y="276"/>
                          <a:pt x="215" y="276"/>
                        </a:cubicBezTo>
                        <a:cubicBezTo>
                          <a:pt x="194" y="276"/>
                          <a:pt x="184" y="276"/>
                          <a:pt x="163" y="276"/>
                        </a:cubicBezTo>
                        <a:cubicBezTo>
                          <a:pt x="159" y="276"/>
                          <a:pt x="159" y="280"/>
                          <a:pt x="159" y="285"/>
                        </a:cubicBezTo>
                        <a:cubicBezTo>
                          <a:pt x="159" y="319"/>
                          <a:pt x="159" y="357"/>
                          <a:pt x="159" y="392"/>
                        </a:cubicBezTo>
                        <a:cubicBezTo>
                          <a:pt x="159" y="394"/>
                          <a:pt x="159" y="398"/>
                          <a:pt x="163" y="398"/>
                        </a:cubicBezTo>
                        <a:cubicBezTo>
                          <a:pt x="190" y="398"/>
                          <a:pt x="203" y="398"/>
                          <a:pt x="230" y="398"/>
                        </a:cubicBezTo>
                        <a:cubicBezTo>
                          <a:pt x="291" y="398"/>
                          <a:pt x="307" y="398"/>
                          <a:pt x="366" y="398"/>
                        </a:cubicBezTo>
                        <a:cubicBezTo>
                          <a:pt x="439" y="398"/>
                          <a:pt x="416" y="398"/>
                          <a:pt x="487" y="398"/>
                        </a:cubicBezTo>
                        <a:cubicBezTo>
                          <a:pt x="544" y="398"/>
                          <a:pt x="535" y="398"/>
                          <a:pt x="596" y="398"/>
                        </a:cubicBezTo>
                        <a:cubicBezTo>
                          <a:pt x="609" y="398"/>
                          <a:pt x="628" y="398"/>
                          <a:pt x="640" y="398"/>
                        </a:cubicBezTo>
                        <a:cubicBezTo>
                          <a:pt x="644" y="398"/>
                          <a:pt x="644" y="398"/>
                          <a:pt x="648" y="394"/>
                        </a:cubicBezTo>
                        <a:cubicBezTo>
                          <a:pt x="648" y="394"/>
                          <a:pt x="648" y="394"/>
                          <a:pt x="648" y="392"/>
                        </a:cubicBezTo>
                        <a:cubicBezTo>
                          <a:pt x="648" y="357"/>
                          <a:pt x="648" y="319"/>
                          <a:pt x="648" y="285"/>
                        </a:cubicBezTo>
                        <a:cubicBezTo>
                          <a:pt x="648" y="280"/>
                          <a:pt x="644" y="276"/>
                          <a:pt x="640" y="276"/>
                        </a:cubicBezTo>
                        <a:close/>
                        <a:moveTo>
                          <a:pt x="766" y="79"/>
                        </a:moveTo>
                        <a:cubicBezTo>
                          <a:pt x="791" y="98"/>
                          <a:pt x="812" y="138"/>
                          <a:pt x="812" y="169"/>
                        </a:cubicBezTo>
                        <a:cubicBezTo>
                          <a:pt x="812" y="169"/>
                          <a:pt x="812" y="169"/>
                          <a:pt x="812" y="1618"/>
                        </a:cubicBezTo>
                        <a:cubicBezTo>
                          <a:pt x="812" y="1649"/>
                          <a:pt x="787" y="1674"/>
                          <a:pt x="755" y="1674"/>
                        </a:cubicBezTo>
                        <a:cubicBezTo>
                          <a:pt x="755" y="1674"/>
                          <a:pt x="755" y="1674"/>
                          <a:pt x="56" y="1674"/>
                        </a:cubicBezTo>
                        <a:cubicBezTo>
                          <a:pt x="25" y="1674"/>
                          <a:pt x="0" y="1649"/>
                          <a:pt x="0" y="1618"/>
                        </a:cubicBezTo>
                        <a:cubicBezTo>
                          <a:pt x="0" y="1618"/>
                          <a:pt x="0" y="1618"/>
                          <a:pt x="0" y="169"/>
                        </a:cubicBezTo>
                        <a:cubicBezTo>
                          <a:pt x="0" y="138"/>
                          <a:pt x="21" y="98"/>
                          <a:pt x="46" y="79"/>
                        </a:cubicBezTo>
                        <a:cubicBezTo>
                          <a:pt x="46" y="79"/>
                          <a:pt x="46" y="79"/>
                          <a:pt x="113" y="34"/>
                        </a:cubicBezTo>
                        <a:cubicBezTo>
                          <a:pt x="138" y="15"/>
                          <a:pt x="184" y="0"/>
                          <a:pt x="215" y="0"/>
                        </a:cubicBezTo>
                        <a:cubicBezTo>
                          <a:pt x="215" y="0"/>
                          <a:pt x="215" y="0"/>
                          <a:pt x="596" y="0"/>
                        </a:cubicBezTo>
                        <a:cubicBezTo>
                          <a:pt x="628" y="0"/>
                          <a:pt x="674" y="15"/>
                          <a:pt x="699" y="34"/>
                        </a:cubicBezTo>
                        <a:cubicBezTo>
                          <a:pt x="699" y="34"/>
                          <a:pt x="699" y="34"/>
                          <a:pt x="766" y="79"/>
                        </a:cubicBezTo>
                        <a:close/>
                        <a:moveTo>
                          <a:pt x="745" y="1576"/>
                        </a:moveTo>
                        <a:cubicBezTo>
                          <a:pt x="745" y="1576"/>
                          <a:pt x="745" y="1576"/>
                          <a:pt x="745" y="1524"/>
                        </a:cubicBezTo>
                        <a:cubicBezTo>
                          <a:pt x="724" y="1524"/>
                          <a:pt x="611" y="1524"/>
                          <a:pt x="62" y="1524"/>
                        </a:cubicBezTo>
                        <a:cubicBezTo>
                          <a:pt x="62" y="1524"/>
                          <a:pt x="62" y="1524"/>
                          <a:pt x="62" y="1576"/>
                        </a:cubicBezTo>
                        <a:cubicBezTo>
                          <a:pt x="83" y="1576"/>
                          <a:pt x="196" y="1576"/>
                          <a:pt x="745" y="1576"/>
                        </a:cubicBezTo>
                        <a:close/>
                        <a:moveTo>
                          <a:pt x="65" y="1410"/>
                        </a:moveTo>
                        <a:cubicBezTo>
                          <a:pt x="65" y="1437"/>
                          <a:pt x="88" y="1460"/>
                          <a:pt x="115" y="1460"/>
                        </a:cubicBezTo>
                        <a:cubicBezTo>
                          <a:pt x="142" y="1460"/>
                          <a:pt x="165" y="1437"/>
                          <a:pt x="165" y="1410"/>
                        </a:cubicBezTo>
                        <a:cubicBezTo>
                          <a:pt x="165" y="1383"/>
                          <a:pt x="142" y="1360"/>
                          <a:pt x="115" y="1360"/>
                        </a:cubicBezTo>
                        <a:cubicBezTo>
                          <a:pt x="88" y="1360"/>
                          <a:pt x="65" y="1383"/>
                          <a:pt x="65" y="1410"/>
                        </a:cubicBezTo>
                        <a:close/>
                        <a:moveTo>
                          <a:pt x="251" y="1410"/>
                        </a:moveTo>
                        <a:cubicBezTo>
                          <a:pt x="251" y="1437"/>
                          <a:pt x="272" y="1460"/>
                          <a:pt x="301" y="1460"/>
                        </a:cubicBezTo>
                        <a:cubicBezTo>
                          <a:pt x="328" y="1460"/>
                          <a:pt x="351" y="1437"/>
                          <a:pt x="351" y="1410"/>
                        </a:cubicBezTo>
                        <a:cubicBezTo>
                          <a:pt x="351" y="1383"/>
                          <a:pt x="328" y="1360"/>
                          <a:pt x="301" y="1360"/>
                        </a:cubicBezTo>
                        <a:cubicBezTo>
                          <a:pt x="272" y="1360"/>
                          <a:pt x="251" y="1383"/>
                          <a:pt x="251" y="1410"/>
                        </a:cubicBezTo>
                        <a:close/>
                        <a:moveTo>
                          <a:pt x="745" y="1282"/>
                        </a:moveTo>
                        <a:cubicBezTo>
                          <a:pt x="745" y="1282"/>
                          <a:pt x="745" y="1282"/>
                          <a:pt x="745" y="1226"/>
                        </a:cubicBezTo>
                        <a:cubicBezTo>
                          <a:pt x="724" y="1226"/>
                          <a:pt x="611" y="1226"/>
                          <a:pt x="62" y="1226"/>
                        </a:cubicBezTo>
                        <a:cubicBezTo>
                          <a:pt x="62" y="1226"/>
                          <a:pt x="62" y="1226"/>
                          <a:pt x="62" y="1282"/>
                        </a:cubicBezTo>
                        <a:cubicBezTo>
                          <a:pt x="83" y="1282"/>
                          <a:pt x="196" y="1282"/>
                          <a:pt x="745" y="1282"/>
                        </a:cubicBezTo>
                        <a:close/>
                        <a:moveTo>
                          <a:pt x="745" y="1080"/>
                        </a:moveTo>
                        <a:cubicBezTo>
                          <a:pt x="745" y="1080"/>
                          <a:pt x="745" y="1080"/>
                          <a:pt x="745" y="1080"/>
                        </a:cubicBezTo>
                        <a:cubicBezTo>
                          <a:pt x="745" y="236"/>
                          <a:pt x="745" y="236"/>
                          <a:pt x="745" y="236"/>
                        </a:cubicBezTo>
                        <a:cubicBezTo>
                          <a:pt x="745" y="205"/>
                          <a:pt x="720" y="179"/>
                          <a:pt x="688" y="179"/>
                        </a:cubicBezTo>
                        <a:cubicBezTo>
                          <a:pt x="688" y="179"/>
                          <a:pt x="688" y="179"/>
                          <a:pt x="119" y="179"/>
                        </a:cubicBezTo>
                        <a:cubicBezTo>
                          <a:pt x="88" y="179"/>
                          <a:pt x="62" y="205"/>
                          <a:pt x="62" y="236"/>
                        </a:cubicBezTo>
                        <a:cubicBezTo>
                          <a:pt x="62" y="236"/>
                          <a:pt x="62" y="236"/>
                          <a:pt x="62" y="1080"/>
                        </a:cubicBezTo>
                        <a:cubicBezTo>
                          <a:pt x="62" y="1111"/>
                          <a:pt x="77" y="1137"/>
                          <a:pt x="96" y="1137"/>
                        </a:cubicBezTo>
                        <a:cubicBezTo>
                          <a:pt x="96" y="1137"/>
                          <a:pt x="96" y="1137"/>
                          <a:pt x="106" y="1137"/>
                        </a:cubicBezTo>
                        <a:cubicBezTo>
                          <a:pt x="171" y="1137"/>
                          <a:pt x="234" y="1137"/>
                          <a:pt x="299" y="1137"/>
                        </a:cubicBezTo>
                        <a:cubicBezTo>
                          <a:pt x="383" y="1137"/>
                          <a:pt x="372" y="1137"/>
                          <a:pt x="452" y="1137"/>
                        </a:cubicBezTo>
                        <a:cubicBezTo>
                          <a:pt x="525" y="1137"/>
                          <a:pt x="596" y="1137"/>
                          <a:pt x="665" y="1137"/>
                        </a:cubicBezTo>
                        <a:cubicBezTo>
                          <a:pt x="692" y="1137"/>
                          <a:pt x="692" y="1137"/>
                          <a:pt x="692" y="1137"/>
                        </a:cubicBezTo>
                        <a:cubicBezTo>
                          <a:pt x="722" y="1137"/>
                          <a:pt x="745" y="1111"/>
                          <a:pt x="745" y="1080"/>
                        </a:cubicBezTo>
                        <a:close/>
                      </a:path>
                    </a:pathLst>
                  </a:custGeom>
                  <a:solidFill>
                    <a:schemeClr val="tx1"/>
                  </a:solidFill>
                  <a:ln w="25400" cap="flat" cmpd="sng" algn="ctr">
                    <a:noFill/>
                    <a:prstDash val="solid"/>
                    <a:headEnd type="none" w="med" len="med"/>
                    <a:tailEnd type="none" w="med" len="med"/>
                  </a:ln>
                  <a:effectLst/>
                  <a:extLst/>
                </p:spPr>
                <p:txBody>
                  <a:bodyPr vert="horz" wrap="square" lIns="209891" tIns="209891" rIns="69961" bIns="34980" numCol="1" rtlCol="0" anchor="t" anchorCtr="0" compatLnSpc="1">
                    <a:prstTxWarp prst="textNoShape">
                      <a:avLst/>
                    </a:prstTxWarp>
                  </a:bodyPr>
                  <a:lstStyle/>
                  <a:p>
                    <a:pPr defTabSz="699404" fontAlgn="base">
                      <a:lnSpc>
                        <a:spcPct val="90000"/>
                      </a:lnSpc>
                      <a:spcBef>
                        <a:spcPct val="0"/>
                      </a:spcBef>
                      <a:spcAft>
                        <a:spcPct val="0"/>
                      </a:spcAft>
                    </a:pPr>
                    <a:endParaRPr lang="en-US" sz="3061" kern="0">
                      <a:gradFill>
                        <a:gsLst>
                          <a:gs pos="0">
                            <a:srgbClr val="FFFFFF"/>
                          </a:gs>
                          <a:gs pos="100000">
                            <a:srgbClr val="FFFFFF"/>
                          </a:gs>
                        </a:gsLst>
                        <a:lin ang="16200000" scaled="0"/>
                      </a:gradFill>
                      <a:latin typeface="Segoe UI Light"/>
                    </a:endParaRPr>
                  </a:p>
                </p:txBody>
              </p:sp>
            </p:grpSp>
            <p:grpSp>
              <p:nvGrpSpPr>
                <p:cNvPr id="230" name="Group 229"/>
                <p:cNvGrpSpPr/>
                <p:nvPr/>
              </p:nvGrpSpPr>
              <p:grpSpPr>
                <a:xfrm>
                  <a:off x="4471516" y="4286529"/>
                  <a:ext cx="446802" cy="656946"/>
                  <a:chOff x="2083916" y="4286529"/>
                  <a:chExt cx="446802" cy="656946"/>
                </a:xfrm>
              </p:grpSpPr>
              <p:sp>
                <p:nvSpPr>
                  <p:cNvPr id="232" name="Freeform 626"/>
                  <p:cNvSpPr>
                    <a:spLocks noChangeAspect="1" noEditPoints="1"/>
                  </p:cNvSpPr>
                  <p:nvPr/>
                </p:nvSpPr>
                <p:spPr bwMode="auto">
                  <a:xfrm>
                    <a:off x="2083916" y="4286529"/>
                    <a:ext cx="446802" cy="285471"/>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rgbClr val="FFFFFF"/>
                  </a:solidFill>
                  <a:ln>
                    <a:noFill/>
                  </a:ln>
                  <a:extLst/>
                </p:spPr>
                <p:txBody>
                  <a:bodyPr vert="horz" wrap="square" lIns="69964" tIns="34982" rIns="69964" bIns="34982" numCol="1" anchor="t" anchorCtr="0" compatLnSpc="1">
                    <a:prstTxWarp prst="textNoShape">
                      <a:avLst/>
                    </a:prstTxWarp>
                  </a:bodyPr>
                  <a:lstStyle/>
                  <a:p>
                    <a:pPr defTabSz="932559">
                      <a:defRPr/>
                    </a:pPr>
                    <a:endParaRPr lang="en-US" sz="841" kern="0">
                      <a:gradFill>
                        <a:gsLst>
                          <a:gs pos="0">
                            <a:srgbClr val="FFFFFF"/>
                          </a:gs>
                          <a:gs pos="100000">
                            <a:srgbClr val="FFFFFF"/>
                          </a:gs>
                        </a:gsLst>
                        <a:lin ang="5400000" scaled="0"/>
                      </a:gradFill>
                    </a:endParaRPr>
                  </a:p>
                </p:txBody>
              </p:sp>
              <p:sp>
                <p:nvSpPr>
                  <p:cNvPr id="233" name="Freeform 626"/>
                  <p:cNvSpPr>
                    <a:spLocks noChangeAspect="1" noEditPoints="1"/>
                  </p:cNvSpPr>
                  <p:nvPr/>
                </p:nvSpPr>
                <p:spPr bwMode="auto">
                  <a:xfrm>
                    <a:off x="2083916" y="4658004"/>
                    <a:ext cx="446802" cy="285471"/>
                  </a:xfrm>
                  <a:custGeom>
                    <a:avLst/>
                    <a:gdLst>
                      <a:gd name="T0" fmla="*/ 340 w 400"/>
                      <a:gd name="T1" fmla="*/ 0 h 214"/>
                      <a:gd name="T2" fmla="*/ 61 w 400"/>
                      <a:gd name="T3" fmla="*/ 0 h 214"/>
                      <a:gd name="T4" fmla="*/ 51 w 400"/>
                      <a:gd name="T5" fmla="*/ 10 h 214"/>
                      <a:gd name="T6" fmla="*/ 51 w 400"/>
                      <a:gd name="T7" fmla="*/ 181 h 214"/>
                      <a:gd name="T8" fmla="*/ 61 w 400"/>
                      <a:gd name="T9" fmla="*/ 191 h 214"/>
                      <a:gd name="T10" fmla="*/ 340 w 400"/>
                      <a:gd name="T11" fmla="*/ 191 h 214"/>
                      <a:gd name="T12" fmla="*/ 350 w 400"/>
                      <a:gd name="T13" fmla="*/ 181 h 214"/>
                      <a:gd name="T14" fmla="*/ 350 w 400"/>
                      <a:gd name="T15" fmla="*/ 10 h 214"/>
                      <a:gd name="T16" fmla="*/ 340 w 400"/>
                      <a:gd name="T17" fmla="*/ 0 h 214"/>
                      <a:gd name="T18" fmla="*/ 337 w 400"/>
                      <a:gd name="T19" fmla="*/ 179 h 214"/>
                      <a:gd name="T20" fmla="*/ 64 w 400"/>
                      <a:gd name="T21" fmla="*/ 179 h 214"/>
                      <a:gd name="T22" fmla="*/ 64 w 400"/>
                      <a:gd name="T23" fmla="*/ 11 h 214"/>
                      <a:gd name="T24" fmla="*/ 337 w 400"/>
                      <a:gd name="T25" fmla="*/ 11 h 214"/>
                      <a:gd name="T26" fmla="*/ 337 w 400"/>
                      <a:gd name="T27" fmla="*/ 179 h 214"/>
                      <a:gd name="T28" fmla="*/ 228 w 400"/>
                      <a:gd name="T29" fmla="*/ 198 h 214"/>
                      <a:gd name="T30" fmla="*/ 228 w 400"/>
                      <a:gd name="T31" fmla="*/ 200 h 214"/>
                      <a:gd name="T32" fmla="*/ 224 w 400"/>
                      <a:gd name="T33" fmla="*/ 203 h 214"/>
                      <a:gd name="T34" fmla="*/ 177 w 400"/>
                      <a:gd name="T35" fmla="*/ 203 h 214"/>
                      <a:gd name="T36" fmla="*/ 173 w 400"/>
                      <a:gd name="T37" fmla="*/ 200 h 214"/>
                      <a:gd name="T38" fmla="*/ 173 w 400"/>
                      <a:gd name="T39" fmla="*/ 198 h 214"/>
                      <a:gd name="T40" fmla="*/ 0 w 400"/>
                      <a:gd name="T41" fmla="*/ 198 h 214"/>
                      <a:gd name="T42" fmla="*/ 0 w 400"/>
                      <a:gd name="T43" fmla="*/ 208 h 214"/>
                      <a:gd name="T44" fmla="*/ 13 w 400"/>
                      <a:gd name="T45" fmla="*/ 214 h 214"/>
                      <a:gd name="T46" fmla="*/ 13 w 400"/>
                      <a:gd name="T47" fmla="*/ 214 h 214"/>
                      <a:gd name="T48" fmla="*/ 387 w 400"/>
                      <a:gd name="T49" fmla="*/ 214 h 214"/>
                      <a:gd name="T50" fmla="*/ 387 w 400"/>
                      <a:gd name="T51" fmla="*/ 214 h 214"/>
                      <a:gd name="T52" fmla="*/ 400 w 400"/>
                      <a:gd name="T53" fmla="*/ 208 h 214"/>
                      <a:gd name="T54" fmla="*/ 400 w 400"/>
                      <a:gd name="T55" fmla="*/ 198 h 214"/>
                      <a:gd name="T56" fmla="*/ 228 w 400"/>
                      <a:gd name="T57" fmla="*/ 19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0" h="214">
                        <a:moveTo>
                          <a:pt x="340" y="0"/>
                        </a:moveTo>
                        <a:cubicBezTo>
                          <a:pt x="61" y="0"/>
                          <a:pt x="61" y="0"/>
                          <a:pt x="61" y="0"/>
                        </a:cubicBezTo>
                        <a:cubicBezTo>
                          <a:pt x="56" y="0"/>
                          <a:pt x="51" y="4"/>
                          <a:pt x="51" y="10"/>
                        </a:cubicBezTo>
                        <a:cubicBezTo>
                          <a:pt x="51" y="181"/>
                          <a:pt x="51" y="181"/>
                          <a:pt x="51" y="181"/>
                        </a:cubicBezTo>
                        <a:cubicBezTo>
                          <a:pt x="51" y="187"/>
                          <a:pt x="56" y="191"/>
                          <a:pt x="61" y="191"/>
                        </a:cubicBezTo>
                        <a:cubicBezTo>
                          <a:pt x="340" y="191"/>
                          <a:pt x="340" y="191"/>
                          <a:pt x="340" y="191"/>
                        </a:cubicBezTo>
                        <a:cubicBezTo>
                          <a:pt x="346" y="191"/>
                          <a:pt x="350" y="187"/>
                          <a:pt x="350" y="181"/>
                        </a:cubicBezTo>
                        <a:cubicBezTo>
                          <a:pt x="350" y="10"/>
                          <a:pt x="350" y="10"/>
                          <a:pt x="350" y="10"/>
                        </a:cubicBezTo>
                        <a:cubicBezTo>
                          <a:pt x="350" y="4"/>
                          <a:pt x="346" y="0"/>
                          <a:pt x="340" y="0"/>
                        </a:cubicBezTo>
                        <a:close/>
                        <a:moveTo>
                          <a:pt x="337" y="179"/>
                        </a:moveTo>
                        <a:cubicBezTo>
                          <a:pt x="64" y="179"/>
                          <a:pt x="64" y="179"/>
                          <a:pt x="64" y="179"/>
                        </a:cubicBezTo>
                        <a:cubicBezTo>
                          <a:pt x="64" y="11"/>
                          <a:pt x="64" y="11"/>
                          <a:pt x="64" y="11"/>
                        </a:cubicBezTo>
                        <a:cubicBezTo>
                          <a:pt x="337" y="11"/>
                          <a:pt x="337" y="11"/>
                          <a:pt x="337" y="11"/>
                        </a:cubicBezTo>
                        <a:cubicBezTo>
                          <a:pt x="337" y="179"/>
                          <a:pt x="337" y="179"/>
                          <a:pt x="337" y="179"/>
                        </a:cubicBezTo>
                        <a:close/>
                        <a:moveTo>
                          <a:pt x="228" y="198"/>
                        </a:moveTo>
                        <a:cubicBezTo>
                          <a:pt x="228" y="200"/>
                          <a:pt x="228" y="200"/>
                          <a:pt x="228" y="200"/>
                        </a:cubicBezTo>
                        <a:cubicBezTo>
                          <a:pt x="228" y="202"/>
                          <a:pt x="226" y="203"/>
                          <a:pt x="224" y="203"/>
                        </a:cubicBezTo>
                        <a:cubicBezTo>
                          <a:pt x="177" y="203"/>
                          <a:pt x="177" y="203"/>
                          <a:pt x="177" y="203"/>
                        </a:cubicBezTo>
                        <a:cubicBezTo>
                          <a:pt x="175" y="203"/>
                          <a:pt x="173" y="202"/>
                          <a:pt x="173" y="200"/>
                        </a:cubicBezTo>
                        <a:cubicBezTo>
                          <a:pt x="173" y="198"/>
                          <a:pt x="173" y="198"/>
                          <a:pt x="173" y="198"/>
                        </a:cubicBezTo>
                        <a:cubicBezTo>
                          <a:pt x="0" y="198"/>
                          <a:pt x="0" y="198"/>
                          <a:pt x="0" y="198"/>
                        </a:cubicBezTo>
                        <a:cubicBezTo>
                          <a:pt x="0" y="208"/>
                          <a:pt x="0" y="208"/>
                          <a:pt x="0" y="208"/>
                        </a:cubicBezTo>
                        <a:cubicBezTo>
                          <a:pt x="0" y="208"/>
                          <a:pt x="9" y="214"/>
                          <a:pt x="13" y="214"/>
                        </a:cubicBezTo>
                        <a:cubicBezTo>
                          <a:pt x="13" y="214"/>
                          <a:pt x="13" y="214"/>
                          <a:pt x="13" y="214"/>
                        </a:cubicBezTo>
                        <a:cubicBezTo>
                          <a:pt x="387" y="214"/>
                          <a:pt x="387" y="214"/>
                          <a:pt x="387" y="214"/>
                        </a:cubicBezTo>
                        <a:cubicBezTo>
                          <a:pt x="387" y="214"/>
                          <a:pt x="387" y="214"/>
                          <a:pt x="387" y="214"/>
                        </a:cubicBezTo>
                        <a:cubicBezTo>
                          <a:pt x="391" y="214"/>
                          <a:pt x="400" y="208"/>
                          <a:pt x="400" y="208"/>
                        </a:cubicBezTo>
                        <a:cubicBezTo>
                          <a:pt x="400" y="198"/>
                          <a:pt x="400" y="198"/>
                          <a:pt x="400" y="198"/>
                        </a:cubicBezTo>
                        <a:lnTo>
                          <a:pt x="228" y="198"/>
                        </a:lnTo>
                        <a:close/>
                      </a:path>
                    </a:pathLst>
                  </a:custGeom>
                  <a:solidFill>
                    <a:srgbClr val="FFFFFF"/>
                  </a:solidFill>
                  <a:ln>
                    <a:noFill/>
                  </a:ln>
                  <a:extLst/>
                </p:spPr>
                <p:txBody>
                  <a:bodyPr vert="horz" wrap="square" lIns="69964" tIns="34982" rIns="69964" bIns="34982" numCol="1" anchor="t" anchorCtr="0" compatLnSpc="1">
                    <a:prstTxWarp prst="textNoShape">
                      <a:avLst/>
                    </a:prstTxWarp>
                  </a:bodyPr>
                  <a:lstStyle/>
                  <a:p>
                    <a:pPr defTabSz="932559">
                      <a:defRPr/>
                    </a:pPr>
                    <a:endParaRPr lang="en-US" sz="841" kern="0">
                      <a:gradFill>
                        <a:gsLst>
                          <a:gs pos="0">
                            <a:srgbClr val="FFFFFF"/>
                          </a:gs>
                          <a:gs pos="100000">
                            <a:srgbClr val="FFFFFF"/>
                          </a:gs>
                        </a:gsLst>
                        <a:lin ang="5400000" scaled="0"/>
                      </a:gradFill>
                    </a:endParaRPr>
                  </a:p>
                </p:txBody>
              </p:sp>
            </p:grpSp>
            <p:sp>
              <p:nvSpPr>
                <p:cNvPr id="231" name="Rounded Rectangle 230"/>
                <p:cNvSpPr/>
                <p:nvPr/>
              </p:nvSpPr>
              <p:spPr bwMode="auto">
                <a:xfrm>
                  <a:off x="4336416" y="4254500"/>
                  <a:ext cx="45720" cy="723900"/>
                </a:xfrm>
                <a:prstGeom prst="roundRect">
                  <a:avLst>
                    <a:gd name="adj" fmla="val 50000"/>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9961" tIns="34980" rIns="69961" bIns="34980" numCol="1" rtlCol="0" anchor="ctr" anchorCtr="0" compatLnSpc="1">
                  <a:prstTxWarp prst="textNoShape">
                    <a:avLst/>
                  </a:prstTxWarp>
                </a:bodyPr>
                <a:lstStyle/>
                <a:p>
                  <a:pPr algn="ctr" defTabSz="699404" fontAlgn="base">
                    <a:lnSpc>
                      <a:spcPct val="90000"/>
                    </a:lnSpc>
                    <a:spcBef>
                      <a:spcPct val="0"/>
                    </a:spcBef>
                    <a:spcAft>
                      <a:spcPct val="0"/>
                    </a:spcAft>
                  </a:pPr>
                  <a:endParaRPr lang="en-US" sz="1530" dirty="0">
                    <a:gradFill>
                      <a:gsLst>
                        <a:gs pos="0">
                          <a:srgbClr val="FFFFFF"/>
                        </a:gs>
                        <a:gs pos="100000">
                          <a:srgbClr val="FFFFFF"/>
                        </a:gs>
                      </a:gsLst>
                      <a:lin ang="5400000" scaled="0"/>
                    </a:gradFill>
                  </a:endParaRPr>
                </a:p>
              </p:txBody>
            </p:sp>
          </p:grpSp>
          <p:sp>
            <p:nvSpPr>
              <p:cNvPr id="228" name="Rectangle 227"/>
              <p:cNvSpPr/>
              <p:nvPr/>
            </p:nvSpPr>
            <p:spPr>
              <a:xfrm>
                <a:off x="3645770" y="4754209"/>
                <a:ext cx="530639" cy="249466"/>
              </a:xfrm>
              <a:prstGeom prst="rect">
                <a:avLst/>
              </a:prstGeom>
            </p:spPr>
            <p:txBody>
              <a:bodyPr wrap="none">
                <a:spAutoFit/>
              </a:bodyPr>
              <a:lstStyle/>
              <a:p>
                <a:pPr defTabSz="931280"/>
                <a:r>
                  <a:rPr lang="en-US" sz="1224" dirty="0">
                    <a:ln>
                      <a:solidFill>
                        <a:srgbClr val="FFFFFF">
                          <a:alpha val="0"/>
                        </a:srgbClr>
                      </a:solidFill>
                    </a:ln>
                    <a:solidFill>
                      <a:srgbClr val="FFFFFF"/>
                    </a:solidFill>
                  </a:rPr>
                  <a:t>SOA</a:t>
                </a:r>
              </a:p>
            </p:txBody>
          </p:sp>
        </p:grpSp>
        <p:pic>
          <p:nvPicPr>
            <p:cNvPr id="236" name="Picture 235"/>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347477" y="2143355"/>
              <a:ext cx="1074595" cy="224867"/>
            </a:xfrm>
            <a:prstGeom prst="rect">
              <a:avLst/>
            </a:prstGeom>
          </p:spPr>
        </p:pic>
        <p:sp>
          <p:nvSpPr>
            <p:cNvPr id="237" name="Freeform 14"/>
            <p:cNvSpPr>
              <a:spLocks noEditPoints="1"/>
            </p:cNvSpPr>
            <p:nvPr/>
          </p:nvSpPr>
          <p:spPr bwMode="auto">
            <a:xfrm>
              <a:off x="2441021" y="2167799"/>
              <a:ext cx="129812" cy="129812"/>
            </a:xfrm>
            <a:custGeom>
              <a:avLst/>
              <a:gdLst>
                <a:gd name="T0" fmla="*/ 52 w 117"/>
                <a:gd name="T1" fmla="*/ 9 h 117"/>
                <a:gd name="T2" fmla="*/ 117 w 117"/>
                <a:gd name="T3" fmla="*/ 0 h 117"/>
                <a:gd name="T4" fmla="*/ 117 w 117"/>
                <a:gd name="T5" fmla="*/ 57 h 117"/>
                <a:gd name="T6" fmla="*/ 52 w 117"/>
                <a:gd name="T7" fmla="*/ 57 h 117"/>
                <a:gd name="T8" fmla="*/ 52 w 117"/>
                <a:gd name="T9" fmla="*/ 9 h 117"/>
                <a:gd name="T10" fmla="*/ 52 w 117"/>
                <a:gd name="T11" fmla="*/ 9 h 117"/>
                <a:gd name="T12" fmla="*/ 50 w 117"/>
                <a:gd name="T13" fmla="*/ 57 h 117"/>
                <a:gd name="T14" fmla="*/ 50 w 117"/>
                <a:gd name="T15" fmla="*/ 9 h 117"/>
                <a:gd name="T16" fmla="*/ 0 w 117"/>
                <a:gd name="T17" fmla="*/ 16 h 117"/>
                <a:gd name="T18" fmla="*/ 0 w 117"/>
                <a:gd name="T19" fmla="*/ 57 h 117"/>
                <a:gd name="T20" fmla="*/ 50 w 117"/>
                <a:gd name="T21" fmla="*/ 57 h 117"/>
                <a:gd name="T22" fmla="*/ 50 w 117"/>
                <a:gd name="T23" fmla="*/ 57 h 117"/>
                <a:gd name="T24" fmla="*/ 52 w 117"/>
                <a:gd name="T25" fmla="*/ 59 h 117"/>
                <a:gd name="T26" fmla="*/ 52 w 117"/>
                <a:gd name="T27" fmla="*/ 108 h 117"/>
                <a:gd name="T28" fmla="*/ 117 w 117"/>
                <a:gd name="T29" fmla="*/ 117 h 117"/>
                <a:gd name="T30" fmla="*/ 117 w 117"/>
                <a:gd name="T31" fmla="*/ 59 h 117"/>
                <a:gd name="T32" fmla="*/ 52 w 117"/>
                <a:gd name="T33" fmla="*/ 59 h 117"/>
                <a:gd name="T34" fmla="*/ 52 w 117"/>
                <a:gd name="T35" fmla="*/ 59 h 117"/>
                <a:gd name="T36" fmla="*/ 50 w 117"/>
                <a:gd name="T37" fmla="*/ 59 h 117"/>
                <a:gd name="T38" fmla="*/ 0 w 117"/>
                <a:gd name="T39" fmla="*/ 59 h 117"/>
                <a:gd name="T40" fmla="*/ 0 w 117"/>
                <a:gd name="T41" fmla="*/ 100 h 117"/>
                <a:gd name="T42" fmla="*/ 50 w 117"/>
                <a:gd name="T43" fmla="*/ 107 h 117"/>
                <a:gd name="T44" fmla="*/ 50 w 117"/>
                <a:gd name="T45" fmla="*/ 59 h 117"/>
                <a:gd name="T46" fmla="*/ 50 w 117"/>
                <a:gd name="T47" fmla="*/ 5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7" h="117">
                  <a:moveTo>
                    <a:pt x="52" y="9"/>
                  </a:moveTo>
                  <a:cubicBezTo>
                    <a:pt x="117" y="0"/>
                    <a:pt x="117" y="0"/>
                    <a:pt x="117" y="0"/>
                  </a:cubicBezTo>
                  <a:cubicBezTo>
                    <a:pt x="117" y="57"/>
                    <a:pt x="117" y="57"/>
                    <a:pt x="117" y="57"/>
                  </a:cubicBezTo>
                  <a:cubicBezTo>
                    <a:pt x="52" y="57"/>
                    <a:pt x="52" y="57"/>
                    <a:pt x="52" y="57"/>
                  </a:cubicBezTo>
                  <a:cubicBezTo>
                    <a:pt x="52" y="9"/>
                    <a:pt x="52" y="9"/>
                    <a:pt x="52" y="9"/>
                  </a:cubicBezTo>
                  <a:cubicBezTo>
                    <a:pt x="52" y="9"/>
                    <a:pt x="52" y="9"/>
                    <a:pt x="52" y="9"/>
                  </a:cubicBezTo>
                  <a:close/>
                  <a:moveTo>
                    <a:pt x="50" y="57"/>
                  </a:moveTo>
                  <a:cubicBezTo>
                    <a:pt x="50" y="9"/>
                    <a:pt x="50" y="9"/>
                    <a:pt x="50" y="9"/>
                  </a:cubicBezTo>
                  <a:cubicBezTo>
                    <a:pt x="0" y="16"/>
                    <a:pt x="0" y="16"/>
                    <a:pt x="0" y="16"/>
                  </a:cubicBezTo>
                  <a:cubicBezTo>
                    <a:pt x="0" y="57"/>
                    <a:pt x="0" y="57"/>
                    <a:pt x="0" y="57"/>
                  </a:cubicBezTo>
                  <a:cubicBezTo>
                    <a:pt x="50" y="57"/>
                    <a:pt x="50" y="57"/>
                    <a:pt x="50" y="57"/>
                  </a:cubicBezTo>
                  <a:cubicBezTo>
                    <a:pt x="50" y="57"/>
                    <a:pt x="50" y="57"/>
                    <a:pt x="50" y="57"/>
                  </a:cubicBezTo>
                  <a:close/>
                  <a:moveTo>
                    <a:pt x="52" y="59"/>
                  </a:moveTo>
                  <a:cubicBezTo>
                    <a:pt x="52" y="108"/>
                    <a:pt x="52" y="108"/>
                    <a:pt x="52" y="108"/>
                  </a:cubicBezTo>
                  <a:cubicBezTo>
                    <a:pt x="117" y="117"/>
                    <a:pt x="117" y="117"/>
                    <a:pt x="117" y="117"/>
                  </a:cubicBezTo>
                  <a:cubicBezTo>
                    <a:pt x="117" y="59"/>
                    <a:pt x="117" y="59"/>
                    <a:pt x="117" y="59"/>
                  </a:cubicBezTo>
                  <a:cubicBezTo>
                    <a:pt x="52" y="59"/>
                    <a:pt x="52" y="59"/>
                    <a:pt x="52" y="59"/>
                  </a:cubicBezTo>
                  <a:cubicBezTo>
                    <a:pt x="52" y="59"/>
                    <a:pt x="52" y="59"/>
                    <a:pt x="52" y="59"/>
                  </a:cubicBezTo>
                  <a:close/>
                  <a:moveTo>
                    <a:pt x="50" y="59"/>
                  </a:moveTo>
                  <a:cubicBezTo>
                    <a:pt x="0" y="59"/>
                    <a:pt x="0" y="59"/>
                    <a:pt x="0" y="59"/>
                  </a:cubicBezTo>
                  <a:cubicBezTo>
                    <a:pt x="0" y="100"/>
                    <a:pt x="0" y="100"/>
                    <a:pt x="0" y="100"/>
                  </a:cubicBezTo>
                  <a:cubicBezTo>
                    <a:pt x="50" y="107"/>
                    <a:pt x="50" y="107"/>
                    <a:pt x="50" y="107"/>
                  </a:cubicBezTo>
                  <a:cubicBezTo>
                    <a:pt x="50" y="59"/>
                    <a:pt x="50" y="59"/>
                    <a:pt x="50" y="59"/>
                  </a:cubicBezTo>
                  <a:cubicBezTo>
                    <a:pt x="50" y="59"/>
                    <a:pt x="50" y="59"/>
                    <a:pt x="50" y="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64" tIns="34982" rIns="69964" bIns="34982" numCol="1" anchor="t" anchorCtr="0" compatLnSpc="1">
              <a:prstTxWarp prst="textNoShape">
                <a:avLst/>
              </a:prstTxWarp>
            </a:bodyPr>
            <a:lstStyle/>
            <a:p>
              <a:pPr defTabSz="932559"/>
              <a:endParaRPr lang="en-US" sz="1377">
                <a:solidFill>
                  <a:srgbClr val="000000"/>
                </a:solidFill>
              </a:endParaRPr>
            </a:p>
          </p:txBody>
        </p:sp>
        <p:sp>
          <p:nvSpPr>
            <p:cNvPr id="238" name="Freeform 14"/>
            <p:cNvSpPr>
              <a:spLocks noEditPoints="1"/>
            </p:cNvSpPr>
            <p:nvPr/>
          </p:nvSpPr>
          <p:spPr bwMode="auto">
            <a:xfrm>
              <a:off x="3384242" y="2196381"/>
              <a:ext cx="129812" cy="129812"/>
            </a:xfrm>
            <a:custGeom>
              <a:avLst/>
              <a:gdLst>
                <a:gd name="T0" fmla="*/ 52 w 117"/>
                <a:gd name="T1" fmla="*/ 9 h 117"/>
                <a:gd name="T2" fmla="*/ 117 w 117"/>
                <a:gd name="T3" fmla="*/ 0 h 117"/>
                <a:gd name="T4" fmla="*/ 117 w 117"/>
                <a:gd name="T5" fmla="*/ 57 h 117"/>
                <a:gd name="T6" fmla="*/ 52 w 117"/>
                <a:gd name="T7" fmla="*/ 57 h 117"/>
                <a:gd name="T8" fmla="*/ 52 w 117"/>
                <a:gd name="T9" fmla="*/ 9 h 117"/>
                <a:gd name="T10" fmla="*/ 52 w 117"/>
                <a:gd name="T11" fmla="*/ 9 h 117"/>
                <a:gd name="T12" fmla="*/ 50 w 117"/>
                <a:gd name="T13" fmla="*/ 57 h 117"/>
                <a:gd name="T14" fmla="*/ 50 w 117"/>
                <a:gd name="T15" fmla="*/ 9 h 117"/>
                <a:gd name="T16" fmla="*/ 0 w 117"/>
                <a:gd name="T17" fmla="*/ 16 h 117"/>
                <a:gd name="T18" fmla="*/ 0 w 117"/>
                <a:gd name="T19" fmla="*/ 57 h 117"/>
                <a:gd name="T20" fmla="*/ 50 w 117"/>
                <a:gd name="T21" fmla="*/ 57 h 117"/>
                <a:gd name="T22" fmla="*/ 50 w 117"/>
                <a:gd name="T23" fmla="*/ 57 h 117"/>
                <a:gd name="T24" fmla="*/ 52 w 117"/>
                <a:gd name="T25" fmla="*/ 59 h 117"/>
                <a:gd name="T26" fmla="*/ 52 w 117"/>
                <a:gd name="T27" fmla="*/ 108 h 117"/>
                <a:gd name="T28" fmla="*/ 117 w 117"/>
                <a:gd name="T29" fmla="*/ 117 h 117"/>
                <a:gd name="T30" fmla="*/ 117 w 117"/>
                <a:gd name="T31" fmla="*/ 59 h 117"/>
                <a:gd name="T32" fmla="*/ 52 w 117"/>
                <a:gd name="T33" fmla="*/ 59 h 117"/>
                <a:gd name="T34" fmla="*/ 52 w 117"/>
                <a:gd name="T35" fmla="*/ 59 h 117"/>
                <a:gd name="T36" fmla="*/ 50 w 117"/>
                <a:gd name="T37" fmla="*/ 59 h 117"/>
                <a:gd name="T38" fmla="*/ 0 w 117"/>
                <a:gd name="T39" fmla="*/ 59 h 117"/>
                <a:gd name="T40" fmla="*/ 0 w 117"/>
                <a:gd name="T41" fmla="*/ 100 h 117"/>
                <a:gd name="T42" fmla="*/ 50 w 117"/>
                <a:gd name="T43" fmla="*/ 107 h 117"/>
                <a:gd name="T44" fmla="*/ 50 w 117"/>
                <a:gd name="T45" fmla="*/ 59 h 117"/>
                <a:gd name="T46" fmla="*/ 50 w 117"/>
                <a:gd name="T47" fmla="*/ 5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7" h="117">
                  <a:moveTo>
                    <a:pt x="52" y="9"/>
                  </a:moveTo>
                  <a:cubicBezTo>
                    <a:pt x="117" y="0"/>
                    <a:pt x="117" y="0"/>
                    <a:pt x="117" y="0"/>
                  </a:cubicBezTo>
                  <a:cubicBezTo>
                    <a:pt x="117" y="57"/>
                    <a:pt x="117" y="57"/>
                    <a:pt x="117" y="57"/>
                  </a:cubicBezTo>
                  <a:cubicBezTo>
                    <a:pt x="52" y="57"/>
                    <a:pt x="52" y="57"/>
                    <a:pt x="52" y="57"/>
                  </a:cubicBezTo>
                  <a:cubicBezTo>
                    <a:pt x="52" y="9"/>
                    <a:pt x="52" y="9"/>
                    <a:pt x="52" y="9"/>
                  </a:cubicBezTo>
                  <a:cubicBezTo>
                    <a:pt x="52" y="9"/>
                    <a:pt x="52" y="9"/>
                    <a:pt x="52" y="9"/>
                  </a:cubicBezTo>
                  <a:close/>
                  <a:moveTo>
                    <a:pt x="50" y="57"/>
                  </a:moveTo>
                  <a:cubicBezTo>
                    <a:pt x="50" y="9"/>
                    <a:pt x="50" y="9"/>
                    <a:pt x="50" y="9"/>
                  </a:cubicBezTo>
                  <a:cubicBezTo>
                    <a:pt x="0" y="16"/>
                    <a:pt x="0" y="16"/>
                    <a:pt x="0" y="16"/>
                  </a:cubicBezTo>
                  <a:cubicBezTo>
                    <a:pt x="0" y="57"/>
                    <a:pt x="0" y="57"/>
                    <a:pt x="0" y="57"/>
                  </a:cubicBezTo>
                  <a:cubicBezTo>
                    <a:pt x="50" y="57"/>
                    <a:pt x="50" y="57"/>
                    <a:pt x="50" y="57"/>
                  </a:cubicBezTo>
                  <a:cubicBezTo>
                    <a:pt x="50" y="57"/>
                    <a:pt x="50" y="57"/>
                    <a:pt x="50" y="57"/>
                  </a:cubicBezTo>
                  <a:close/>
                  <a:moveTo>
                    <a:pt x="52" y="59"/>
                  </a:moveTo>
                  <a:cubicBezTo>
                    <a:pt x="52" y="108"/>
                    <a:pt x="52" y="108"/>
                    <a:pt x="52" y="108"/>
                  </a:cubicBezTo>
                  <a:cubicBezTo>
                    <a:pt x="117" y="117"/>
                    <a:pt x="117" y="117"/>
                    <a:pt x="117" y="117"/>
                  </a:cubicBezTo>
                  <a:cubicBezTo>
                    <a:pt x="117" y="59"/>
                    <a:pt x="117" y="59"/>
                    <a:pt x="117" y="59"/>
                  </a:cubicBezTo>
                  <a:cubicBezTo>
                    <a:pt x="52" y="59"/>
                    <a:pt x="52" y="59"/>
                    <a:pt x="52" y="59"/>
                  </a:cubicBezTo>
                  <a:cubicBezTo>
                    <a:pt x="52" y="59"/>
                    <a:pt x="52" y="59"/>
                    <a:pt x="52" y="59"/>
                  </a:cubicBezTo>
                  <a:close/>
                  <a:moveTo>
                    <a:pt x="50" y="59"/>
                  </a:moveTo>
                  <a:cubicBezTo>
                    <a:pt x="0" y="59"/>
                    <a:pt x="0" y="59"/>
                    <a:pt x="0" y="59"/>
                  </a:cubicBezTo>
                  <a:cubicBezTo>
                    <a:pt x="0" y="100"/>
                    <a:pt x="0" y="100"/>
                    <a:pt x="0" y="100"/>
                  </a:cubicBezTo>
                  <a:cubicBezTo>
                    <a:pt x="50" y="107"/>
                    <a:pt x="50" y="107"/>
                    <a:pt x="50" y="107"/>
                  </a:cubicBezTo>
                  <a:cubicBezTo>
                    <a:pt x="50" y="59"/>
                    <a:pt x="50" y="59"/>
                    <a:pt x="50" y="59"/>
                  </a:cubicBezTo>
                  <a:cubicBezTo>
                    <a:pt x="50" y="59"/>
                    <a:pt x="50" y="59"/>
                    <a:pt x="50" y="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64" tIns="34982" rIns="69964" bIns="34982" numCol="1" anchor="t" anchorCtr="0" compatLnSpc="1">
              <a:prstTxWarp prst="textNoShape">
                <a:avLst/>
              </a:prstTxWarp>
            </a:bodyPr>
            <a:lstStyle/>
            <a:p>
              <a:pPr defTabSz="932559"/>
              <a:endParaRPr lang="en-US" sz="1377">
                <a:solidFill>
                  <a:srgbClr val="000000"/>
                </a:solidFill>
              </a:endParaRPr>
            </a:p>
          </p:txBody>
        </p:sp>
        <p:sp>
          <p:nvSpPr>
            <p:cNvPr id="239" name="Freeform 14"/>
            <p:cNvSpPr>
              <a:spLocks noEditPoints="1"/>
            </p:cNvSpPr>
            <p:nvPr/>
          </p:nvSpPr>
          <p:spPr bwMode="auto">
            <a:xfrm>
              <a:off x="4209560" y="2185662"/>
              <a:ext cx="129812" cy="129812"/>
            </a:xfrm>
            <a:custGeom>
              <a:avLst/>
              <a:gdLst>
                <a:gd name="T0" fmla="*/ 52 w 117"/>
                <a:gd name="T1" fmla="*/ 9 h 117"/>
                <a:gd name="T2" fmla="*/ 117 w 117"/>
                <a:gd name="T3" fmla="*/ 0 h 117"/>
                <a:gd name="T4" fmla="*/ 117 w 117"/>
                <a:gd name="T5" fmla="*/ 57 h 117"/>
                <a:gd name="T6" fmla="*/ 52 w 117"/>
                <a:gd name="T7" fmla="*/ 57 h 117"/>
                <a:gd name="T8" fmla="*/ 52 w 117"/>
                <a:gd name="T9" fmla="*/ 9 h 117"/>
                <a:gd name="T10" fmla="*/ 52 w 117"/>
                <a:gd name="T11" fmla="*/ 9 h 117"/>
                <a:gd name="T12" fmla="*/ 50 w 117"/>
                <a:gd name="T13" fmla="*/ 57 h 117"/>
                <a:gd name="T14" fmla="*/ 50 w 117"/>
                <a:gd name="T15" fmla="*/ 9 h 117"/>
                <a:gd name="T16" fmla="*/ 0 w 117"/>
                <a:gd name="T17" fmla="*/ 16 h 117"/>
                <a:gd name="T18" fmla="*/ 0 w 117"/>
                <a:gd name="T19" fmla="*/ 57 h 117"/>
                <a:gd name="T20" fmla="*/ 50 w 117"/>
                <a:gd name="T21" fmla="*/ 57 h 117"/>
                <a:gd name="T22" fmla="*/ 50 w 117"/>
                <a:gd name="T23" fmla="*/ 57 h 117"/>
                <a:gd name="T24" fmla="*/ 52 w 117"/>
                <a:gd name="T25" fmla="*/ 59 h 117"/>
                <a:gd name="T26" fmla="*/ 52 w 117"/>
                <a:gd name="T27" fmla="*/ 108 h 117"/>
                <a:gd name="T28" fmla="*/ 117 w 117"/>
                <a:gd name="T29" fmla="*/ 117 h 117"/>
                <a:gd name="T30" fmla="*/ 117 w 117"/>
                <a:gd name="T31" fmla="*/ 59 h 117"/>
                <a:gd name="T32" fmla="*/ 52 w 117"/>
                <a:gd name="T33" fmla="*/ 59 h 117"/>
                <a:gd name="T34" fmla="*/ 52 w 117"/>
                <a:gd name="T35" fmla="*/ 59 h 117"/>
                <a:gd name="T36" fmla="*/ 50 w 117"/>
                <a:gd name="T37" fmla="*/ 59 h 117"/>
                <a:gd name="T38" fmla="*/ 0 w 117"/>
                <a:gd name="T39" fmla="*/ 59 h 117"/>
                <a:gd name="T40" fmla="*/ 0 w 117"/>
                <a:gd name="T41" fmla="*/ 100 h 117"/>
                <a:gd name="T42" fmla="*/ 50 w 117"/>
                <a:gd name="T43" fmla="*/ 107 h 117"/>
                <a:gd name="T44" fmla="*/ 50 w 117"/>
                <a:gd name="T45" fmla="*/ 59 h 117"/>
                <a:gd name="T46" fmla="*/ 50 w 117"/>
                <a:gd name="T47" fmla="*/ 5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7" h="117">
                  <a:moveTo>
                    <a:pt x="52" y="9"/>
                  </a:moveTo>
                  <a:cubicBezTo>
                    <a:pt x="117" y="0"/>
                    <a:pt x="117" y="0"/>
                    <a:pt x="117" y="0"/>
                  </a:cubicBezTo>
                  <a:cubicBezTo>
                    <a:pt x="117" y="57"/>
                    <a:pt x="117" y="57"/>
                    <a:pt x="117" y="57"/>
                  </a:cubicBezTo>
                  <a:cubicBezTo>
                    <a:pt x="52" y="57"/>
                    <a:pt x="52" y="57"/>
                    <a:pt x="52" y="57"/>
                  </a:cubicBezTo>
                  <a:cubicBezTo>
                    <a:pt x="52" y="9"/>
                    <a:pt x="52" y="9"/>
                    <a:pt x="52" y="9"/>
                  </a:cubicBezTo>
                  <a:cubicBezTo>
                    <a:pt x="52" y="9"/>
                    <a:pt x="52" y="9"/>
                    <a:pt x="52" y="9"/>
                  </a:cubicBezTo>
                  <a:close/>
                  <a:moveTo>
                    <a:pt x="50" y="57"/>
                  </a:moveTo>
                  <a:cubicBezTo>
                    <a:pt x="50" y="9"/>
                    <a:pt x="50" y="9"/>
                    <a:pt x="50" y="9"/>
                  </a:cubicBezTo>
                  <a:cubicBezTo>
                    <a:pt x="0" y="16"/>
                    <a:pt x="0" y="16"/>
                    <a:pt x="0" y="16"/>
                  </a:cubicBezTo>
                  <a:cubicBezTo>
                    <a:pt x="0" y="57"/>
                    <a:pt x="0" y="57"/>
                    <a:pt x="0" y="57"/>
                  </a:cubicBezTo>
                  <a:cubicBezTo>
                    <a:pt x="50" y="57"/>
                    <a:pt x="50" y="57"/>
                    <a:pt x="50" y="57"/>
                  </a:cubicBezTo>
                  <a:cubicBezTo>
                    <a:pt x="50" y="57"/>
                    <a:pt x="50" y="57"/>
                    <a:pt x="50" y="57"/>
                  </a:cubicBezTo>
                  <a:close/>
                  <a:moveTo>
                    <a:pt x="52" y="59"/>
                  </a:moveTo>
                  <a:cubicBezTo>
                    <a:pt x="52" y="108"/>
                    <a:pt x="52" y="108"/>
                    <a:pt x="52" y="108"/>
                  </a:cubicBezTo>
                  <a:cubicBezTo>
                    <a:pt x="117" y="117"/>
                    <a:pt x="117" y="117"/>
                    <a:pt x="117" y="117"/>
                  </a:cubicBezTo>
                  <a:cubicBezTo>
                    <a:pt x="117" y="59"/>
                    <a:pt x="117" y="59"/>
                    <a:pt x="117" y="59"/>
                  </a:cubicBezTo>
                  <a:cubicBezTo>
                    <a:pt x="52" y="59"/>
                    <a:pt x="52" y="59"/>
                    <a:pt x="52" y="59"/>
                  </a:cubicBezTo>
                  <a:cubicBezTo>
                    <a:pt x="52" y="59"/>
                    <a:pt x="52" y="59"/>
                    <a:pt x="52" y="59"/>
                  </a:cubicBezTo>
                  <a:close/>
                  <a:moveTo>
                    <a:pt x="50" y="59"/>
                  </a:moveTo>
                  <a:cubicBezTo>
                    <a:pt x="0" y="59"/>
                    <a:pt x="0" y="59"/>
                    <a:pt x="0" y="59"/>
                  </a:cubicBezTo>
                  <a:cubicBezTo>
                    <a:pt x="0" y="100"/>
                    <a:pt x="0" y="100"/>
                    <a:pt x="0" y="100"/>
                  </a:cubicBezTo>
                  <a:cubicBezTo>
                    <a:pt x="50" y="107"/>
                    <a:pt x="50" y="107"/>
                    <a:pt x="50" y="107"/>
                  </a:cubicBezTo>
                  <a:cubicBezTo>
                    <a:pt x="50" y="59"/>
                    <a:pt x="50" y="59"/>
                    <a:pt x="50" y="59"/>
                  </a:cubicBezTo>
                  <a:cubicBezTo>
                    <a:pt x="50" y="59"/>
                    <a:pt x="50" y="59"/>
                    <a:pt x="50" y="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64" tIns="34982" rIns="69964" bIns="34982" numCol="1" anchor="t" anchorCtr="0" compatLnSpc="1">
              <a:prstTxWarp prst="textNoShape">
                <a:avLst/>
              </a:prstTxWarp>
            </a:bodyPr>
            <a:lstStyle/>
            <a:p>
              <a:pPr defTabSz="932559"/>
              <a:endParaRPr lang="en-US" sz="1377">
                <a:solidFill>
                  <a:srgbClr val="000000"/>
                </a:solidFill>
              </a:endParaRPr>
            </a:p>
          </p:txBody>
        </p:sp>
      </p:grpSp>
    </p:spTree>
    <p:extLst>
      <p:ext uri="{BB962C8B-B14F-4D97-AF65-F5344CB8AC3E}">
        <p14:creationId xmlns:p14="http://schemas.microsoft.com/office/powerpoint/2010/main" val="1226058047"/>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3"/>
            </p:custDataLst>
            <p:extLst/>
          </p:nvPr>
        </p:nvGraphicFramePr>
        <p:xfrm>
          <a:off x="2470" y="2084"/>
          <a:ext cx="1587" cy="1587"/>
        </p:xfrm>
        <a:graphic>
          <a:graphicData uri="http://schemas.openxmlformats.org/presentationml/2006/ole">
            <mc:AlternateContent xmlns:mc="http://schemas.openxmlformats.org/markup-compatibility/2006">
              <mc:Choice xmlns:v="urn:schemas-microsoft-com:vml" Requires="v">
                <p:oleObj spid="_x0000_s6151"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2470" y="2084"/>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A diversity of</a:t>
            </a:r>
            <a:endParaRPr lang="en-US" dirty="0"/>
          </a:p>
        </p:txBody>
      </p:sp>
      <p:grpSp>
        <p:nvGrpSpPr>
          <p:cNvPr id="6" name="Group 5"/>
          <p:cNvGrpSpPr/>
          <p:nvPr/>
        </p:nvGrpSpPr>
        <p:grpSpPr>
          <a:xfrm>
            <a:off x="458017" y="1203649"/>
            <a:ext cx="11520443" cy="2490724"/>
            <a:chOff x="457199" y="1203324"/>
            <a:chExt cx="11522077" cy="2491077"/>
          </a:xfrm>
        </p:grpSpPr>
        <p:sp>
          <p:nvSpPr>
            <p:cNvPr id="11" name="Rectangle 10"/>
            <p:cNvSpPr/>
            <p:nvPr/>
          </p:nvSpPr>
          <p:spPr>
            <a:xfrm>
              <a:off x="9150981" y="1212849"/>
              <a:ext cx="2828295" cy="2471129"/>
            </a:xfrm>
            <a:prstGeom prst="rect">
              <a:avLst/>
            </a:prstGeom>
            <a:solidFill>
              <a:schemeClr val="accent1">
                <a:lumMod val="50000"/>
              </a:schemeClr>
            </a:solidFill>
          </p:spPr>
          <p:txBody>
            <a:bodyPr wrap="square" anchor="ctr">
              <a:noAutofit/>
            </a:bodyPr>
            <a:lstStyle/>
            <a:p>
              <a:pPr algn="ctr"/>
              <a:r>
                <a:rPr lang="en-US" sz="3000" spc="-100" dirty="0">
                  <a:ln>
                    <a:solidFill>
                      <a:schemeClr val="tx1">
                        <a:alpha val="0"/>
                      </a:schemeClr>
                    </a:solidFill>
                  </a:ln>
                  <a:latin typeface="+mj-lt"/>
                </a:rPr>
                <a:t>Interface Types </a:t>
              </a:r>
              <a:br>
                <a:rPr lang="en-US" sz="3000" spc="-100" dirty="0">
                  <a:ln>
                    <a:solidFill>
                      <a:schemeClr val="tx1">
                        <a:alpha val="0"/>
                      </a:schemeClr>
                    </a:solidFill>
                  </a:ln>
                  <a:latin typeface="+mj-lt"/>
                </a:rPr>
              </a:br>
              <a:r>
                <a:rPr lang="en-US" sz="3000" spc="-100" dirty="0">
                  <a:ln>
                    <a:solidFill>
                      <a:schemeClr val="tx1">
                        <a:alpha val="0"/>
                      </a:schemeClr>
                    </a:solidFill>
                  </a:ln>
                  <a:latin typeface="+mj-lt"/>
                </a:rPr>
                <a:t>and Sizes</a:t>
              </a:r>
            </a:p>
          </p:txBody>
        </p:sp>
        <p:grpSp>
          <p:nvGrpSpPr>
            <p:cNvPr id="3" name="Group 2"/>
            <p:cNvGrpSpPr/>
            <p:nvPr/>
          </p:nvGrpSpPr>
          <p:grpSpPr>
            <a:xfrm>
              <a:off x="457199" y="1203324"/>
              <a:ext cx="8624554" cy="2491077"/>
              <a:chOff x="457199" y="1203324"/>
              <a:chExt cx="8624554" cy="2491077"/>
            </a:xfrm>
          </p:grpSpPr>
          <p:sp>
            <p:nvSpPr>
              <p:cNvPr id="26" name="Rectangle 25"/>
              <p:cNvSpPr/>
              <p:nvPr/>
            </p:nvSpPr>
            <p:spPr>
              <a:xfrm>
                <a:off x="457199" y="1203324"/>
                <a:ext cx="1380744" cy="1216152"/>
              </a:xfrm>
              <a:prstGeom prst="rect">
                <a:avLst/>
              </a:prstGeom>
              <a:solidFill>
                <a:schemeClr val="accent1"/>
              </a:solidFill>
              <a:ln w="25400" cap="flat" cmpd="sng" algn="ctr">
                <a:noFill/>
                <a:prstDash val="solid"/>
              </a:ln>
              <a:effectLst/>
            </p:spPr>
            <p:txBody>
              <a:bodyPr lIns="91427" tIns="91427" rIns="91427" bIns="91427"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4224">
                  <a:defRPr/>
                </a:pPr>
                <a:r>
                  <a:rPr lang="en-US" sz="1399" dirty="0">
                    <a:ln>
                      <a:solidFill>
                        <a:schemeClr val="tx1">
                          <a:alpha val="0"/>
                        </a:schemeClr>
                      </a:solidFill>
                    </a:ln>
                    <a:solidFill>
                      <a:prstClr val="white"/>
                    </a:solidFill>
                  </a:rPr>
                  <a:t>Single Line Display</a:t>
                </a:r>
              </a:p>
            </p:txBody>
          </p:sp>
          <p:sp>
            <p:nvSpPr>
              <p:cNvPr id="27" name="Rectangle 26"/>
              <p:cNvSpPr/>
              <p:nvPr/>
            </p:nvSpPr>
            <p:spPr>
              <a:xfrm>
                <a:off x="1905961" y="1203324"/>
                <a:ext cx="1380744" cy="1216152"/>
              </a:xfrm>
              <a:prstGeom prst="rect">
                <a:avLst/>
              </a:prstGeom>
              <a:solidFill>
                <a:schemeClr val="accent1"/>
              </a:solidFill>
              <a:ln w="25400" cap="flat" cmpd="sng" algn="ctr">
                <a:noFill/>
                <a:prstDash val="solid"/>
              </a:ln>
              <a:effectLst/>
            </p:spPr>
            <p:txBody>
              <a:bodyPr lIns="91427" tIns="91427" rIns="91427" bIns="91427"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4224">
                  <a:defRPr/>
                </a:pPr>
                <a:r>
                  <a:rPr lang="en-US" sz="1399" dirty="0">
                    <a:ln>
                      <a:solidFill>
                        <a:schemeClr val="tx1">
                          <a:alpha val="0"/>
                        </a:schemeClr>
                      </a:solidFill>
                    </a:ln>
                    <a:solidFill>
                      <a:prstClr val="white"/>
                    </a:solidFill>
                  </a:rPr>
                  <a:t>Embedded (Small 3”)</a:t>
                </a:r>
              </a:p>
            </p:txBody>
          </p:sp>
          <p:sp>
            <p:nvSpPr>
              <p:cNvPr id="28" name="Rectangle 27"/>
              <p:cNvSpPr/>
              <p:nvPr/>
            </p:nvSpPr>
            <p:spPr>
              <a:xfrm>
                <a:off x="3354723" y="1203324"/>
                <a:ext cx="1380744" cy="1216152"/>
              </a:xfrm>
              <a:prstGeom prst="rect">
                <a:avLst/>
              </a:prstGeom>
              <a:solidFill>
                <a:schemeClr val="accent1"/>
              </a:solidFill>
              <a:ln w="25400" cap="flat" cmpd="sng" algn="ctr">
                <a:noFill/>
                <a:prstDash val="solid"/>
              </a:ln>
              <a:effectLst/>
            </p:spPr>
            <p:txBody>
              <a:bodyPr lIns="91427" tIns="91427" rIns="91427" bIns="91427"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4224">
                  <a:defRPr/>
                </a:pPr>
                <a:r>
                  <a:rPr lang="en-US" sz="1399" dirty="0">
                    <a:ln>
                      <a:solidFill>
                        <a:schemeClr val="tx1">
                          <a:alpha val="0"/>
                        </a:schemeClr>
                      </a:solidFill>
                    </a:ln>
                    <a:solidFill>
                      <a:prstClr val="white"/>
                    </a:solidFill>
                  </a:rPr>
                  <a:t>Embedded (Medium 5”)</a:t>
                </a:r>
              </a:p>
            </p:txBody>
          </p:sp>
          <p:sp>
            <p:nvSpPr>
              <p:cNvPr id="29" name="Rectangle 28"/>
              <p:cNvSpPr/>
              <p:nvPr/>
            </p:nvSpPr>
            <p:spPr>
              <a:xfrm>
                <a:off x="4803485" y="1203324"/>
                <a:ext cx="1380744" cy="1216152"/>
              </a:xfrm>
              <a:prstGeom prst="rect">
                <a:avLst/>
              </a:prstGeom>
              <a:solidFill>
                <a:schemeClr val="accent1"/>
              </a:solidFill>
              <a:ln w="25400" cap="flat" cmpd="sng" algn="ctr">
                <a:noFill/>
                <a:prstDash val="solid"/>
              </a:ln>
              <a:effectLst/>
            </p:spPr>
            <p:txBody>
              <a:bodyPr lIns="91427" tIns="91427" rIns="91427" bIns="91427"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4224">
                  <a:defRPr/>
                </a:pPr>
                <a:r>
                  <a:rPr lang="en-US" sz="1399" dirty="0">
                    <a:ln>
                      <a:solidFill>
                        <a:schemeClr val="tx1">
                          <a:alpha val="0"/>
                        </a:schemeClr>
                      </a:solidFill>
                    </a:ln>
                    <a:solidFill>
                      <a:prstClr val="white"/>
                    </a:solidFill>
                  </a:rPr>
                  <a:t>Wearable</a:t>
                </a:r>
              </a:p>
            </p:txBody>
          </p:sp>
          <p:sp>
            <p:nvSpPr>
              <p:cNvPr id="30" name="Rectangle 29"/>
              <p:cNvSpPr/>
              <p:nvPr/>
            </p:nvSpPr>
            <p:spPr>
              <a:xfrm>
                <a:off x="6252247" y="1203324"/>
                <a:ext cx="1380744" cy="1216152"/>
              </a:xfrm>
              <a:prstGeom prst="rect">
                <a:avLst/>
              </a:prstGeom>
              <a:solidFill>
                <a:schemeClr val="accent1"/>
              </a:solidFill>
              <a:ln w="25400" cap="flat" cmpd="sng" algn="ctr">
                <a:noFill/>
                <a:prstDash val="solid"/>
              </a:ln>
              <a:effectLst/>
            </p:spPr>
            <p:txBody>
              <a:bodyPr lIns="91427" tIns="91427" rIns="91427" bIns="91427"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4224">
                  <a:defRPr/>
                </a:pPr>
                <a:r>
                  <a:rPr lang="en-US" sz="1399" dirty="0">
                    <a:ln>
                      <a:solidFill>
                        <a:schemeClr val="tx1">
                          <a:alpha val="0"/>
                        </a:schemeClr>
                      </a:solidFill>
                    </a:ln>
                    <a:solidFill>
                      <a:prstClr val="white"/>
                    </a:solidFill>
                  </a:rPr>
                  <a:t>Phone</a:t>
                </a:r>
              </a:p>
            </p:txBody>
          </p:sp>
          <p:sp>
            <p:nvSpPr>
              <p:cNvPr id="31" name="Rectangle 30"/>
              <p:cNvSpPr/>
              <p:nvPr/>
            </p:nvSpPr>
            <p:spPr>
              <a:xfrm>
                <a:off x="7701009" y="1203324"/>
                <a:ext cx="1380744" cy="1216152"/>
              </a:xfrm>
              <a:prstGeom prst="rect">
                <a:avLst/>
              </a:prstGeom>
              <a:solidFill>
                <a:schemeClr val="accent1"/>
              </a:solidFill>
              <a:ln w="25400" cap="flat" cmpd="sng" algn="ctr">
                <a:noFill/>
                <a:prstDash val="solid"/>
              </a:ln>
              <a:effectLst/>
            </p:spPr>
            <p:txBody>
              <a:bodyPr lIns="91427" tIns="91427" rIns="91427" bIns="91427"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4224">
                  <a:defRPr/>
                </a:pPr>
                <a:r>
                  <a:rPr lang="en-US" sz="1399" dirty="0">
                    <a:ln>
                      <a:solidFill>
                        <a:schemeClr val="tx1">
                          <a:alpha val="0"/>
                        </a:schemeClr>
                      </a:solidFill>
                    </a:ln>
                    <a:solidFill>
                      <a:prstClr val="white"/>
                    </a:solidFill>
                  </a:rPr>
                  <a:t>Small Tablet</a:t>
                </a:r>
              </a:p>
            </p:txBody>
          </p:sp>
          <p:sp>
            <p:nvSpPr>
              <p:cNvPr id="35" name="Rectangle 34"/>
              <p:cNvSpPr/>
              <p:nvPr/>
            </p:nvSpPr>
            <p:spPr>
              <a:xfrm>
                <a:off x="457199" y="2478249"/>
                <a:ext cx="1380744" cy="1216152"/>
              </a:xfrm>
              <a:prstGeom prst="rect">
                <a:avLst/>
              </a:prstGeom>
              <a:solidFill>
                <a:schemeClr val="accent1"/>
              </a:solidFill>
              <a:ln w="25400" cap="flat" cmpd="sng" algn="ctr">
                <a:noFill/>
                <a:prstDash val="solid"/>
              </a:ln>
              <a:effectLst/>
            </p:spPr>
            <p:txBody>
              <a:bodyPr lIns="91427" tIns="91427" rIns="91427" bIns="91427"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4224">
                  <a:defRPr/>
                </a:pPr>
                <a:r>
                  <a:rPr lang="en-US" sz="1399" dirty="0">
                    <a:ln>
                      <a:solidFill>
                        <a:schemeClr val="tx1">
                          <a:alpha val="0"/>
                        </a:schemeClr>
                      </a:solidFill>
                    </a:ln>
                    <a:solidFill>
                      <a:prstClr val="white"/>
                    </a:solidFill>
                  </a:rPr>
                  <a:t>Laptop </a:t>
                </a:r>
                <a:br>
                  <a:rPr lang="en-US" sz="1399" dirty="0">
                    <a:ln>
                      <a:solidFill>
                        <a:schemeClr val="tx1">
                          <a:alpha val="0"/>
                        </a:schemeClr>
                      </a:solidFill>
                    </a:ln>
                    <a:solidFill>
                      <a:prstClr val="white"/>
                    </a:solidFill>
                  </a:rPr>
                </a:br>
                <a:r>
                  <a:rPr lang="en-US" sz="1399" dirty="0">
                    <a:ln>
                      <a:solidFill>
                        <a:schemeClr val="tx1">
                          <a:alpha val="0"/>
                        </a:schemeClr>
                      </a:solidFill>
                    </a:ln>
                    <a:solidFill>
                      <a:prstClr val="white"/>
                    </a:solidFill>
                  </a:rPr>
                  <a:t>(small)</a:t>
                </a:r>
              </a:p>
            </p:txBody>
          </p:sp>
          <p:sp>
            <p:nvSpPr>
              <p:cNvPr id="36" name="Rectangle 35"/>
              <p:cNvSpPr/>
              <p:nvPr/>
            </p:nvSpPr>
            <p:spPr>
              <a:xfrm>
                <a:off x="1905961" y="2477380"/>
                <a:ext cx="1380744" cy="1216152"/>
              </a:xfrm>
              <a:prstGeom prst="rect">
                <a:avLst/>
              </a:prstGeom>
              <a:solidFill>
                <a:schemeClr val="accent1"/>
              </a:solidFill>
              <a:ln w="25400" cap="flat" cmpd="sng" algn="ctr">
                <a:noFill/>
                <a:prstDash val="solid"/>
              </a:ln>
              <a:effectLst/>
            </p:spPr>
            <p:txBody>
              <a:bodyPr lIns="91427" tIns="91427" rIns="91427" bIns="91427"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4224">
                  <a:defRPr/>
                </a:pPr>
                <a:r>
                  <a:rPr lang="en-US" sz="1399" dirty="0">
                    <a:ln>
                      <a:solidFill>
                        <a:schemeClr val="tx1">
                          <a:alpha val="0"/>
                        </a:schemeClr>
                      </a:solidFill>
                    </a:ln>
                    <a:solidFill>
                      <a:prstClr val="white"/>
                    </a:solidFill>
                  </a:rPr>
                  <a:t>Laptop</a:t>
                </a:r>
                <a:br>
                  <a:rPr lang="en-US" sz="1399" dirty="0">
                    <a:ln>
                      <a:solidFill>
                        <a:schemeClr val="tx1">
                          <a:alpha val="0"/>
                        </a:schemeClr>
                      </a:solidFill>
                    </a:ln>
                    <a:solidFill>
                      <a:prstClr val="white"/>
                    </a:solidFill>
                  </a:rPr>
                </a:br>
                <a:r>
                  <a:rPr lang="en-US" sz="1399" dirty="0">
                    <a:ln>
                      <a:solidFill>
                        <a:schemeClr val="tx1">
                          <a:alpha val="0"/>
                        </a:schemeClr>
                      </a:solidFill>
                    </a:ln>
                    <a:solidFill>
                      <a:prstClr val="white"/>
                    </a:solidFill>
                  </a:rPr>
                  <a:t>(medium)</a:t>
                </a:r>
              </a:p>
            </p:txBody>
          </p:sp>
          <p:sp>
            <p:nvSpPr>
              <p:cNvPr id="37" name="Rectangle 36"/>
              <p:cNvSpPr/>
              <p:nvPr/>
            </p:nvSpPr>
            <p:spPr>
              <a:xfrm>
                <a:off x="3354723" y="2477380"/>
                <a:ext cx="1380744" cy="1216152"/>
              </a:xfrm>
              <a:prstGeom prst="rect">
                <a:avLst/>
              </a:prstGeom>
              <a:solidFill>
                <a:schemeClr val="accent1"/>
              </a:solidFill>
              <a:ln w="25400" cap="flat" cmpd="sng" algn="ctr">
                <a:noFill/>
                <a:prstDash val="solid"/>
              </a:ln>
              <a:effectLst/>
            </p:spPr>
            <p:txBody>
              <a:bodyPr lIns="91427" tIns="91427" rIns="91427" bIns="91427"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4224">
                  <a:defRPr/>
                </a:pPr>
                <a:r>
                  <a:rPr lang="en-US" sz="1399" dirty="0">
                    <a:ln>
                      <a:solidFill>
                        <a:schemeClr val="tx1">
                          <a:alpha val="0"/>
                        </a:schemeClr>
                      </a:solidFill>
                    </a:ln>
                    <a:solidFill>
                      <a:prstClr val="white"/>
                    </a:solidFill>
                  </a:rPr>
                  <a:t>Laptop</a:t>
                </a:r>
                <a:br>
                  <a:rPr lang="en-US" sz="1399" dirty="0">
                    <a:ln>
                      <a:solidFill>
                        <a:schemeClr val="tx1">
                          <a:alpha val="0"/>
                        </a:schemeClr>
                      </a:solidFill>
                    </a:ln>
                    <a:solidFill>
                      <a:prstClr val="white"/>
                    </a:solidFill>
                  </a:rPr>
                </a:br>
                <a:r>
                  <a:rPr lang="en-US" sz="1399" dirty="0">
                    <a:ln>
                      <a:solidFill>
                        <a:schemeClr val="tx1">
                          <a:alpha val="0"/>
                        </a:schemeClr>
                      </a:solidFill>
                    </a:ln>
                    <a:solidFill>
                      <a:prstClr val="white"/>
                    </a:solidFill>
                  </a:rPr>
                  <a:t>(large)</a:t>
                </a:r>
              </a:p>
            </p:txBody>
          </p:sp>
          <p:sp>
            <p:nvSpPr>
              <p:cNvPr id="38" name="Rectangle 37"/>
              <p:cNvSpPr/>
              <p:nvPr/>
            </p:nvSpPr>
            <p:spPr>
              <a:xfrm>
                <a:off x="4803485" y="2473875"/>
                <a:ext cx="1380744" cy="1216152"/>
              </a:xfrm>
              <a:prstGeom prst="rect">
                <a:avLst/>
              </a:prstGeom>
              <a:solidFill>
                <a:schemeClr val="accent1"/>
              </a:solidFill>
              <a:ln w="25400" cap="flat" cmpd="sng" algn="ctr">
                <a:noFill/>
                <a:prstDash val="solid"/>
              </a:ln>
              <a:effectLst/>
            </p:spPr>
            <p:txBody>
              <a:bodyPr lIns="91427" tIns="91427" rIns="91427" bIns="91427"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4224">
                  <a:defRPr/>
                </a:pPr>
                <a:r>
                  <a:rPr lang="en-US" sz="1399" dirty="0">
                    <a:ln>
                      <a:solidFill>
                        <a:schemeClr val="tx1">
                          <a:alpha val="0"/>
                        </a:schemeClr>
                      </a:solidFill>
                    </a:ln>
                    <a:solidFill>
                      <a:prstClr val="white"/>
                    </a:solidFill>
                  </a:rPr>
                  <a:t>Desktop</a:t>
                </a:r>
              </a:p>
            </p:txBody>
          </p:sp>
          <p:sp>
            <p:nvSpPr>
              <p:cNvPr id="39" name="Rectangle 38"/>
              <p:cNvSpPr/>
              <p:nvPr/>
            </p:nvSpPr>
            <p:spPr>
              <a:xfrm>
                <a:off x="6252247" y="2473875"/>
                <a:ext cx="1380744" cy="1216152"/>
              </a:xfrm>
              <a:prstGeom prst="rect">
                <a:avLst/>
              </a:prstGeom>
              <a:solidFill>
                <a:schemeClr val="accent1"/>
              </a:solidFill>
              <a:ln w="25400" cap="flat" cmpd="sng" algn="ctr">
                <a:noFill/>
                <a:prstDash val="solid"/>
              </a:ln>
              <a:effectLst/>
            </p:spPr>
            <p:txBody>
              <a:bodyPr lIns="91427" tIns="91427" rIns="91427" bIns="91427"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4224">
                  <a:defRPr/>
                </a:pPr>
                <a:r>
                  <a:rPr lang="en-US" sz="1399" dirty="0">
                    <a:ln>
                      <a:solidFill>
                        <a:schemeClr val="tx1">
                          <a:alpha val="0"/>
                        </a:schemeClr>
                      </a:solidFill>
                    </a:ln>
                    <a:solidFill>
                      <a:prstClr val="white"/>
                    </a:solidFill>
                  </a:rPr>
                  <a:t>Advertising</a:t>
                </a:r>
              </a:p>
              <a:p>
                <a:pPr defTabSz="914224">
                  <a:defRPr/>
                </a:pPr>
                <a:r>
                  <a:rPr lang="en-US" sz="1399" dirty="0">
                    <a:ln>
                      <a:solidFill>
                        <a:schemeClr val="tx1">
                          <a:alpha val="0"/>
                        </a:schemeClr>
                      </a:solidFill>
                    </a:ln>
                    <a:solidFill>
                      <a:prstClr val="white"/>
                    </a:solidFill>
                  </a:rPr>
                  <a:t>Display</a:t>
                </a:r>
              </a:p>
            </p:txBody>
          </p:sp>
          <p:sp>
            <p:nvSpPr>
              <p:cNvPr id="40" name="Rectangle 39"/>
              <p:cNvSpPr/>
              <p:nvPr/>
            </p:nvSpPr>
            <p:spPr>
              <a:xfrm>
                <a:off x="7701009" y="2473875"/>
                <a:ext cx="1380744" cy="1216152"/>
              </a:xfrm>
              <a:prstGeom prst="rect">
                <a:avLst/>
              </a:prstGeom>
              <a:solidFill>
                <a:schemeClr val="accent1"/>
              </a:solidFill>
              <a:ln w="25400" cap="flat" cmpd="sng" algn="ctr">
                <a:noFill/>
                <a:prstDash val="solid"/>
              </a:ln>
              <a:effectLst/>
            </p:spPr>
            <p:txBody>
              <a:bodyPr lIns="91427" tIns="91427" rIns="91427" bIns="91427"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4224">
                  <a:defRPr/>
                </a:pPr>
                <a:r>
                  <a:rPr lang="en-US" sz="1399" dirty="0">
                    <a:ln>
                      <a:solidFill>
                        <a:schemeClr val="tx1">
                          <a:alpha val="0"/>
                        </a:schemeClr>
                      </a:solidFill>
                    </a:ln>
                    <a:solidFill>
                      <a:prstClr val="white"/>
                    </a:solidFill>
                  </a:rPr>
                  <a:t>Device Tailored</a:t>
                </a:r>
              </a:p>
            </p:txBody>
          </p:sp>
          <p:sp>
            <p:nvSpPr>
              <p:cNvPr id="61" name="Freeform 60"/>
              <p:cNvSpPr/>
              <p:nvPr>
                <p:custDataLst>
                  <p:tags r:id="rId4"/>
                </p:custDataLst>
              </p:nvPr>
            </p:nvSpPr>
            <p:spPr bwMode="auto">
              <a:xfrm>
                <a:off x="1148727" y="1792063"/>
                <a:ext cx="644464" cy="512823"/>
              </a:xfrm>
              <a:custGeom>
                <a:avLst/>
                <a:gdLst/>
                <a:ahLst/>
                <a:cxnLst/>
                <a:rect l="l" t="t" r="r" b="b"/>
                <a:pathLst>
                  <a:path w="4250373" h="3382171">
                    <a:moveTo>
                      <a:pt x="1629417" y="3012419"/>
                    </a:moveTo>
                    <a:cubicBezTo>
                      <a:pt x="1601799" y="3012419"/>
                      <a:pt x="1579412" y="3034807"/>
                      <a:pt x="1579411" y="3062425"/>
                    </a:cubicBezTo>
                    <a:cubicBezTo>
                      <a:pt x="1579412" y="3090043"/>
                      <a:pt x="1601799" y="3112430"/>
                      <a:pt x="1629417" y="3112430"/>
                    </a:cubicBezTo>
                    <a:lnTo>
                      <a:pt x="2622323" y="3112431"/>
                    </a:lnTo>
                    <a:cubicBezTo>
                      <a:pt x="2649941" y="3112431"/>
                      <a:pt x="2672329" y="3090043"/>
                      <a:pt x="2672329" y="3062425"/>
                    </a:cubicBezTo>
                    <a:lnTo>
                      <a:pt x="2672330" y="3062425"/>
                    </a:lnTo>
                    <a:cubicBezTo>
                      <a:pt x="2672330" y="3034807"/>
                      <a:pt x="2649942" y="3012419"/>
                      <a:pt x="2622324" y="3012419"/>
                    </a:cubicBezTo>
                    <a:close/>
                    <a:moveTo>
                      <a:pt x="3267642" y="2095377"/>
                    </a:moveTo>
                    <a:cubicBezTo>
                      <a:pt x="3249756" y="2095377"/>
                      <a:pt x="3235256" y="2109877"/>
                      <a:pt x="3235256" y="2127763"/>
                    </a:cubicBezTo>
                    <a:lnTo>
                      <a:pt x="3235256" y="2279945"/>
                    </a:lnTo>
                    <a:cubicBezTo>
                      <a:pt x="3235256" y="2297831"/>
                      <a:pt x="3249756" y="2312331"/>
                      <a:pt x="3267642" y="2312331"/>
                    </a:cubicBezTo>
                    <a:lnTo>
                      <a:pt x="3397182" y="2312331"/>
                    </a:lnTo>
                    <a:cubicBezTo>
                      <a:pt x="3415068" y="2312331"/>
                      <a:pt x="3429568" y="2297831"/>
                      <a:pt x="3429568" y="2279945"/>
                    </a:cubicBezTo>
                    <a:lnTo>
                      <a:pt x="3429568" y="2127763"/>
                    </a:lnTo>
                    <a:cubicBezTo>
                      <a:pt x="3429568" y="2109877"/>
                      <a:pt x="3415068" y="2095377"/>
                      <a:pt x="3397182" y="2095377"/>
                    </a:cubicBezTo>
                    <a:close/>
                    <a:moveTo>
                      <a:pt x="2939029" y="2095377"/>
                    </a:moveTo>
                    <a:cubicBezTo>
                      <a:pt x="2921143" y="2095377"/>
                      <a:pt x="2906643" y="2109877"/>
                      <a:pt x="2906643" y="2127763"/>
                    </a:cubicBezTo>
                    <a:lnTo>
                      <a:pt x="2906643" y="2279945"/>
                    </a:lnTo>
                    <a:cubicBezTo>
                      <a:pt x="2906643" y="2297831"/>
                      <a:pt x="2921143" y="2312331"/>
                      <a:pt x="2939029" y="2312331"/>
                    </a:cubicBezTo>
                    <a:lnTo>
                      <a:pt x="3068569" y="2312331"/>
                    </a:lnTo>
                    <a:cubicBezTo>
                      <a:pt x="3086455" y="2312331"/>
                      <a:pt x="3100955" y="2297831"/>
                      <a:pt x="3100955" y="2279945"/>
                    </a:cubicBezTo>
                    <a:lnTo>
                      <a:pt x="3100955" y="2127763"/>
                    </a:lnTo>
                    <a:cubicBezTo>
                      <a:pt x="3100955" y="2109877"/>
                      <a:pt x="3086455" y="2095377"/>
                      <a:pt x="3068569" y="2095377"/>
                    </a:cubicBezTo>
                    <a:close/>
                    <a:moveTo>
                      <a:pt x="2615179" y="2095377"/>
                    </a:moveTo>
                    <a:cubicBezTo>
                      <a:pt x="2597293" y="2095377"/>
                      <a:pt x="2582793" y="2109877"/>
                      <a:pt x="2582793" y="2127763"/>
                    </a:cubicBezTo>
                    <a:lnTo>
                      <a:pt x="2582793" y="2279945"/>
                    </a:lnTo>
                    <a:cubicBezTo>
                      <a:pt x="2582793" y="2297831"/>
                      <a:pt x="2597293" y="2312331"/>
                      <a:pt x="2615179" y="2312331"/>
                    </a:cubicBezTo>
                    <a:lnTo>
                      <a:pt x="2744719" y="2312331"/>
                    </a:lnTo>
                    <a:cubicBezTo>
                      <a:pt x="2762605" y="2312331"/>
                      <a:pt x="2777105" y="2297831"/>
                      <a:pt x="2777105" y="2279945"/>
                    </a:cubicBezTo>
                    <a:lnTo>
                      <a:pt x="2777105" y="2127763"/>
                    </a:lnTo>
                    <a:cubicBezTo>
                      <a:pt x="2777105" y="2109877"/>
                      <a:pt x="2762605" y="2095377"/>
                      <a:pt x="2744719" y="2095377"/>
                    </a:cubicBezTo>
                    <a:close/>
                    <a:moveTo>
                      <a:pt x="2615179" y="1784755"/>
                    </a:moveTo>
                    <a:cubicBezTo>
                      <a:pt x="2597293" y="1784755"/>
                      <a:pt x="2582793" y="1799255"/>
                      <a:pt x="2582793" y="1817141"/>
                    </a:cubicBezTo>
                    <a:lnTo>
                      <a:pt x="2582793" y="1969323"/>
                    </a:lnTo>
                    <a:cubicBezTo>
                      <a:pt x="2582793" y="1987209"/>
                      <a:pt x="2597293" y="2001709"/>
                      <a:pt x="2615179" y="2001709"/>
                    </a:cubicBezTo>
                    <a:lnTo>
                      <a:pt x="2744719" y="2001709"/>
                    </a:lnTo>
                    <a:cubicBezTo>
                      <a:pt x="2762605" y="2001709"/>
                      <a:pt x="2777105" y="1987209"/>
                      <a:pt x="2777105" y="1969323"/>
                    </a:cubicBezTo>
                    <a:lnTo>
                      <a:pt x="2777105" y="1817141"/>
                    </a:lnTo>
                    <a:cubicBezTo>
                      <a:pt x="2777105" y="1799255"/>
                      <a:pt x="2762605" y="1784755"/>
                      <a:pt x="2744719" y="1784755"/>
                    </a:cubicBezTo>
                    <a:close/>
                    <a:moveTo>
                      <a:pt x="3267642" y="1784754"/>
                    </a:moveTo>
                    <a:cubicBezTo>
                      <a:pt x="3249756" y="1784754"/>
                      <a:pt x="3235256" y="1799254"/>
                      <a:pt x="3235256" y="1817140"/>
                    </a:cubicBezTo>
                    <a:lnTo>
                      <a:pt x="3235256" y="1969322"/>
                    </a:lnTo>
                    <a:cubicBezTo>
                      <a:pt x="3235256" y="1987208"/>
                      <a:pt x="3249756" y="2001708"/>
                      <a:pt x="3267642" y="2001708"/>
                    </a:cubicBezTo>
                    <a:lnTo>
                      <a:pt x="3397182" y="2001708"/>
                    </a:lnTo>
                    <a:cubicBezTo>
                      <a:pt x="3415068" y="2001708"/>
                      <a:pt x="3429568" y="1987208"/>
                      <a:pt x="3429568" y="1969322"/>
                    </a:cubicBezTo>
                    <a:lnTo>
                      <a:pt x="3429568" y="1817140"/>
                    </a:lnTo>
                    <a:cubicBezTo>
                      <a:pt x="3429568" y="1799254"/>
                      <a:pt x="3415068" y="1784754"/>
                      <a:pt x="3397182" y="1784754"/>
                    </a:cubicBezTo>
                    <a:close/>
                    <a:moveTo>
                      <a:pt x="2939029" y="1784754"/>
                    </a:moveTo>
                    <a:cubicBezTo>
                      <a:pt x="2921143" y="1784754"/>
                      <a:pt x="2906643" y="1799254"/>
                      <a:pt x="2906643" y="1817140"/>
                    </a:cubicBezTo>
                    <a:lnTo>
                      <a:pt x="2906643" y="1969322"/>
                    </a:lnTo>
                    <a:cubicBezTo>
                      <a:pt x="2906643" y="1987208"/>
                      <a:pt x="2921143" y="2001708"/>
                      <a:pt x="2939029" y="2001708"/>
                    </a:cubicBezTo>
                    <a:lnTo>
                      <a:pt x="3068569" y="2001708"/>
                    </a:lnTo>
                    <a:cubicBezTo>
                      <a:pt x="3086455" y="2001708"/>
                      <a:pt x="3100955" y="1987208"/>
                      <a:pt x="3100955" y="1969322"/>
                    </a:cubicBezTo>
                    <a:lnTo>
                      <a:pt x="3100955" y="1817140"/>
                    </a:lnTo>
                    <a:cubicBezTo>
                      <a:pt x="3100955" y="1799254"/>
                      <a:pt x="3086455" y="1784754"/>
                      <a:pt x="3068569" y="1784754"/>
                    </a:cubicBezTo>
                    <a:close/>
                    <a:moveTo>
                      <a:pt x="3267642" y="1474132"/>
                    </a:moveTo>
                    <a:cubicBezTo>
                      <a:pt x="3249756" y="1474132"/>
                      <a:pt x="3235256" y="1488632"/>
                      <a:pt x="3235256" y="1506518"/>
                    </a:cubicBezTo>
                    <a:lnTo>
                      <a:pt x="3235256" y="1658700"/>
                    </a:lnTo>
                    <a:cubicBezTo>
                      <a:pt x="3235256" y="1676586"/>
                      <a:pt x="3249756" y="1691086"/>
                      <a:pt x="3267642" y="1691086"/>
                    </a:cubicBezTo>
                    <a:lnTo>
                      <a:pt x="3397182" y="1691086"/>
                    </a:lnTo>
                    <a:cubicBezTo>
                      <a:pt x="3415068" y="1691086"/>
                      <a:pt x="3429568" y="1676586"/>
                      <a:pt x="3429568" y="1658700"/>
                    </a:cubicBezTo>
                    <a:lnTo>
                      <a:pt x="3429568" y="1506518"/>
                    </a:lnTo>
                    <a:cubicBezTo>
                      <a:pt x="3429568" y="1488632"/>
                      <a:pt x="3415068" y="1474132"/>
                      <a:pt x="3397182" y="1474132"/>
                    </a:cubicBezTo>
                    <a:close/>
                    <a:moveTo>
                      <a:pt x="2630648" y="1474132"/>
                    </a:moveTo>
                    <a:cubicBezTo>
                      <a:pt x="2612762" y="1474132"/>
                      <a:pt x="2598262" y="1488632"/>
                      <a:pt x="2598262" y="1506518"/>
                    </a:cubicBezTo>
                    <a:lnTo>
                      <a:pt x="2598262" y="1658700"/>
                    </a:lnTo>
                    <a:cubicBezTo>
                      <a:pt x="2598262" y="1676586"/>
                      <a:pt x="2612762" y="1691086"/>
                      <a:pt x="2630648" y="1691086"/>
                    </a:cubicBezTo>
                    <a:lnTo>
                      <a:pt x="2760188" y="1691086"/>
                    </a:lnTo>
                    <a:cubicBezTo>
                      <a:pt x="2778074" y="1691086"/>
                      <a:pt x="2792574" y="1676586"/>
                      <a:pt x="2792574" y="1658700"/>
                    </a:cubicBezTo>
                    <a:lnTo>
                      <a:pt x="2792574" y="1506518"/>
                    </a:lnTo>
                    <a:cubicBezTo>
                      <a:pt x="2792574" y="1488632"/>
                      <a:pt x="2778074" y="1474132"/>
                      <a:pt x="2760188" y="1474132"/>
                    </a:cubicBezTo>
                    <a:close/>
                    <a:moveTo>
                      <a:pt x="2939029" y="1474131"/>
                    </a:moveTo>
                    <a:cubicBezTo>
                      <a:pt x="2921143" y="1474131"/>
                      <a:pt x="2906643" y="1488631"/>
                      <a:pt x="2906643" y="1506517"/>
                    </a:cubicBezTo>
                    <a:lnTo>
                      <a:pt x="2906643" y="1658699"/>
                    </a:lnTo>
                    <a:cubicBezTo>
                      <a:pt x="2906643" y="1676585"/>
                      <a:pt x="2921143" y="1691085"/>
                      <a:pt x="2939029" y="1691085"/>
                    </a:cubicBezTo>
                    <a:lnTo>
                      <a:pt x="3068569" y="1691085"/>
                    </a:lnTo>
                    <a:cubicBezTo>
                      <a:pt x="3086455" y="1691085"/>
                      <a:pt x="3100955" y="1676585"/>
                      <a:pt x="3100955" y="1658699"/>
                    </a:cubicBezTo>
                    <a:lnTo>
                      <a:pt x="3100955" y="1506517"/>
                    </a:lnTo>
                    <a:cubicBezTo>
                      <a:pt x="3100955" y="1488631"/>
                      <a:pt x="3086455" y="1474131"/>
                      <a:pt x="3068569" y="1474131"/>
                    </a:cubicBezTo>
                    <a:close/>
                    <a:moveTo>
                      <a:pt x="858205" y="1474131"/>
                    </a:moveTo>
                    <a:cubicBezTo>
                      <a:pt x="781049" y="1474131"/>
                      <a:pt x="718502" y="1536678"/>
                      <a:pt x="718502" y="1613834"/>
                    </a:cubicBezTo>
                    <a:lnTo>
                      <a:pt x="718502" y="2172628"/>
                    </a:lnTo>
                    <a:cubicBezTo>
                      <a:pt x="718502" y="2249784"/>
                      <a:pt x="781049" y="2312331"/>
                      <a:pt x="858205" y="2312331"/>
                    </a:cubicBezTo>
                    <a:lnTo>
                      <a:pt x="2214720" y="2312331"/>
                    </a:lnTo>
                    <a:cubicBezTo>
                      <a:pt x="2291876" y="2312331"/>
                      <a:pt x="2354423" y="2249784"/>
                      <a:pt x="2354423" y="2172628"/>
                    </a:cubicBezTo>
                    <a:lnTo>
                      <a:pt x="2354423" y="1613834"/>
                    </a:lnTo>
                    <a:cubicBezTo>
                      <a:pt x="2354423" y="1536678"/>
                      <a:pt x="2291876" y="1474131"/>
                      <a:pt x="2214720" y="1474131"/>
                    </a:cubicBezTo>
                    <a:close/>
                    <a:moveTo>
                      <a:pt x="3252670" y="531326"/>
                    </a:moveTo>
                    <a:lnTo>
                      <a:pt x="2791662" y="532461"/>
                    </a:lnTo>
                    <a:cubicBezTo>
                      <a:pt x="2776208" y="539697"/>
                      <a:pt x="2767714" y="547454"/>
                      <a:pt x="2777626" y="582042"/>
                    </a:cubicBezTo>
                    <a:cubicBezTo>
                      <a:pt x="2832794" y="794356"/>
                      <a:pt x="2631505" y="1060272"/>
                      <a:pt x="2716779" y="1233013"/>
                    </a:cubicBezTo>
                    <a:lnTo>
                      <a:pt x="3199247" y="1239182"/>
                    </a:lnTo>
                    <a:cubicBezTo>
                      <a:pt x="3176593" y="924732"/>
                      <a:pt x="3363213" y="712407"/>
                      <a:pt x="3252670" y="531326"/>
                    </a:cubicBezTo>
                    <a:close/>
                    <a:moveTo>
                      <a:pt x="722896" y="104775"/>
                    </a:moveTo>
                    <a:cubicBezTo>
                      <a:pt x="695620" y="104775"/>
                      <a:pt x="673508" y="126887"/>
                      <a:pt x="673508" y="154163"/>
                    </a:cubicBezTo>
                    <a:lnTo>
                      <a:pt x="673508" y="424618"/>
                    </a:lnTo>
                    <a:cubicBezTo>
                      <a:pt x="673508" y="451894"/>
                      <a:pt x="695620" y="474006"/>
                      <a:pt x="722896" y="474006"/>
                    </a:cubicBezTo>
                    <a:lnTo>
                      <a:pt x="1944920" y="474006"/>
                    </a:lnTo>
                    <a:cubicBezTo>
                      <a:pt x="1972196" y="474006"/>
                      <a:pt x="1994308" y="451894"/>
                      <a:pt x="1994308" y="424618"/>
                    </a:cubicBezTo>
                    <a:lnTo>
                      <a:pt x="1994308" y="154163"/>
                    </a:lnTo>
                    <a:cubicBezTo>
                      <a:pt x="1994308" y="126887"/>
                      <a:pt x="1972196" y="104775"/>
                      <a:pt x="1944920" y="104775"/>
                    </a:cubicBezTo>
                    <a:close/>
                    <a:moveTo>
                      <a:pt x="576301" y="0"/>
                    </a:moveTo>
                    <a:lnTo>
                      <a:pt x="2091515" y="0"/>
                    </a:lnTo>
                    <a:cubicBezTo>
                      <a:pt x="2134272" y="0"/>
                      <a:pt x="2168933" y="34661"/>
                      <a:pt x="2168933" y="77418"/>
                    </a:cubicBezTo>
                    <a:lnTo>
                      <a:pt x="2168933" y="501363"/>
                    </a:lnTo>
                    <a:cubicBezTo>
                      <a:pt x="2168933" y="544120"/>
                      <a:pt x="2134272" y="578781"/>
                      <a:pt x="2091515" y="578781"/>
                    </a:cubicBezTo>
                    <a:lnTo>
                      <a:pt x="1535838" y="578781"/>
                    </a:lnTo>
                    <a:lnTo>
                      <a:pt x="1535838" y="1055029"/>
                    </a:lnTo>
                    <a:lnTo>
                      <a:pt x="2583508" y="1055029"/>
                    </a:lnTo>
                    <a:cubicBezTo>
                      <a:pt x="2644625" y="820055"/>
                      <a:pt x="2711359" y="699743"/>
                      <a:pt x="2623911" y="475594"/>
                    </a:cubicBezTo>
                    <a:cubicBezTo>
                      <a:pt x="2627086" y="446489"/>
                      <a:pt x="2646929" y="434054"/>
                      <a:pt x="2671536" y="426381"/>
                    </a:cubicBezTo>
                    <a:lnTo>
                      <a:pt x="3339873" y="418443"/>
                    </a:lnTo>
                    <a:cubicBezTo>
                      <a:pt x="3409342" y="582642"/>
                      <a:pt x="3445837" y="673041"/>
                      <a:pt x="3327420" y="1055029"/>
                    </a:cubicBezTo>
                    <a:lnTo>
                      <a:pt x="3504752" y="1055029"/>
                    </a:lnTo>
                    <a:cubicBezTo>
                      <a:pt x="3635058" y="1055029"/>
                      <a:pt x="3740691" y="1160662"/>
                      <a:pt x="3740691" y="1290968"/>
                    </a:cubicBezTo>
                    <a:lnTo>
                      <a:pt x="3740691" y="2355081"/>
                    </a:lnTo>
                    <a:lnTo>
                      <a:pt x="4250373" y="2862875"/>
                    </a:lnTo>
                    <a:lnTo>
                      <a:pt x="4245831" y="2862877"/>
                    </a:lnTo>
                    <a:lnTo>
                      <a:pt x="4245831" y="3282908"/>
                    </a:lnTo>
                    <a:cubicBezTo>
                      <a:pt x="4245831" y="3337729"/>
                      <a:pt x="4201389" y="3382171"/>
                      <a:pt x="4146568" y="3382171"/>
                    </a:cubicBezTo>
                    <a:lnTo>
                      <a:pt x="102439" y="3382171"/>
                    </a:lnTo>
                    <a:cubicBezTo>
                      <a:pt x="47618" y="3382171"/>
                      <a:pt x="3176" y="3337729"/>
                      <a:pt x="3176" y="3282908"/>
                    </a:cubicBezTo>
                    <a:lnTo>
                      <a:pt x="3176" y="2864144"/>
                    </a:lnTo>
                    <a:lnTo>
                      <a:pt x="0" y="2864145"/>
                    </a:lnTo>
                    <a:lnTo>
                      <a:pt x="3176" y="2861005"/>
                    </a:lnTo>
                    <a:lnTo>
                      <a:pt x="3176" y="2860970"/>
                    </a:lnTo>
                    <a:lnTo>
                      <a:pt x="3211" y="2860970"/>
                    </a:lnTo>
                    <a:lnTo>
                      <a:pt x="511811" y="2358050"/>
                    </a:lnTo>
                    <a:lnTo>
                      <a:pt x="512859" y="2358048"/>
                    </a:lnTo>
                    <a:lnTo>
                      <a:pt x="512859" y="1290968"/>
                    </a:lnTo>
                    <a:cubicBezTo>
                      <a:pt x="512859" y="1160662"/>
                      <a:pt x="618492" y="1055029"/>
                      <a:pt x="748798" y="1055029"/>
                    </a:cubicBezTo>
                    <a:lnTo>
                      <a:pt x="1131978" y="1055029"/>
                    </a:lnTo>
                    <a:lnTo>
                      <a:pt x="1131978" y="578781"/>
                    </a:lnTo>
                    <a:lnTo>
                      <a:pt x="576301" y="578781"/>
                    </a:lnTo>
                    <a:cubicBezTo>
                      <a:pt x="533544" y="578781"/>
                      <a:pt x="498883" y="544120"/>
                      <a:pt x="498883" y="501363"/>
                    </a:cubicBezTo>
                    <a:lnTo>
                      <a:pt x="498883" y="77418"/>
                    </a:lnTo>
                    <a:cubicBezTo>
                      <a:pt x="498883" y="34661"/>
                      <a:pt x="533544" y="0"/>
                      <a:pt x="576301" y="0"/>
                    </a:cubicBezTo>
                    <a:close/>
                  </a:path>
                </a:pathLst>
              </a:custGeom>
              <a:solidFill>
                <a:schemeClr val="tx1"/>
              </a:solidFill>
              <a:ln>
                <a:noFill/>
              </a:ln>
              <a:extLst/>
            </p:spPr>
            <p:txBody>
              <a:bodyPr rot="0" spcFirstLastPara="0" vertOverflow="overflow" horzOverflow="overflow" vert="horz" wrap="square" lIns="91427" tIns="45713" rIns="91427" bIns="45713" numCol="1" spcCol="0" rtlCol="0" fromWordArt="0" anchor="t" anchorCtr="0" forceAA="0" compatLnSpc="1">
                <a:prstTxWarp prst="textNoShape">
                  <a:avLst/>
                </a:prstTxWarp>
                <a:noAutofit/>
              </a:bodyPr>
              <a:lstStyle/>
              <a:p>
                <a:pPr algn="ctr"/>
                <a:endParaRPr lang="en-US">
                  <a:solidFill>
                    <a:schemeClr val="bg1"/>
                  </a:solidFill>
                </a:endParaRPr>
              </a:p>
            </p:txBody>
          </p:sp>
          <p:sp>
            <p:nvSpPr>
              <p:cNvPr id="62" name="Oval 45"/>
              <p:cNvSpPr/>
              <p:nvPr/>
            </p:nvSpPr>
            <p:spPr>
              <a:xfrm>
                <a:off x="3897685" y="1881774"/>
                <a:ext cx="758136" cy="468955"/>
              </a:xfrm>
              <a:custGeom>
                <a:avLst/>
                <a:gdLst/>
                <a:ahLst/>
                <a:cxnLst/>
                <a:rect l="l" t="t" r="r" b="b"/>
                <a:pathLst>
                  <a:path w="4955293" h="3065164">
                    <a:moveTo>
                      <a:pt x="4261246" y="2575816"/>
                    </a:moveTo>
                    <a:lnTo>
                      <a:pt x="4261246" y="2770002"/>
                    </a:lnTo>
                    <a:lnTo>
                      <a:pt x="4306965" y="2770002"/>
                    </a:lnTo>
                    <a:lnTo>
                      <a:pt x="4306965" y="2575816"/>
                    </a:lnTo>
                    <a:close/>
                    <a:moveTo>
                      <a:pt x="4184421" y="2575816"/>
                    </a:moveTo>
                    <a:lnTo>
                      <a:pt x="4184421" y="2770002"/>
                    </a:lnTo>
                    <a:lnTo>
                      <a:pt x="4230140" y="2770002"/>
                    </a:lnTo>
                    <a:lnTo>
                      <a:pt x="4230140" y="2575816"/>
                    </a:lnTo>
                    <a:close/>
                    <a:moveTo>
                      <a:pt x="4107593" y="2575816"/>
                    </a:moveTo>
                    <a:lnTo>
                      <a:pt x="4107593" y="2770002"/>
                    </a:lnTo>
                    <a:lnTo>
                      <a:pt x="4153312" y="2770002"/>
                    </a:lnTo>
                    <a:lnTo>
                      <a:pt x="4153312" y="2575816"/>
                    </a:lnTo>
                    <a:close/>
                    <a:moveTo>
                      <a:pt x="4030765" y="2575816"/>
                    </a:moveTo>
                    <a:lnTo>
                      <a:pt x="4030765" y="2770002"/>
                    </a:lnTo>
                    <a:lnTo>
                      <a:pt x="4076484" y="2770002"/>
                    </a:lnTo>
                    <a:lnTo>
                      <a:pt x="4076484" y="2575816"/>
                    </a:lnTo>
                    <a:close/>
                    <a:moveTo>
                      <a:pt x="3953937" y="2575816"/>
                    </a:moveTo>
                    <a:lnTo>
                      <a:pt x="3953937" y="2770002"/>
                    </a:lnTo>
                    <a:lnTo>
                      <a:pt x="3999656" y="2770002"/>
                    </a:lnTo>
                    <a:lnTo>
                      <a:pt x="3999656" y="2575816"/>
                    </a:lnTo>
                    <a:close/>
                    <a:moveTo>
                      <a:pt x="3877109" y="2575816"/>
                    </a:moveTo>
                    <a:lnTo>
                      <a:pt x="3877109" y="2770002"/>
                    </a:lnTo>
                    <a:lnTo>
                      <a:pt x="3922828" y="2770002"/>
                    </a:lnTo>
                    <a:lnTo>
                      <a:pt x="3922828" y="2575816"/>
                    </a:lnTo>
                    <a:close/>
                    <a:moveTo>
                      <a:pt x="3800281" y="2575816"/>
                    </a:moveTo>
                    <a:lnTo>
                      <a:pt x="3800281" y="2770002"/>
                    </a:lnTo>
                    <a:lnTo>
                      <a:pt x="3846000" y="2770002"/>
                    </a:lnTo>
                    <a:lnTo>
                      <a:pt x="3846000" y="2575816"/>
                    </a:lnTo>
                    <a:close/>
                    <a:moveTo>
                      <a:pt x="3723453" y="2575816"/>
                    </a:moveTo>
                    <a:lnTo>
                      <a:pt x="3723453" y="2770002"/>
                    </a:lnTo>
                    <a:lnTo>
                      <a:pt x="3769172" y="2770002"/>
                    </a:lnTo>
                    <a:lnTo>
                      <a:pt x="3769172" y="2575816"/>
                    </a:lnTo>
                    <a:close/>
                    <a:moveTo>
                      <a:pt x="3500386" y="2575816"/>
                    </a:moveTo>
                    <a:lnTo>
                      <a:pt x="3500386" y="2770002"/>
                    </a:lnTo>
                    <a:lnTo>
                      <a:pt x="3546105" y="2770002"/>
                    </a:lnTo>
                    <a:lnTo>
                      <a:pt x="3546105" y="2575816"/>
                    </a:lnTo>
                    <a:close/>
                    <a:moveTo>
                      <a:pt x="3423561" y="2575816"/>
                    </a:moveTo>
                    <a:lnTo>
                      <a:pt x="3423561" y="2770002"/>
                    </a:lnTo>
                    <a:lnTo>
                      <a:pt x="3469280" y="2770002"/>
                    </a:lnTo>
                    <a:lnTo>
                      <a:pt x="3469280" y="2575816"/>
                    </a:lnTo>
                    <a:close/>
                    <a:moveTo>
                      <a:pt x="3346733" y="2575816"/>
                    </a:moveTo>
                    <a:lnTo>
                      <a:pt x="3346733" y="2770002"/>
                    </a:lnTo>
                    <a:lnTo>
                      <a:pt x="3392452" y="2770002"/>
                    </a:lnTo>
                    <a:lnTo>
                      <a:pt x="3392452" y="2575816"/>
                    </a:lnTo>
                    <a:close/>
                    <a:moveTo>
                      <a:pt x="3269905" y="2575816"/>
                    </a:moveTo>
                    <a:lnTo>
                      <a:pt x="3269905" y="2770002"/>
                    </a:lnTo>
                    <a:lnTo>
                      <a:pt x="3315624" y="2770002"/>
                    </a:lnTo>
                    <a:lnTo>
                      <a:pt x="3315624" y="2575816"/>
                    </a:lnTo>
                    <a:close/>
                    <a:moveTo>
                      <a:pt x="3193077" y="2575816"/>
                    </a:moveTo>
                    <a:lnTo>
                      <a:pt x="3193077" y="2770002"/>
                    </a:lnTo>
                    <a:lnTo>
                      <a:pt x="3238796" y="2770002"/>
                    </a:lnTo>
                    <a:lnTo>
                      <a:pt x="3238796" y="2575816"/>
                    </a:lnTo>
                    <a:close/>
                    <a:moveTo>
                      <a:pt x="3116249" y="2575816"/>
                    </a:moveTo>
                    <a:lnTo>
                      <a:pt x="3116249" y="2770002"/>
                    </a:lnTo>
                    <a:lnTo>
                      <a:pt x="3161968" y="2770002"/>
                    </a:lnTo>
                    <a:lnTo>
                      <a:pt x="3161968" y="2575816"/>
                    </a:lnTo>
                    <a:close/>
                    <a:moveTo>
                      <a:pt x="3039421" y="2575816"/>
                    </a:moveTo>
                    <a:lnTo>
                      <a:pt x="3039421" y="2770002"/>
                    </a:lnTo>
                    <a:lnTo>
                      <a:pt x="3085140" y="2770002"/>
                    </a:lnTo>
                    <a:lnTo>
                      <a:pt x="3085140" y="2575816"/>
                    </a:lnTo>
                    <a:close/>
                    <a:moveTo>
                      <a:pt x="2962593" y="2575816"/>
                    </a:moveTo>
                    <a:lnTo>
                      <a:pt x="2962593" y="2770002"/>
                    </a:lnTo>
                    <a:lnTo>
                      <a:pt x="3008312" y="2770002"/>
                    </a:lnTo>
                    <a:lnTo>
                      <a:pt x="3008312" y="2575816"/>
                    </a:lnTo>
                    <a:close/>
                    <a:moveTo>
                      <a:pt x="2739525" y="2575816"/>
                    </a:moveTo>
                    <a:lnTo>
                      <a:pt x="2739525" y="2770002"/>
                    </a:lnTo>
                    <a:lnTo>
                      <a:pt x="2785244" y="2770002"/>
                    </a:lnTo>
                    <a:lnTo>
                      <a:pt x="2785244" y="2575816"/>
                    </a:lnTo>
                    <a:close/>
                    <a:moveTo>
                      <a:pt x="2662700" y="2575816"/>
                    </a:moveTo>
                    <a:lnTo>
                      <a:pt x="2662700" y="2770002"/>
                    </a:lnTo>
                    <a:lnTo>
                      <a:pt x="2708419" y="2770002"/>
                    </a:lnTo>
                    <a:lnTo>
                      <a:pt x="2708419" y="2575816"/>
                    </a:lnTo>
                    <a:close/>
                    <a:moveTo>
                      <a:pt x="2585872" y="2575816"/>
                    </a:moveTo>
                    <a:lnTo>
                      <a:pt x="2585872" y="2770002"/>
                    </a:lnTo>
                    <a:lnTo>
                      <a:pt x="2631591" y="2770002"/>
                    </a:lnTo>
                    <a:lnTo>
                      <a:pt x="2631591" y="2575816"/>
                    </a:lnTo>
                    <a:close/>
                    <a:moveTo>
                      <a:pt x="2509044" y="2575816"/>
                    </a:moveTo>
                    <a:lnTo>
                      <a:pt x="2509044" y="2770002"/>
                    </a:lnTo>
                    <a:lnTo>
                      <a:pt x="2554763" y="2770002"/>
                    </a:lnTo>
                    <a:lnTo>
                      <a:pt x="2554763" y="2575816"/>
                    </a:lnTo>
                    <a:close/>
                    <a:moveTo>
                      <a:pt x="2432216" y="2575816"/>
                    </a:moveTo>
                    <a:lnTo>
                      <a:pt x="2432216" y="2770002"/>
                    </a:lnTo>
                    <a:lnTo>
                      <a:pt x="2477935" y="2770002"/>
                    </a:lnTo>
                    <a:lnTo>
                      <a:pt x="2477935" y="2575816"/>
                    </a:lnTo>
                    <a:close/>
                    <a:moveTo>
                      <a:pt x="2355388" y="2575816"/>
                    </a:moveTo>
                    <a:lnTo>
                      <a:pt x="2355388" y="2770002"/>
                    </a:lnTo>
                    <a:lnTo>
                      <a:pt x="2401107" y="2770002"/>
                    </a:lnTo>
                    <a:lnTo>
                      <a:pt x="2401107" y="2575816"/>
                    </a:lnTo>
                    <a:close/>
                    <a:moveTo>
                      <a:pt x="2278560" y="2575816"/>
                    </a:moveTo>
                    <a:lnTo>
                      <a:pt x="2278560" y="2770002"/>
                    </a:lnTo>
                    <a:lnTo>
                      <a:pt x="2324279" y="2770002"/>
                    </a:lnTo>
                    <a:lnTo>
                      <a:pt x="2324279" y="2575816"/>
                    </a:lnTo>
                    <a:close/>
                    <a:moveTo>
                      <a:pt x="2201732" y="2575816"/>
                    </a:moveTo>
                    <a:lnTo>
                      <a:pt x="2201732" y="2770002"/>
                    </a:lnTo>
                    <a:lnTo>
                      <a:pt x="2247451" y="2770002"/>
                    </a:lnTo>
                    <a:lnTo>
                      <a:pt x="2247451" y="2575816"/>
                    </a:lnTo>
                    <a:close/>
                    <a:moveTo>
                      <a:pt x="346310" y="2571381"/>
                    </a:moveTo>
                    <a:lnTo>
                      <a:pt x="501415" y="2571381"/>
                    </a:lnTo>
                    <a:cubicBezTo>
                      <a:pt x="510043" y="2571381"/>
                      <a:pt x="517038" y="2578376"/>
                      <a:pt x="517038" y="2587004"/>
                    </a:cubicBezTo>
                    <a:lnTo>
                      <a:pt x="517038" y="2649492"/>
                    </a:lnTo>
                    <a:cubicBezTo>
                      <a:pt x="517038" y="2658120"/>
                      <a:pt x="510043" y="2665115"/>
                      <a:pt x="501415" y="2665115"/>
                    </a:cubicBezTo>
                    <a:lnTo>
                      <a:pt x="346310" y="2665115"/>
                    </a:lnTo>
                    <a:close/>
                    <a:moveTo>
                      <a:pt x="3666188" y="2541290"/>
                    </a:moveTo>
                    <a:lnTo>
                      <a:pt x="4364231" y="2541290"/>
                    </a:lnTo>
                    <a:lnTo>
                      <a:pt x="4364231" y="2774584"/>
                    </a:lnTo>
                    <a:cubicBezTo>
                      <a:pt x="4364231" y="2782513"/>
                      <a:pt x="4355702" y="2788940"/>
                      <a:pt x="4345181" y="2788940"/>
                    </a:cubicBezTo>
                    <a:lnTo>
                      <a:pt x="3685238" y="2788940"/>
                    </a:lnTo>
                    <a:cubicBezTo>
                      <a:pt x="3674717" y="2788940"/>
                      <a:pt x="3666188" y="2782513"/>
                      <a:pt x="3666188" y="2774584"/>
                    </a:cubicBezTo>
                    <a:close/>
                    <a:moveTo>
                      <a:pt x="2905328" y="2541290"/>
                    </a:moveTo>
                    <a:lnTo>
                      <a:pt x="3603371" y="2541290"/>
                    </a:lnTo>
                    <a:lnTo>
                      <a:pt x="3603371" y="2774584"/>
                    </a:lnTo>
                    <a:cubicBezTo>
                      <a:pt x="3603371" y="2782513"/>
                      <a:pt x="3594842" y="2788940"/>
                      <a:pt x="3584321" y="2788940"/>
                    </a:cubicBezTo>
                    <a:lnTo>
                      <a:pt x="2924378" y="2788940"/>
                    </a:lnTo>
                    <a:cubicBezTo>
                      <a:pt x="2913857" y="2788940"/>
                      <a:pt x="2905328" y="2782513"/>
                      <a:pt x="2905328" y="2774584"/>
                    </a:cubicBezTo>
                    <a:close/>
                    <a:moveTo>
                      <a:pt x="2144467" y="2541290"/>
                    </a:moveTo>
                    <a:lnTo>
                      <a:pt x="2842510" y="2541290"/>
                    </a:lnTo>
                    <a:lnTo>
                      <a:pt x="2842510" y="2774584"/>
                    </a:lnTo>
                    <a:cubicBezTo>
                      <a:pt x="2842510" y="2782513"/>
                      <a:pt x="2833981" y="2788940"/>
                      <a:pt x="2823460" y="2788940"/>
                    </a:cubicBezTo>
                    <a:lnTo>
                      <a:pt x="2163517" y="2788940"/>
                    </a:lnTo>
                    <a:cubicBezTo>
                      <a:pt x="2152996" y="2788940"/>
                      <a:pt x="2144467" y="2782513"/>
                      <a:pt x="2144467" y="2774584"/>
                    </a:cubicBezTo>
                    <a:close/>
                    <a:moveTo>
                      <a:pt x="4857050" y="2355553"/>
                    </a:moveTo>
                    <a:cubicBezTo>
                      <a:pt x="4832062" y="2355553"/>
                      <a:pt x="4811806" y="2375809"/>
                      <a:pt x="4811806" y="2400797"/>
                    </a:cubicBezTo>
                    <a:cubicBezTo>
                      <a:pt x="4811806" y="2425785"/>
                      <a:pt x="4832062" y="2446041"/>
                      <a:pt x="4857050" y="2446041"/>
                    </a:cubicBezTo>
                    <a:cubicBezTo>
                      <a:pt x="4882038" y="2446041"/>
                      <a:pt x="4902294" y="2425785"/>
                      <a:pt x="4902294" y="2400797"/>
                    </a:cubicBezTo>
                    <a:cubicBezTo>
                      <a:pt x="4902294" y="2375809"/>
                      <a:pt x="4882038" y="2355553"/>
                      <a:pt x="4857050" y="2355553"/>
                    </a:cubicBezTo>
                    <a:close/>
                    <a:moveTo>
                      <a:pt x="1765763" y="2350790"/>
                    </a:moveTo>
                    <a:cubicBezTo>
                      <a:pt x="1759421" y="2350790"/>
                      <a:pt x="1754279" y="2355932"/>
                      <a:pt x="1754279" y="2362274"/>
                    </a:cubicBezTo>
                    <a:lnTo>
                      <a:pt x="1754279" y="2408210"/>
                    </a:lnTo>
                    <a:cubicBezTo>
                      <a:pt x="1754279" y="2414552"/>
                      <a:pt x="1759421" y="2419694"/>
                      <a:pt x="1765763" y="2419694"/>
                    </a:cubicBezTo>
                    <a:lnTo>
                      <a:pt x="1961870" y="2419694"/>
                    </a:lnTo>
                    <a:cubicBezTo>
                      <a:pt x="1968212" y="2419694"/>
                      <a:pt x="1973354" y="2414552"/>
                      <a:pt x="1973354" y="2408210"/>
                    </a:cubicBezTo>
                    <a:lnTo>
                      <a:pt x="1973354" y="2362274"/>
                    </a:lnTo>
                    <a:cubicBezTo>
                      <a:pt x="1973354" y="2355932"/>
                      <a:pt x="1968212" y="2350790"/>
                      <a:pt x="1961870" y="2350790"/>
                    </a:cubicBezTo>
                    <a:close/>
                    <a:moveTo>
                      <a:pt x="1427906" y="2299946"/>
                    </a:moveTo>
                    <a:cubicBezTo>
                      <a:pt x="1412203" y="2299946"/>
                      <a:pt x="1399473" y="2312676"/>
                      <a:pt x="1399473" y="2328379"/>
                    </a:cubicBezTo>
                    <a:lnTo>
                      <a:pt x="1399473" y="2442105"/>
                    </a:lnTo>
                    <a:cubicBezTo>
                      <a:pt x="1399473" y="2457808"/>
                      <a:pt x="1412203" y="2470538"/>
                      <a:pt x="1427906" y="2470538"/>
                    </a:cubicBezTo>
                    <a:lnTo>
                      <a:pt x="1590115" y="2470538"/>
                    </a:lnTo>
                    <a:cubicBezTo>
                      <a:pt x="1605818" y="2470538"/>
                      <a:pt x="1618548" y="2457808"/>
                      <a:pt x="1618548" y="2442105"/>
                    </a:cubicBezTo>
                    <a:lnTo>
                      <a:pt x="1618548" y="2328379"/>
                    </a:lnTo>
                    <a:cubicBezTo>
                      <a:pt x="1618548" y="2312676"/>
                      <a:pt x="1605818" y="2299946"/>
                      <a:pt x="1590115" y="2299946"/>
                    </a:cubicBezTo>
                    <a:close/>
                    <a:moveTo>
                      <a:pt x="4722506" y="2226766"/>
                    </a:moveTo>
                    <a:lnTo>
                      <a:pt x="4722506" y="2331256"/>
                    </a:lnTo>
                    <a:lnTo>
                      <a:pt x="4801087" y="2331256"/>
                    </a:lnTo>
                    <a:lnTo>
                      <a:pt x="4801087" y="2226766"/>
                    </a:lnTo>
                    <a:close/>
                    <a:moveTo>
                      <a:pt x="3602045" y="2177006"/>
                    </a:moveTo>
                    <a:cubicBezTo>
                      <a:pt x="3622761" y="2177006"/>
                      <a:pt x="3639555" y="2193799"/>
                      <a:pt x="3639555" y="2214515"/>
                    </a:cubicBezTo>
                    <a:cubicBezTo>
                      <a:pt x="3639555" y="2235231"/>
                      <a:pt x="3622761" y="2252024"/>
                      <a:pt x="3602045" y="2252024"/>
                    </a:cubicBezTo>
                    <a:cubicBezTo>
                      <a:pt x="3581329" y="2252024"/>
                      <a:pt x="3564536" y="2235231"/>
                      <a:pt x="3564536" y="2214515"/>
                    </a:cubicBezTo>
                    <a:cubicBezTo>
                      <a:pt x="3564536" y="2193799"/>
                      <a:pt x="3581329" y="2177006"/>
                      <a:pt x="3602045" y="2177006"/>
                    </a:cubicBezTo>
                    <a:close/>
                    <a:moveTo>
                      <a:pt x="2601920" y="2177006"/>
                    </a:moveTo>
                    <a:cubicBezTo>
                      <a:pt x="2622636" y="2177006"/>
                      <a:pt x="2639430" y="2193799"/>
                      <a:pt x="2639430" y="2214515"/>
                    </a:cubicBezTo>
                    <a:cubicBezTo>
                      <a:pt x="2639430" y="2235231"/>
                      <a:pt x="2622636" y="2252024"/>
                      <a:pt x="2601920" y="2252024"/>
                    </a:cubicBezTo>
                    <a:cubicBezTo>
                      <a:pt x="2581204" y="2252024"/>
                      <a:pt x="2564411" y="2235231"/>
                      <a:pt x="2564411" y="2214515"/>
                    </a:cubicBezTo>
                    <a:cubicBezTo>
                      <a:pt x="2564411" y="2193799"/>
                      <a:pt x="2581204" y="2177006"/>
                      <a:pt x="2601920" y="2177006"/>
                    </a:cubicBezTo>
                    <a:close/>
                    <a:moveTo>
                      <a:pt x="3602045" y="2158251"/>
                    </a:moveTo>
                    <a:cubicBezTo>
                      <a:pt x="3570972" y="2158251"/>
                      <a:pt x="3545781" y="2183442"/>
                      <a:pt x="3545781" y="2214515"/>
                    </a:cubicBezTo>
                    <a:cubicBezTo>
                      <a:pt x="3545781" y="2245589"/>
                      <a:pt x="3570972" y="2270779"/>
                      <a:pt x="3602045" y="2270779"/>
                    </a:cubicBezTo>
                    <a:cubicBezTo>
                      <a:pt x="3633119" y="2270779"/>
                      <a:pt x="3658309" y="2245589"/>
                      <a:pt x="3658309" y="2214515"/>
                    </a:cubicBezTo>
                    <a:cubicBezTo>
                      <a:pt x="3658309" y="2183442"/>
                      <a:pt x="3633119" y="2158251"/>
                      <a:pt x="3602045" y="2158251"/>
                    </a:cubicBezTo>
                    <a:close/>
                    <a:moveTo>
                      <a:pt x="2601920" y="2158251"/>
                    </a:moveTo>
                    <a:cubicBezTo>
                      <a:pt x="2570847" y="2158251"/>
                      <a:pt x="2545656" y="2183442"/>
                      <a:pt x="2545656" y="2214515"/>
                    </a:cubicBezTo>
                    <a:cubicBezTo>
                      <a:pt x="2545656" y="2245589"/>
                      <a:pt x="2570847" y="2270779"/>
                      <a:pt x="2601920" y="2270779"/>
                    </a:cubicBezTo>
                    <a:cubicBezTo>
                      <a:pt x="2632994" y="2270779"/>
                      <a:pt x="2658184" y="2245589"/>
                      <a:pt x="2658184" y="2214515"/>
                    </a:cubicBezTo>
                    <a:cubicBezTo>
                      <a:pt x="2658184" y="2183442"/>
                      <a:pt x="2632994" y="2158251"/>
                      <a:pt x="2601920" y="2158251"/>
                    </a:cubicBezTo>
                    <a:close/>
                    <a:moveTo>
                      <a:pt x="122902" y="2094528"/>
                    </a:moveTo>
                    <a:lnTo>
                      <a:pt x="198239" y="2094528"/>
                    </a:lnTo>
                    <a:lnTo>
                      <a:pt x="198239" y="2476817"/>
                    </a:lnTo>
                    <a:lnTo>
                      <a:pt x="122902" y="2476817"/>
                    </a:lnTo>
                    <a:cubicBezTo>
                      <a:pt x="117672" y="2476817"/>
                      <a:pt x="113432" y="2470315"/>
                      <a:pt x="113432" y="2462296"/>
                    </a:cubicBezTo>
                    <a:lnTo>
                      <a:pt x="113432" y="2109049"/>
                    </a:lnTo>
                    <a:cubicBezTo>
                      <a:pt x="113432" y="2101030"/>
                      <a:pt x="117672" y="2094528"/>
                      <a:pt x="122902" y="2094528"/>
                    </a:cubicBezTo>
                    <a:close/>
                    <a:moveTo>
                      <a:pt x="351779" y="2094527"/>
                    </a:moveTo>
                    <a:lnTo>
                      <a:pt x="585032" y="2094527"/>
                    </a:lnTo>
                    <a:cubicBezTo>
                      <a:pt x="600408" y="2094527"/>
                      <a:pt x="612872" y="2113641"/>
                      <a:pt x="612872" y="2137219"/>
                    </a:cubicBezTo>
                    <a:lnTo>
                      <a:pt x="612872" y="2434127"/>
                    </a:lnTo>
                    <a:cubicBezTo>
                      <a:pt x="612872" y="2457705"/>
                      <a:pt x="600408" y="2476818"/>
                      <a:pt x="585032" y="2476818"/>
                    </a:cubicBezTo>
                    <a:lnTo>
                      <a:pt x="351779" y="2476818"/>
                    </a:lnTo>
                    <a:close/>
                    <a:moveTo>
                      <a:pt x="4003070" y="1996267"/>
                    </a:moveTo>
                    <a:lnTo>
                      <a:pt x="4598666" y="1996267"/>
                    </a:lnTo>
                    <a:lnTo>
                      <a:pt x="4598666" y="2308653"/>
                    </a:lnTo>
                    <a:lnTo>
                      <a:pt x="4003070" y="2308653"/>
                    </a:lnTo>
                    <a:close/>
                    <a:moveTo>
                      <a:pt x="4722506" y="1982513"/>
                    </a:moveTo>
                    <a:lnTo>
                      <a:pt x="4722506" y="2087003"/>
                    </a:lnTo>
                    <a:lnTo>
                      <a:pt x="4801087" y="2087003"/>
                    </a:lnTo>
                    <a:lnTo>
                      <a:pt x="4801087" y="1982513"/>
                    </a:lnTo>
                    <a:close/>
                    <a:moveTo>
                      <a:pt x="3218690" y="1885130"/>
                    </a:moveTo>
                    <a:cubicBezTo>
                      <a:pt x="3346755" y="1927368"/>
                      <a:pt x="3372206" y="2100126"/>
                      <a:pt x="3355310" y="2172249"/>
                    </a:cubicBezTo>
                    <a:cubicBezTo>
                      <a:pt x="3287477" y="2210927"/>
                      <a:pt x="3209597" y="2233548"/>
                      <a:pt x="3126688" y="2236633"/>
                    </a:cubicBezTo>
                    <a:cubicBezTo>
                      <a:pt x="3184427" y="2075599"/>
                      <a:pt x="3161290" y="1991315"/>
                      <a:pt x="3114049" y="1920008"/>
                    </a:cubicBezTo>
                    <a:cubicBezTo>
                      <a:pt x="3152956" y="1918721"/>
                      <a:pt x="3189003" y="1906329"/>
                      <a:pt x="3218690" y="1885130"/>
                    </a:cubicBezTo>
                    <a:close/>
                    <a:moveTo>
                      <a:pt x="2986875" y="1884693"/>
                    </a:moveTo>
                    <a:cubicBezTo>
                      <a:pt x="3015815" y="1905129"/>
                      <a:pt x="3050369" y="1918062"/>
                      <a:pt x="3087891" y="1919109"/>
                    </a:cubicBezTo>
                    <a:cubicBezTo>
                      <a:pt x="3169488" y="2026188"/>
                      <a:pt x="3093377" y="2181118"/>
                      <a:pt x="3037878" y="2232796"/>
                    </a:cubicBezTo>
                    <a:cubicBezTo>
                      <a:pt x="2944544" y="2222322"/>
                      <a:pt x="2859148" y="2185827"/>
                      <a:pt x="2788690" y="2130832"/>
                    </a:cubicBezTo>
                    <a:cubicBezTo>
                      <a:pt x="2936571" y="2046026"/>
                      <a:pt x="2976161" y="1967913"/>
                      <a:pt x="2986875" y="1884693"/>
                    </a:cubicBezTo>
                    <a:close/>
                    <a:moveTo>
                      <a:pt x="713706" y="1843584"/>
                    </a:moveTo>
                    <a:lnTo>
                      <a:pt x="1351872" y="1843584"/>
                    </a:lnTo>
                    <a:lnTo>
                      <a:pt x="1351872" y="1917745"/>
                    </a:lnTo>
                    <a:lnTo>
                      <a:pt x="713706" y="1917745"/>
                    </a:lnTo>
                    <a:close/>
                    <a:moveTo>
                      <a:pt x="666081" y="1843584"/>
                    </a:moveTo>
                    <a:lnTo>
                      <a:pt x="695418" y="1843584"/>
                    </a:lnTo>
                    <a:lnTo>
                      <a:pt x="695418" y="1917745"/>
                    </a:lnTo>
                    <a:lnTo>
                      <a:pt x="695418" y="1923079"/>
                    </a:lnTo>
                    <a:lnTo>
                      <a:pt x="695418" y="1936033"/>
                    </a:lnTo>
                    <a:lnTo>
                      <a:pt x="1351872" y="1936033"/>
                    </a:lnTo>
                    <a:lnTo>
                      <a:pt x="1351872" y="1973075"/>
                    </a:lnTo>
                    <a:lnTo>
                      <a:pt x="666081" y="1973075"/>
                    </a:lnTo>
                    <a:close/>
                    <a:moveTo>
                      <a:pt x="4025231" y="1824912"/>
                    </a:moveTo>
                    <a:cubicBezTo>
                      <a:pt x="4010528" y="1824912"/>
                      <a:pt x="3998608" y="1836832"/>
                      <a:pt x="3998608" y="1851535"/>
                    </a:cubicBezTo>
                    <a:cubicBezTo>
                      <a:pt x="3998608" y="1860851"/>
                      <a:pt x="4003393" y="1869050"/>
                      <a:pt x="4011514" y="1872476"/>
                    </a:cubicBezTo>
                    <a:lnTo>
                      <a:pt x="4011514" y="1946496"/>
                    </a:lnTo>
                    <a:lnTo>
                      <a:pt x="3938730" y="1946496"/>
                    </a:lnTo>
                    <a:lnTo>
                      <a:pt x="3938730" y="2358429"/>
                    </a:lnTo>
                    <a:lnTo>
                      <a:pt x="4011514" y="2358429"/>
                    </a:lnTo>
                    <a:lnTo>
                      <a:pt x="4011514" y="2443319"/>
                    </a:lnTo>
                    <a:cubicBezTo>
                      <a:pt x="4003393" y="2446745"/>
                      <a:pt x="3998608" y="2454944"/>
                      <a:pt x="3998608" y="2464260"/>
                    </a:cubicBezTo>
                    <a:cubicBezTo>
                      <a:pt x="3998608" y="2478963"/>
                      <a:pt x="4010528" y="2490883"/>
                      <a:pt x="4025231" y="2490883"/>
                    </a:cubicBezTo>
                    <a:cubicBezTo>
                      <a:pt x="4039934" y="2490883"/>
                      <a:pt x="4051854" y="2478963"/>
                      <a:pt x="4051854" y="2464260"/>
                    </a:cubicBezTo>
                    <a:cubicBezTo>
                      <a:pt x="4051854" y="2454943"/>
                      <a:pt x="4047068" y="2446744"/>
                      <a:pt x="4038946" y="2443318"/>
                    </a:cubicBezTo>
                    <a:lnTo>
                      <a:pt x="4038946" y="2358429"/>
                    </a:lnTo>
                    <a:lnTo>
                      <a:pt x="4103732" y="2358429"/>
                    </a:lnTo>
                    <a:lnTo>
                      <a:pt x="4103732" y="2443319"/>
                    </a:lnTo>
                    <a:cubicBezTo>
                      <a:pt x="4095611" y="2446745"/>
                      <a:pt x="4090826" y="2454944"/>
                      <a:pt x="4090826" y="2464260"/>
                    </a:cubicBezTo>
                    <a:cubicBezTo>
                      <a:pt x="4090826" y="2478963"/>
                      <a:pt x="4102746" y="2490883"/>
                      <a:pt x="4117449" y="2490883"/>
                    </a:cubicBezTo>
                    <a:cubicBezTo>
                      <a:pt x="4132152" y="2490883"/>
                      <a:pt x="4144072" y="2478963"/>
                      <a:pt x="4144072" y="2464260"/>
                    </a:cubicBezTo>
                    <a:cubicBezTo>
                      <a:pt x="4144072" y="2454943"/>
                      <a:pt x="4139286" y="2446744"/>
                      <a:pt x="4131164" y="2443318"/>
                    </a:cubicBezTo>
                    <a:lnTo>
                      <a:pt x="4131164" y="2358429"/>
                    </a:lnTo>
                    <a:lnTo>
                      <a:pt x="4195950" y="2358429"/>
                    </a:lnTo>
                    <a:lnTo>
                      <a:pt x="4195950" y="2443319"/>
                    </a:lnTo>
                    <a:cubicBezTo>
                      <a:pt x="4187829" y="2446745"/>
                      <a:pt x="4183044" y="2454944"/>
                      <a:pt x="4183044" y="2464260"/>
                    </a:cubicBezTo>
                    <a:cubicBezTo>
                      <a:pt x="4183044" y="2478963"/>
                      <a:pt x="4194964" y="2490883"/>
                      <a:pt x="4209667" y="2490883"/>
                    </a:cubicBezTo>
                    <a:cubicBezTo>
                      <a:pt x="4224370" y="2490883"/>
                      <a:pt x="4236290" y="2478963"/>
                      <a:pt x="4236290" y="2464260"/>
                    </a:cubicBezTo>
                    <a:cubicBezTo>
                      <a:pt x="4236290" y="2454943"/>
                      <a:pt x="4231504" y="2446744"/>
                      <a:pt x="4223382" y="2443318"/>
                    </a:cubicBezTo>
                    <a:lnTo>
                      <a:pt x="4223382" y="2358429"/>
                    </a:lnTo>
                    <a:lnTo>
                      <a:pt x="4288168" y="2358429"/>
                    </a:lnTo>
                    <a:lnTo>
                      <a:pt x="4288168" y="2443319"/>
                    </a:lnTo>
                    <a:cubicBezTo>
                      <a:pt x="4280047" y="2446745"/>
                      <a:pt x="4275262" y="2454944"/>
                      <a:pt x="4275262" y="2464260"/>
                    </a:cubicBezTo>
                    <a:cubicBezTo>
                      <a:pt x="4275262" y="2478963"/>
                      <a:pt x="4287182" y="2490883"/>
                      <a:pt x="4301885" y="2490883"/>
                    </a:cubicBezTo>
                    <a:cubicBezTo>
                      <a:pt x="4316588" y="2490883"/>
                      <a:pt x="4328508" y="2478963"/>
                      <a:pt x="4328508" y="2464260"/>
                    </a:cubicBezTo>
                    <a:cubicBezTo>
                      <a:pt x="4328508" y="2454943"/>
                      <a:pt x="4323722" y="2446744"/>
                      <a:pt x="4315600" y="2443318"/>
                    </a:cubicBezTo>
                    <a:lnTo>
                      <a:pt x="4315600" y="2358429"/>
                    </a:lnTo>
                    <a:lnTo>
                      <a:pt x="4380386" y="2358429"/>
                    </a:lnTo>
                    <a:lnTo>
                      <a:pt x="4380386" y="2443319"/>
                    </a:lnTo>
                    <a:cubicBezTo>
                      <a:pt x="4372265" y="2446745"/>
                      <a:pt x="4367480" y="2454944"/>
                      <a:pt x="4367480" y="2464260"/>
                    </a:cubicBezTo>
                    <a:cubicBezTo>
                      <a:pt x="4367480" y="2478963"/>
                      <a:pt x="4379400" y="2490883"/>
                      <a:pt x="4394103" y="2490883"/>
                    </a:cubicBezTo>
                    <a:cubicBezTo>
                      <a:pt x="4408806" y="2490883"/>
                      <a:pt x="4420726" y="2478963"/>
                      <a:pt x="4420726" y="2464260"/>
                    </a:cubicBezTo>
                    <a:cubicBezTo>
                      <a:pt x="4420726" y="2454943"/>
                      <a:pt x="4415940" y="2446744"/>
                      <a:pt x="4407818" y="2443318"/>
                    </a:cubicBezTo>
                    <a:lnTo>
                      <a:pt x="4407818" y="2358429"/>
                    </a:lnTo>
                    <a:lnTo>
                      <a:pt x="4472604" y="2358429"/>
                    </a:lnTo>
                    <a:lnTo>
                      <a:pt x="4472604" y="2443319"/>
                    </a:lnTo>
                    <a:cubicBezTo>
                      <a:pt x="4464483" y="2446745"/>
                      <a:pt x="4459698" y="2454944"/>
                      <a:pt x="4459698" y="2464260"/>
                    </a:cubicBezTo>
                    <a:cubicBezTo>
                      <a:pt x="4459698" y="2478963"/>
                      <a:pt x="4471618" y="2490883"/>
                      <a:pt x="4486321" y="2490883"/>
                    </a:cubicBezTo>
                    <a:cubicBezTo>
                      <a:pt x="4501024" y="2490883"/>
                      <a:pt x="4512944" y="2478963"/>
                      <a:pt x="4512944" y="2464260"/>
                    </a:cubicBezTo>
                    <a:cubicBezTo>
                      <a:pt x="4512944" y="2454943"/>
                      <a:pt x="4508158" y="2446744"/>
                      <a:pt x="4500036" y="2443318"/>
                    </a:cubicBezTo>
                    <a:lnTo>
                      <a:pt x="4500036" y="2358429"/>
                    </a:lnTo>
                    <a:lnTo>
                      <a:pt x="4564822" y="2358429"/>
                    </a:lnTo>
                    <a:lnTo>
                      <a:pt x="4564822" y="2443319"/>
                    </a:lnTo>
                    <a:cubicBezTo>
                      <a:pt x="4556701" y="2446745"/>
                      <a:pt x="4551916" y="2454944"/>
                      <a:pt x="4551916" y="2464260"/>
                    </a:cubicBezTo>
                    <a:cubicBezTo>
                      <a:pt x="4551916" y="2478963"/>
                      <a:pt x="4563836" y="2490883"/>
                      <a:pt x="4578539" y="2490883"/>
                    </a:cubicBezTo>
                    <a:cubicBezTo>
                      <a:pt x="4593242" y="2490883"/>
                      <a:pt x="4605162" y="2478963"/>
                      <a:pt x="4605162" y="2464260"/>
                    </a:cubicBezTo>
                    <a:cubicBezTo>
                      <a:pt x="4605162" y="2454943"/>
                      <a:pt x="4600376" y="2446744"/>
                      <a:pt x="4592254" y="2443318"/>
                    </a:cubicBezTo>
                    <a:lnTo>
                      <a:pt x="4592254" y="2358429"/>
                    </a:lnTo>
                    <a:lnTo>
                      <a:pt x="4663006" y="2358429"/>
                    </a:lnTo>
                    <a:lnTo>
                      <a:pt x="4663006" y="1946496"/>
                    </a:lnTo>
                    <a:lnTo>
                      <a:pt x="4592254" y="1946496"/>
                    </a:lnTo>
                    <a:lnTo>
                      <a:pt x="4592254" y="1872477"/>
                    </a:lnTo>
                    <a:cubicBezTo>
                      <a:pt x="4600376" y="1869051"/>
                      <a:pt x="4605162" y="1860852"/>
                      <a:pt x="4605162" y="1851535"/>
                    </a:cubicBezTo>
                    <a:cubicBezTo>
                      <a:pt x="4605162" y="1836832"/>
                      <a:pt x="4593242" y="1824912"/>
                      <a:pt x="4578539" y="1824912"/>
                    </a:cubicBezTo>
                    <a:cubicBezTo>
                      <a:pt x="4563836" y="1824912"/>
                      <a:pt x="4551916" y="1836832"/>
                      <a:pt x="4551916" y="1851535"/>
                    </a:cubicBezTo>
                    <a:cubicBezTo>
                      <a:pt x="4551916" y="1860851"/>
                      <a:pt x="4556701" y="1869050"/>
                      <a:pt x="4564822" y="1872476"/>
                    </a:cubicBezTo>
                    <a:lnTo>
                      <a:pt x="4564822" y="1946496"/>
                    </a:lnTo>
                    <a:lnTo>
                      <a:pt x="4500036" y="1946496"/>
                    </a:lnTo>
                    <a:lnTo>
                      <a:pt x="4500036" y="1872477"/>
                    </a:lnTo>
                    <a:cubicBezTo>
                      <a:pt x="4508158" y="1869051"/>
                      <a:pt x="4512944" y="1860852"/>
                      <a:pt x="4512944" y="1851535"/>
                    </a:cubicBezTo>
                    <a:cubicBezTo>
                      <a:pt x="4512944" y="1836832"/>
                      <a:pt x="4501024" y="1824912"/>
                      <a:pt x="4486321" y="1824912"/>
                    </a:cubicBezTo>
                    <a:cubicBezTo>
                      <a:pt x="4471618" y="1824912"/>
                      <a:pt x="4459698" y="1836832"/>
                      <a:pt x="4459698" y="1851535"/>
                    </a:cubicBezTo>
                    <a:cubicBezTo>
                      <a:pt x="4459698" y="1860851"/>
                      <a:pt x="4464483" y="1869050"/>
                      <a:pt x="4472604" y="1872476"/>
                    </a:cubicBezTo>
                    <a:lnTo>
                      <a:pt x="4472604" y="1946496"/>
                    </a:lnTo>
                    <a:lnTo>
                      <a:pt x="4407818" y="1946496"/>
                    </a:lnTo>
                    <a:lnTo>
                      <a:pt x="4407818" y="1872477"/>
                    </a:lnTo>
                    <a:cubicBezTo>
                      <a:pt x="4415940" y="1869051"/>
                      <a:pt x="4420726" y="1860852"/>
                      <a:pt x="4420726" y="1851535"/>
                    </a:cubicBezTo>
                    <a:cubicBezTo>
                      <a:pt x="4420726" y="1836832"/>
                      <a:pt x="4408806" y="1824912"/>
                      <a:pt x="4394103" y="1824912"/>
                    </a:cubicBezTo>
                    <a:cubicBezTo>
                      <a:pt x="4379400" y="1824912"/>
                      <a:pt x="4367480" y="1836832"/>
                      <a:pt x="4367480" y="1851535"/>
                    </a:cubicBezTo>
                    <a:cubicBezTo>
                      <a:pt x="4367480" y="1860851"/>
                      <a:pt x="4372265" y="1869050"/>
                      <a:pt x="4380386" y="1872476"/>
                    </a:cubicBezTo>
                    <a:lnTo>
                      <a:pt x="4380386" y="1946496"/>
                    </a:lnTo>
                    <a:lnTo>
                      <a:pt x="4315600" y="1946496"/>
                    </a:lnTo>
                    <a:lnTo>
                      <a:pt x="4315600" y="1872477"/>
                    </a:lnTo>
                    <a:cubicBezTo>
                      <a:pt x="4323722" y="1869051"/>
                      <a:pt x="4328508" y="1860852"/>
                      <a:pt x="4328508" y="1851535"/>
                    </a:cubicBezTo>
                    <a:cubicBezTo>
                      <a:pt x="4328508" y="1836832"/>
                      <a:pt x="4316588" y="1824912"/>
                      <a:pt x="4301885" y="1824912"/>
                    </a:cubicBezTo>
                    <a:cubicBezTo>
                      <a:pt x="4287182" y="1824912"/>
                      <a:pt x="4275262" y="1836832"/>
                      <a:pt x="4275262" y="1851535"/>
                    </a:cubicBezTo>
                    <a:cubicBezTo>
                      <a:pt x="4275262" y="1860851"/>
                      <a:pt x="4280047" y="1869050"/>
                      <a:pt x="4288168" y="1872476"/>
                    </a:cubicBezTo>
                    <a:lnTo>
                      <a:pt x="4288168" y="1946496"/>
                    </a:lnTo>
                    <a:lnTo>
                      <a:pt x="4223382" y="1946496"/>
                    </a:lnTo>
                    <a:lnTo>
                      <a:pt x="4223382" y="1872477"/>
                    </a:lnTo>
                    <a:cubicBezTo>
                      <a:pt x="4231504" y="1869051"/>
                      <a:pt x="4236290" y="1860852"/>
                      <a:pt x="4236290" y="1851535"/>
                    </a:cubicBezTo>
                    <a:cubicBezTo>
                      <a:pt x="4236290" y="1836832"/>
                      <a:pt x="4224370" y="1824912"/>
                      <a:pt x="4209667" y="1824912"/>
                    </a:cubicBezTo>
                    <a:cubicBezTo>
                      <a:pt x="4194964" y="1824912"/>
                      <a:pt x="4183044" y="1836832"/>
                      <a:pt x="4183044" y="1851535"/>
                    </a:cubicBezTo>
                    <a:cubicBezTo>
                      <a:pt x="4183044" y="1860851"/>
                      <a:pt x="4187829" y="1869050"/>
                      <a:pt x="4195950" y="1872476"/>
                    </a:cubicBezTo>
                    <a:lnTo>
                      <a:pt x="4195950" y="1946496"/>
                    </a:lnTo>
                    <a:lnTo>
                      <a:pt x="4131164" y="1946496"/>
                    </a:lnTo>
                    <a:lnTo>
                      <a:pt x="4131164" y="1872477"/>
                    </a:lnTo>
                    <a:cubicBezTo>
                      <a:pt x="4139286" y="1869051"/>
                      <a:pt x="4144072" y="1860852"/>
                      <a:pt x="4144072" y="1851535"/>
                    </a:cubicBezTo>
                    <a:cubicBezTo>
                      <a:pt x="4144072" y="1836832"/>
                      <a:pt x="4132152" y="1824912"/>
                      <a:pt x="4117449" y="1824912"/>
                    </a:cubicBezTo>
                    <a:cubicBezTo>
                      <a:pt x="4102746" y="1824912"/>
                      <a:pt x="4090826" y="1836832"/>
                      <a:pt x="4090826" y="1851535"/>
                    </a:cubicBezTo>
                    <a:cubicBezTo>
                      <a:pt x="4090826" y="1860851"/>
                      <a:pt x="4095611" y="1869050"/>
                      <a:pt x="4103732" y="1872476"/>
                    </a:cubicBezTo>
                    <a:lnTo>
                      <a:pt x="4103732" y="1946496"/>
                    </a:lnTo>
                    <a:lnTo>
                      <a:pt x="4038946" y="1946496"/>
                    </a:lnTo>
                    <a:lnTo>
                      <a:pt x="4038946" y="1872477"/>
                    </a:lnTo>
                    <a:cubicBezTo>
                      <a:pt x="4047068" y="1869051"/>
                      <a:pt x="4051854" y="1860852"/>
                      <a:pt x="4051854" y="1851535"/>
                    </a:cubicBezTo>
                    <a:cubicBezTo>
                      <a:pt x="4051854" y="1836832"/>
                      <a:pt x="4039934" y="1824912"/>
                      <a:pt x="4025231" y="1824912"/>
                    </a:cubicBezTo>
                    <a:close/>
                    <a:moveTo>
                      <a:pt x="2914037" y="1794266"/>
                    </a:moveTo>
                    <a:cubicBezTo>
                      <a:pt x="2925708" y="1822806"/>
                      <a:pt x="2943636" y="1848113"/>
                      <a:pt x="2967558" y="1866902"/>
                    </a:cubicBezTo>
                    <a:cubicBezTo>
                      <a:pt x="2956069" y="2001685"/>
                      <a:pt x="2790655" y="2068814"/>
                      <a:pt x="2720355" y="2067626"/>
                    </a:cubicBezTo>
                    <a:cubicBezTo>
                      <a:pt x="2674946" y="2019853"/>
                      <a:pt x="2639808" y="1962598"/>
                      <a:pt x="2616622" y="1899506"/>
                    </a:cubicBezTo>
                    <a:cubicBezTo>
                      <a:pt x="2786604" y="1905312"/>
                      <a:pt x="2861054" y="1859509"/>
                      <a:pt x="2914037" y="1794266"/>
                    </a:cubicBezTo>
                    <a:close/>
                    <a:moveTo>
                      <a:pt x="3342312" y="1782194"/>
                    </a:moveTo>
                    <a:cubicBezTo>
                      <a:pt x="3451361" y="1779532"/>
                      <a:pt x="3547657" y="1881117"/>
                      <a:pt x="3573356" y="1940727"/>
                    </a:cubicBezTo>
                    <a:cubicBezTo>
                      <a:pt x="3540209" y="2011580"/>
                      <a:pt x="3491423" y="2073538"/>
                      <a:pt x="3430782" y="2121412"/>
                    </a:cubicBezTo>
                    <a:cubicBezTo>
                      <a:pt x="3385266" y="1956060"/>
                      <a:pt x="3317619" y="1900582"/>
                      <a:pt x="3237702" y="1869421"/>
                    </a:cubicBezTo>
                    <a:cubicBezTo>
                      <a:pt x="3263621" y="1849127"/>
                      <a:pt x="3283054" y="1821505"/>
                      <a:pt x="3294965" y="1790144"/>
                    </a:cubicBezTo>
                    <a:cubicBezTo>
                      <a:pt x="3310895" y="1785083"/>
                      <a:pt x="3326734" y="1782575"/>
                      <a:pt x="3342312" y="1782194"/>
                    </a:cubicBezTo>
                    <a:close/>
                    <a:moveTo>
                      <a:pt x="2590452" y="1629908"/>
                    </a:moveTo>
                    <a:cubicBezTo>
                      <a:pt x="2737821" y="1719620"/>
                      <a:pt x="2825518" y="1714518"/>
                      <a:pt x="2904795" y="1682562"/>
                    </a:cubicBezTo>
                    <a:cubicBezTo>
                      <a:pt x="2899457" y="1693106"/>
                      <a:pt x="2898484" y="1704546"/>
                      <a:pt x="2898484" y="1716213"/>
                    </a:cubicBezTo>
                    <a:cubicBezTo>
                      <a:pt x="2898484" y="1734773"/>
                      <a:pt x="2900946" y="1752758"/>
                      <a:pt x="2906392" y="1769635"/>
                    </a:cubicBezTo>
                    <a:cubicBezTo>
                      <a:pt x="2825955" y="1877694"/>
                      <a:pt x="2651303" y="1848231"/>
                      <a:pt x="2591265" y="1810308"/>
                    </a:cubicBezTo>
                    <a:cubicBezTo>
                      <a:pt x="2584692" y="1779911"/>
                      <a:pt x="2581779" y="1748402"/>
                      <a:pt x="2581779" y="1716213"/>
                    </a:cubicBezTo>
                    <a:close/>
                    <a:moveTo>
                      <a:pt x="3511870" y="1575741"/>
                    </a:moveTo>
                    <a:cubicBezTo>
                      <a:pt x="3552386" y="1577093"/>
                      <a:pt x="3588623" y="1585398"/>
                      <a:pt x="3610948" y="1596858"/>
                    </a:cubicBezTo>
                    <a:cubicBezTo>
                      <a:pt x="3621178" y="1634991"/>
                      <a:pt x="3625943" y="1675046"/>
                      <a:pt x="3625943" y="1716213"/>
                    </a:cubicBezTo>
                    <a:cubicBezTo>
                      <a:pt x="3625943" y="1764810"/>
                      <a:pt x="3619303" y="1811857"/>
                      <a:pt x="3604645" y="1855872"/>
                    </a:cubicBezTo>
                    <a:cubicBezTo>
                      <a:pt x="3471557" y="1750304"/>
                      <a:pt x="3384587" y="1744504"/>
                      <a:pt x="3302461" y="1765995"/>
                    </a:cubicBezTo>
                    <a:cubicBezTo>
                      <a:pt x="3307117" y="1750171"/>
                      <a:pt x="3309238" y="1733440"/>
                      <a:pt x="3309238" y="1716213"/>
                    </a:cubicBezTo>
                    <a:cubicBezTo>
                      <a:pt x="3309238" y="1699839"/>
                      <a:pt x="3307322" y="1683913"/>
                      <a:pt x="3303186" y="1668768"/>
                    </a:cubicBezTo>
                    <a:cubicBezTo>
                      <a:pt x="3347570" y="1594466"/>
                      <a:pt x="3437021" y="1573242"/>
                      <a:pt x="3511870" y="1575741"/>
                    </a:cubicBezTo>
                    <a:close/>
                    <a:moveTo>
                      <a:pt x="3103861" y="1543646"/>
                    </a:moveTo>
                    <a:cubicBezTo>
                      <a:pt x="3199167" y="1543646"/>
                      <a:pt x="3276428" y="1620907"/>
                      <a:pt x="3276428" y="1716213"/>
                    </a:cubicBezTo>
                    <a:cubicBezTo>
                      <a:pt x="3276428" y="1811519"/>
                      <a:pt x="3199167" y="1888780"/>
                      <a:pt x="3103861" y="1888780"/>
                    </a:cubicBezTo>
                    <a:cubicBezTo>
                      <a:pt x="3008555" y="1888780"/>
                      <a:pt x="2931294" y="1811519"/>
                      <a:pt x="2931294" y="1716213"/>
                    </a:cubicBezTo>
                    <a:cubicBezTo>
                      <a:pt x="2931294" y="1620907"/>
                      <a:pt x="3008555" y="1543646"/>
                      <a:pt x="3103861" y="1543646"/>
                    </a:cubicBezTo>
                    <a:close/>
                    <a:moveTo>
                      <a:pt x="807612" y="1409759"/>
                    </a:moveTo>
                    <a:cubicBezTo>
                      <a:pt x="836062" y="1409759"/>
                      <a:pt x="859125" y="1432822"/>
                      <a:pt x="859125" y="1461272"/>
                    </a:cubicBezTo>
                    <a:cubicBezTo>
                      <a:pt x="859125" y="1489722"/>
                      <a:pt x="836062" y="1512785"/>
                      <a:pt x="807612" y="1512785"/>
                    </a:cubicBezTo>
                    <a:cubicBezTo>
                      <a:pt x="779162" y="1512785"/>
                      <a:pt x="756098" y="1489722"/>
                      <a:pt x="756098" y="1461272"/>
                    </a:cubicBezTo>
                    <a:cubicBezTo>
                      <a:pt x="756098" y="1432822"/>
                      <a:pt x="779162" y="1409759"/>
                      <a:pt x="807612" y="1409759"/>
                    </a:cubicBezTo>
                    <a:close/>
                    <a:moveTo>
                      <a:pt x="807612" y="1384002"/>
                    </a:moveTo>
                    <a:cubicBezTo>
                      <a:pt x="764937" y="1384002"/>
                      <a:pt x="730342" y="1418597"/>
                      <a:pt x="730342" y="1461272"/>
                    </a:cubicBezTo>
                    <a:cubicBezTo>
                      <a:pt x="730342" y="1503946"/>
                      <a:pt x="764937" y="1538541"/>
                      <a:pt x="807612" y="1538541"/>
                    </a:cubicBezTo>
                    <a:cubicBezTo>
                      <a:pt x="850286" y="1538541"/>
                      <a:pt x="884881" y="1503946"/>
                      <a:pt x="884881" y="1461272"/>
                    </a:cubicBezTo>
                    <a:cubicBezTo>
                      <a:pt x="884881" y="1418597"/>
                      <a:pt x="850286" y="1384002"/>
                      <a:pt x="807612" y="1384002"/>
                    </a:cubicBezTo>
                    <a:close/>
                    <a:moveTo>
                      <a:pt x="2734423" y="1350110"/>
                    </a:moveTo>
                    <a:cubicBezTo>
                      <a:pt x="2797645" y="1508700"/>
                      <a:pt x="2869711" y="1558439"/>
                      <a:pt x="2950976" y="1580704"/>
                    </a:cubicBezTo>
                    <a:cubicBezTo>
                      <a:pt x="2931034" y="1602197"/>
                      <a:pt x="2916010" y="1628148"/>
                      <a:pt x="2909486" y="1657551"/>
                    </a:cubicBezTo>
                    <a:cubicBezTo>
                      <a:pt x="2787729" y="1714296"/>
                      <a:pt x="2650829" y="1606749"/>
                      <a:pt x="2613600" y="1542970"/>
                    </a:cubicBezTo>
                    <a:cubicBezTo>
                      <a:pt x="2637703" y="1468946"/>
                      <a:pt x="2679960" y="1403406"/>
                      <a:pt x="2734423" y="1350110"/>
                    </a:cubicBezTo>
                    <a:close/>
                    <a:moveTo>
                      <a:pt x="4722506" y="1341026"/>
                    </a:moveTo>
                    <a:lnTo>
                      <a:pt x="4722506" y="1445516"/>
                    </a:lnTo>
                    <a:lnTo>
                      <a:pt x="4801087" y="1445516"/>
                    </a:lnTo>
                    <a:lnTo>
                      <a:pt x="4801087" y="1341026"/>
                    </a:lnTo>
                    <a:close/>
                    <a:moveTo>
                      <a:pt x="3438765" y="1317067"/>
                    </a:moveTo>
                    <a:cubicBezTo>
                      <a:pt x="3501509" y="1368500"/>
                      <a:pt x="3551245" y="1434924"/>
                      <a:pt x="3583599" y="1510572"/>
                    </a:cubicBezTo>
                    <a:cubicBezTo>
                      <a:pt x="3412522" y="1521123"/>
                      <a:pt x="3341503" y="1573043"/>
                      <a:pt x="3295035" y="1642509"/>
                    </a:cubicBezTo>
                    <a:cubicBezTo>
                      <a:pt x="3282168" y="1608490"/>
                      <a:pt x="3260450" y="1578859"/>
                      <a:pt x="3231672" y="1557626"/>
                    </a:cubicBezTo>
                    <a:cubicBezTo>
                      <a:pt x="3219464" y="1423724"/>
                      <a:pt x="3368628" y="1329146"/>
                      <a:pt x="3438765" y="1317067"/>
                    </a:cubicBezTo>
                    <a:close/>
                    <a:moveTo>
                      <a:pt x="3045556" y="1200012"/>
                    </a:moveTo>
                    <a:cubicBezTo>
                      <a:pt x="2990333" y="1360710"/>
                      <a:pt x="3014842" y="1444263"/>
                      <a:pt x="3062944" y="1514962"/>
                    </a:cubicBezTo>
                    <a:cubicBezTo>
                      <a:pt x="3027291" y="1522153"/>
                      <a:pt x="2994987" y="1538584"/>
                      <a:pt x="2970538" y="1563821"/>
                    </a:cubicBezTo>
                    <a:cubicBezTo>
                      <a:pt x="2838025" y="1533668"/>
                      <a:pt x="2794942" y="1359459"/>
                      <a:pt x="2806265" y="1290101"/>
                    </a:cubicBezTo>
                    <a:cubicBezTo>
                      <a:pt x="2874865" y="1240505"/>
                      <a:pt x="2956843" y="1209017"/>
                      <a:pt x="3045556" y="1200012"/>
                    </a:cubicBezTo>
                    <a:close/>
                    <a:moveTo>
                      <a:pt x="3139359" y="1196501"/>
                    </a:moveTo>
                    <a:cubicBezTo>
                      <a:pt x="3220954" y="1200833"/>
                      <a:pt x="3297273" y="1225164"/>
                      <a:pt x="3363668" y="1264855"/>
                    </a:cubicBezTo>
                    <a:cubicBezTo>
                      <a:pt x="3231950" y="1374299"/>
                      <a:pt x="3205894" y="1458188"/>
                      <a:pt x="3209589" y="1541957"/>
                    </a:cubicBezTo>
                    <a:cubicBezTo>
                      <a:pt x="3179369" y="1521722"/>
                      <a:pt x="3142886" y="1510837"/>
                      <a:pt x="3103861" y="1510837"/>
                    </a:cubicBezTo>
                    <a:lnTo>
                      <a:pt x="3087351" y="1512502"/>
                    </a:lnTo>
                    <a:cubicBezTo>
                      <a:pt x="3004581" y="1403771"/>
                      <a:pt x="3084504" y="1244294"/>
                      <a:pt x="3139359" y="1196501"/>
                    </a:cubicBezTo>
                    <a:close/>
                    <a:moveTo>
                      <a:pt x="3602045" y="1171588"/>
                    </a:moveTo>
                    <a:cubicBezTo>
                      <a:pt x="3622761" y="1171588"/>
                      <a:pt x="3639555" y="1188381"/>
                      <a:pt x="3639555" y="1209097"/>
                    </a:cubicBezTo>
                    <a:cubicBezTo>
                      <a:pt x="3639555" y="1229813"/>
                      <a:pt x="3622761" y="1246606"/>
                      <a:pt x="3602045" y="1246606"/>
                    </a:cubicBezTo>
                    <a:cubicBezTo>
                      <a:pt x="3581329" y="1246606"/>
                      <a:pt x="3564536" y="1229813"/>
                      <a:pt x="3564536" y="1209097"/>
                    </a:cubicBezTo>
                    <a:cubicBezTo>
                      <a:pt x="3564536" y="1188381"/>
                      <a:pt x="3581329" y="1171588"/>
                      <a:pt x="3602045" y="1171588"/>
                    </a:cubicBezTo>
                    <a:close/>
                    <a:moveTo>
                      <a:pt x="2601920" y="1171588"/>
                    </a:moveTo>
                    <a:cubicBezTo>
                      <a:pt x="2622636" y="1171588"/>
                      <a:pt x="2639430" y="1188381"/>
                      <a:pt x="2639430" y="1209097"/>
                    </a:cubicBezTo>
                    <a:cubicBezTo>
                      <a:pt x="2639430" y="1229813"/>
                      <a:pt x="2622636" y="1246606"/>
                      <a:pt x="2601920" y="1246606"/>
                    </a:cubicBezTo>
                    <a:cubicBezTo>
                      <a:pt x="2581204" y="1246606"/>
                      <a:pt x="2564411" y="1229813"/>
                      <a:pt x="2564411" y="1209097"/>
                    </a:cubicBezTo>
                    <a:cubicBezTo>
                      <a:pt x="2564411" y="1188381"/>
                      <a:pt x="2581204" y="1171588"/>
                      <a:pt x="2601920" y="1171588"/>
                    </a:cubicBezTo>
                    <a:close/>
                    <a:moveTo>
                      <a:pt x="3103861" y="1163950"/>
                    </a:moveTo>
                    <a:cubicBezTo>
                      <a:pt x="2798853" y="1163950"/>
                      <a:pt x="2551595" y="1411207"/>
                      <a:pt x="2551595" y="1716213"/>
                    </a:cubicBezTo>
                    <a:cubicBezTo>
                      <a:pt x="2551595" y="2021219"/>
                      <a:pt x="2798853" y="2268476"/>
                      <a:pt x="3103861" y="2268476"/>
                    </a:cubicBezTo>
                    <a:cubicBezTo>
                      <a:pt x="3408869" y="2268476"/>
                      <a:pt x="3656127" y="2021219"/>
                      <a:pt x="3656127" y="1716213"/>
                    </a:cubicBezTo>
                    <a:cubicBezTo>
                      <a:pt x="3656127" y="1411207"/>
                      <a:pt x="3408869" y="1163950"/>
                      <a:pt x="3103861" y="1163950"/>
                    </a:cubicBezTo>
                    <a:close/>
                    <a:moveTo>
                      <a:pt x="3602045" y="1152833"/>
                    </a:moveTo>
                    <a:cubicBezTo>
                      <a:pt x="3570972" y="1152833"/>
                      <a:pt x="3545781" y="1178023"/>
                      <a:pt x="3545781" y="1209097"/>
                    </a:cubicBezTo>
                    <a:cubicBezTo>
                      <a:pt x="3545781" y="1240171"/>
                      <a:pt x="3570972" y="1265361"/>
                      <a:pt x="3602045" y="1265361"/>
                    </a:cubicBezTo>
                    <a:cubicBezTo>
                      <a:pt x="3633119" y="1265361"/>
                      <a:pt x="3658309" y="1240171"/>
                      <a:pt x="3658309" y="1209097"/>
                    </a:cubicBezTo>
                    <a:cubicBezTo>
                      <a:pt x="3658309" y="1178023"/>
                      <a:pt x="3633119" y="1152833"/>
                      <a:pt x="3602045" y="1152833"/>
                    </a:cubicBezTo>
                    <a:close/>
                    <a:moveTo>
                      <a:pt x="2601920" y="1152833"/>
                    </a:moveTo>
                    <a:cubicBezTo>
                      <a:pt x="2570847" y="1152833"/>
                      <a:pt x="2545656" y="1178023"/>
                      <a:pt x="2545656" y="1209097"/>
                    </a:cubicBezTo>
                    <a:cubicBezTo>
                      <a:pt x="2545656" y="1240171"/>
                      <a:pt x="2570847" y="1265361"/>
                      <a:pt x="2601920" y="1265361"/>
                    </a:cubicBezTo>
                    <a:cubicBezTo>
                      <a:pt x="2632994" y="1265361"/>
                      <a:pt x="2658184" y="1240171"/>
                      <a:pt x="2658184" y="1209097"/>
                    </a:cubicBezTo>
                    <a:cubicBezTo>
                      <a:pt x="2658184" y="1178023"/>
                      <a:pt x="2632994" y="1152833"/>
                      <a:pt x="2601920" y="1152833"/>
                    </a:cubicBezTo>
                    <a:close/>
                    <a:moveTo>
                      <a:pt x="2515101" y="1127454"/>
                    </a:moveTo>
                    <a:lnTo>
                      <a:pt x="3692619" y="1127454"/>
                    </a:lnTo>
                    <a:lnTo>
                      <a:pt x="3692619" y="2304970"/>
                    </a:lnTo>
                    <a:lnTo>
                      <a:pt x="2515101" y="2304970"/>
                    </a:lnTo>
                    <a:close/>
                    <a:moveTo>
                      <a:pt x="4003070" y="1113555"/>
                    </a:moveTo>
                    <a:lnTo>
                      <a:pt x="4598666" y="1113555"/>
                    </a:lnTo>
                    <a:lnTo>
                      <a:pt x="4598666" y="1425941"/>
                    </a:lnTo>
                    <a:lnTo>
                      <a:pt x="4003070" y="1425941"/>
                    </a:lnTo>
                    <a:close/>
                    <a:moveTo>
                      <a:pt x="4722506" y="1096773"/>
                    </a:moveTo>
                    <a:lnTo>
                      <a:pt x="4722506" y="1201263"/>
                    </a:lnTo>
                    <a:lnTo>
                      <a:pt x="4801087" y="1201263"/>
                    </a:lnTo>
                    <a:lnTo>
                      <a:pt x="4801087" y="1096773"/>
                    </a:lnTo>
                    <a:close/>
                    <a:moveTo>
                      <a:pt x="2456537" y="1063784"/>
                    </a:moveTo>
                    <a:lnTo>
                      <a:pt x="2456537" y="2358429"/>
                    </a:lnTo>
                    <a:lnTo>
                      <a:pt x="3751182" y="2358429"/>
                    </a:lnTo>
                    <a:lnTo>
                      <a:pt x="3751182" y="1063784"/>
                    </a:lnTo>
                    <a:close/>
                    <a:moveTo>
                      <a:pt x="4025231" y="942576"/>
                    </a:moveTo>
                    <a:cubicBezTo>
                      <a:pt x="4010528" y="942576"/>
                      <a:pt x="3998608" y="954496"/>
                      <a:pt x="3998608" y="969199"/>
                    </a:cubicBezTo>
                    <a:cubicBezTo>
                      <a:pt x="3998608" y="978515"/>
                      <a:pt x="4003393" y="986714"/>
                      <a:pt x="4011514" y="990140"/>
                    </a:cubicBezTo>
                    <a:lnTo>
                      <a:pt x="4011514" y="1063784"/>
                    </a:lnTo>
                    <a:lnTo>
                      <a:pt x="3938730" y="1063784"/>
                    </a:lnTo>
                    <a:lnTo>
                      <a:pt x="3938730" y="1475717"/>
                    </a:lnTo>
                    <a:lnTo>
                      <a:pt x="4011514" y="1475717"/>
                    </a:lnTo>
                    <a:lnTo>
                      <a:pt x="4011514" y="1560983"/>
                    </a:lnTo>
                    <a:cubicBezTo>
                      <a:pt x="4003393" y="1564409"/>
                      <a:pt x="3998608" y="1572608"/>
                      <a:pt x="3998608" y="1581924"/>
                    </a:cubicBezTo>
                    <a:cubicBezTo>
                      <a:pt x="3998608" y="1596627"/>
                      <a:pt x="4010528" y="1608547"/>
                      <a:pt x="4025231" y="1608547"/>
                    </a:cubicBezTo>
                    <a:cubicBezTo>
                      <a:pt x="4039934" y="1608547"/>
                      <a:pt x="4051854" y="1596627"/>
                      <a:pt x="4051854" y="1581924"/>
                    </a:cubicBezTo>
                    <a:cubicBezTo>
                      <a:pt x="4051854" y="1572607"/>
                      <a:pt x="4047068" y="1564408"/>
                      <a:pt x="4038946" y="1560982"/>
                    </a:cubicBezTo>
                    <a:lnTo>
                      <a:pt x="4038946" y="1475717"/>
                    </a:lnTo>
                    <a:lnTo>
                      <a:pt x="4103732" y="1475717"/>
                    </a:lnTo>
                    <a:lnTo>
                      <a:pt x="4103732" y="1560983"/>
                    </a:lnTo>
                    <a:cubicBezTo>
                      <a:pt x="4095611" y="1564409"/>
                      <a:pt x="4090826" y="1572608"/>
                      <a:pt x="4090826" y="1581924"/>
                    </a:cubicBezTo>
                    <a:cubicBezTo>
                      <a:pt x="4090826" y="1596627"/>
                      <a:pt x="4102746" y="1608547"/>
                      <a:pt x="4117449" y="1608547"/>
                    </a:cubicBezTo>
                    <a:cubicBezTo>
                      <a:pt x="4132152" y="1608547"/>
                      <a:pt x="4144072" y="1596627"/>
                      <a:pt x="4144072" y="1581924"/>
                    </a:cubicBezTo>
                    <a:cubicBezTo>
                      <a:pt x="4144072" y="1572607"/>
                      <a:pt x="4139286" y="1564408"/>
                      <a:pt x="4131164" y="1560982"/>
                    </a:cubicBezTo>
                    <a:lnTo>
                      <a:pt x="4131164" y="1475717"/>
                    </a:lnTo>
                    <a:lnTo>
                      <a:pt x="4195950" y="1475717"/>
                    </a:lnTo>
                    <a:lnTo>
                      <a:pt x="4195950" y="1560983"/>
                    </a:lnTo>
                    <a:cubicBezTo>
                      <a:pt x="4187829" y="1564409"/>
                      <a:pt x="4183044" y="1572608"/>
                      <a:pt x="4183044" y="1581924"/>
                    </a:cubicBezTo>
                    <a:cubicBezTo>
                      <a:pt x="4183044" y="1596627"/>
                      <a:pt x="4194964" y="1608547"/>
                      <a:pt x="4209667" y="1608547"/>
                    </a:cubicBezTo>
                    <a:cubicBezTo>
                      <a:pt x="4224370" y="1608547"/>
                      <a:pt x="4236290" y="1596627"/>
                      <a:pt x="4236290" y="1581924"/>
                    </a:cubicBezTo>
                    <a:cubicBezTo>
                      <a:pt x="4236290" y="1572607"/>
                      <a:pt x="4231504" y="1564408"/>
                      <a:pt x="4223382" y="1560982"/>
                    </a:cubicBezTo>
                    <a:lnTo>
                      <a:pt x="4223382" y="1475717"/>
                    </a:lnTo>
                    <a:lnTo>
                      <a:pt x="4288168" y="1475717"/>
                    </a:lnTo>
                    <a:lnTo>
                      <a:pt x="4288168" y="1560983"/>
                    </a:lnTo>
                    <a:cubicBezTo>
                      <a:pt x="4280047" y="1564409"/>
                      <a:pt x="4275262" y="1572608"/>
                      <a:pt x="4275262" y="1581924"/>
                    </a:cubicBezTo>
                    <a:cubicBezTo>
                      <a:pt x="4275262" y="1596627"/>
                      <a:pt x="4287182" y="1608547"/>
                      <a:pt x="4301885" y="1608547"/>
                    </a:cubicBezTo>
                    <a:cubicBezTo>
                      <a:pt x="4316588" y="1608547"/>
                      <a:pt x="4328508" y="1596627"/>
                      <a:pt x="4328508" y="1581924"/>
                    </a:cubicBezTo>
                    <a:cubicBezTo>
                      <a:pt x="4328508" y="1572607"/>
                      <a:pt x="4323722" y="1564408"/>
                      <a:pt x="4315600" y="1560982"/>
                    </a:cubicBezTo>
                    <a:lnTo>
                      <a:pt x="4315600" y="1475717"/>
                    </a:lnTo>
                    <a:lnTo>
                      <a:pt x="4380386" y="1475717"/>
                    </a:lnTo>
                    <a:lnTo>
                      <a:pt x="4380386" y="1560983"/>
                    </a:lnTo>
                    <a:cubicBezTo>
                      <a:pt x="4372265" y="1564409"/>
                      <a:pt x="4367480" y="1572608"/>
                      <a:pt x="4367480" y="1581924"/>
                    </a:cubicBezTo>
                    <a:cubicBezTo>
                      <a:pt x="4367480" y="1596627"/>
                      <a:pt x="4379400" y="1608547"/>
                      <a:pt x="4394103" y="1608547"/>
                    </a:cubicBezTo>
                    <a:cubicBezTo>
                      <a:pt x="4408806" y="1608547"/>
                      <a:pt x="4420726" y="1596627"/>
                      <a:pt x="4420726" y="1581924"/>
                    </a:cubicBezTo>
                    <a:cubicBezTo>
                      <a:pt x="4420726" y="1572607"/>
                      <a:pt x="4415940" y="1564408"/>
                      <a:pt x="4407818" y="1560982"/>
                    </a:cubicBezTo>
                    <a:lnTo>
                      <a:pt x="4407818" y="1475717"/>
                    </a:lnTo>
                    <a:lnTo>
                      <a:pt x="4472604" y="1475717"/>
                    </a:lnTo>
                    <a:lnTo>
                      <a:pt x="4472604" y="1560983"/>
                    </a:lnTo>
                    <a:cubicBezTo>
                      <a:pt x="4464483" y="1564409"/>
                      <a:pt x="4459698" y="1572608"/>
                      <a:pt x="4459698" y="1581924"/>
                    </a:cubicBezTo>
                    <a:cubicBezTo>
                      <a:pt x="4459698" y="1596627"/>
                      <a:pt x="4471618" y="1608547"/>
                      <a:pt x="4486321" y="1608547"/>
                    </a:cubicBezTo>
                    <a:cubicBezTo>
                      <a:pt x="4501024" y="1608547"/>
                      <a:pt x="4512944" y="1596627"/>
                      <a:pt x="4512944" y="1581924"/>
                    </a:cubicBezTo>
                    <a:cubicBezTo>
                      <a:pt x="4512944" y="1572607"/>
                      <a:pt x="4508158" y="1564408"/>
                      <a:pt x="4500036" y="1560982"/>
                    </a:cubicBezTo>
                    <a:lnTo>
                      <a:pt x="4500036" y="1475717"/>
                    </a:lnTo>
                    <a:lnTo>
                      <a:pt x="4564822" y="1475717"/>
                    </a:lnTo>
                    <a:lnTo>
                      <a:pt x="4564822" y="1560983"/>
                    </a:lnTo>
                    <a:cubicBezTo>
                      <a:pt x="4556701" y="1564409"/>
                      <a:pt x="4551916" y="1572608"/>
                      <a:pt x="4551916" y="1581924"/>
                    </a:cubicBezTo>
                    <a:cubicBezTo>
                      <a:pt x="4551916" y="1596627"/>
                      <a:pt x="4563836" y="1608547"/>
                      <a:pt x="4578539" y="1608547"/>
                    </a:cubicBezTo>
                    <a:cubicBezTo>
                      <a:pt x="4593242" y="1608547"/>
                      <a:pt x="4605162" y="1596627"/>
                      <a:pt x="4605162" y="1581924"/>
                    </a:cubicBezTo>
                    <a:cubicBezTo>
                      <a:pt x="4605162" y="1572607"/>
                      <a:pt x="4600376" y="1564408"/>
                      <a:pt x="4592254" y="1560982"/>
                    </a:cubicBezTo>
                    <a:lnTo>
                      <a:pt x="4592254" y="1475717"/>
                    </a:lnTo>
                    <a:lnTo>
                      <a:pt x="4663006" y="1475717"/>
                    </a:lnTo>
                    <a:lnTo>
                      <a:pt x="4663006" y="1063784"/>
                    </a:lnTo>
                    <a:lnTo>
                      <a:pt x="4592254" y="1063784"/>
                    </a:lnTo>
                    <a:lnTo>
                      <a:pt x="4592254" y="990141"/>
                    </a:lnTo>
                    <a:cubicBezTo>
                      <a:pt x="4600376" y="986715"/>
                      <a:pt x="4605162" y="978516"/>
                      <a:pt x="4605162" y="969199"/>
                    </a:cubicBezTo>
                    <a:cubicBezTo>
                      <a:pt x="4605162" y="954496"/>
                      <a:pt x="4593242" y="942576"/>
                      <a:pt x="4578539" y="942576"/>
                    </a:cubicBezTo>
                    <a:cubicBezTo>
                      <a:pt x="4563836" y="942576"/>
                      <a:pt x="4551916" y="954496"/>
                      <a:pt x="4551916" y="969199"/>
                    </a:cubicBezTo>
                    <a:cubicBezTo>
                      <a:pt x="4551916" y="978515"/>
                      <a:pt x="4556701" y="986714"/>
                      <a:pt x="4564822" y="990140"/>
                    </a:cubicBezTo>
                    <a:lnTo>
                      <a:pt x="4564822" y="1063784"/>
                    </a:lnTo>
                    <a:lnTo>
                      <a:pt x="4500036" y="1063784"/>
                    </a:lnTo>
                    <a:lnTo>
                      <a:pt x="4500036" y="990141"/>
                    </a:lnTo>
                    <a:cubicBezTo>
                      <a:pt x="4508158" y="986715"/>
                      <a:pt x="4512944" y="978516"/>
                      <a:pt x="4512944" y="969199"/>
                    </a:cubicBezTo>
                    <a:cubicBezTo>
                      <a:pt x="4512944" y="954496"/>
                      <a:pt x="4501024" y="942576"/>
                      <a:pt x="4486321" y="942576"/>
                    </a:cubicBezTo>
                    <a:cubicBezTo>
                      <a:pt x="4471618" y="942576"/>
                      <a:pt x="4459698" y="954496"/>
                      <a:pt x="4459698" y="969199"/>
                    </a:cubicBezTo>
                    <a:cubicBezTo>
                      <a:pt x="4459698" y="978515"/>
                      <a:pt x="4464483" y="986714"/>
                      <a:pt x="4472604" y="990140"/>
                    </a:cubicBezTo>
                    <a:lnTo>
                      <a:pt x="4472604" y="1063784"/>
                    </a:lnTo>
                    <a:lnTo>
                      <a:pt x="4407818" y="1063784"/>
                    </a:lnTo>
                    <a:lnTo>
                      <a:pt x="4407818" y="990141"/>
                    </a:lnTo>
                    <a:cubicBezTo>
                      <a:pt x="4415940" y="986715"/>
                      <a:pt x="4420726" y="978516"/>
                      <a:pt x="4420726" y="969199"/>
                    </a:cubicBezTo>
                    <a:cubicBezTo>
                      <a:pt x="4420726" y="954496"/>
                      <a:pt x="4408806" y="942576"/>
                      <a:pt x="4394103" y="942576"/>
                    </a:cubicBezTo>
                    <a:cubicBezTo>
                      <a:pt x="4379400" y="942576"/>
                      <a:pt x="4367480" y="954496"/>
                      <a:pt x="4367480" y="969199"/>
                    </a:cubicBezTo>
                    <a:cubicBezTo>
                      <a:pt x="4367480" y="978515"/>
                      <a:pt x="4372265" y="986714"/>
                      <a:pt x="4380386" y="990140"/>
                    </a:cubicBezTo>
                    <a:lnTo>
                      <a:pt x="4380386" y="1063784"/>
                    </a:lnTo>
                    <a:lnTo>
                      <a:pt x="4315600" y="1063784"/>
                    </a:lnTo>
                    <a:lnTo>
                      <a:pt x="4315600" y="990141"/>
                    </a:lnTo>
                    <a:cubicBezTo>
                      <a:pt x="4323722" y="986715"/>
                      <a:pt x="4328508" y="978516"/>
                      <a:pt x="4328508" y="969199"/>
                    </a:cubicBezTo>
                    <a:cubicBezTo>
                      <a:pt x="4328508" y="954496"/>
                      <a:pt x="4316588" y="942576"/>
                      <a:pt x="4301885" y="942576"/>
                    </a:cubicBezTo>
                    <a:cubicBezTo>
                      <a:pt x="4287182" y="942576"/>
                      <a:pt x="4275262" y="954496"/>
                      <a:pt x="4275262" y="969199"/>
                    </a:cubicBezTo>
                    <a:cubicBezTo>
                      <a:pt x="4275262" y="978515"/>
                      <a:pt x="4280047" y="986714"/>
                      <a:pt x="4288168" y="990140"/>
                    </a:cubicBezTo>
                    <a:lnTo>
                      <a:pt x="4288168" y="1063784"/>
                    </a:lnTo>
                    <a:lnTo>
                      <a:pt x="4223382" y="1063784"/>
                    </a:lnTo>
                    <a:lnTo>
                      <a:pt x="4223382" y="990141"/>
                    </a:lnTo>
                    <a:cubicBezTo>
                      <a:pt x="4231504" y="986715"/>
                      <a:pt x="4236290" y="978516"/>
                      <a:pt x="4236290" y="969199"/>
                    </a:cubicBezTo>
                    <a:cubicBezTo>
                      <a:pt x="4236290" y="954496"/>
                      <a:pt x="4224370" y="942576"/>
                      <a:pt x="4209667" y="942576"/>
                    </a:cubicBezTo>
                    <a:cubicBezTo>
                      <a:pt x="4194964" y="942576"/>
                      <a:pt x="4183044" y="954496"/>
                      <a:pt x="4183044" y="969199"/>
                    </a:cubicBezTo>
                    <a:cubicBezTo>
                      <a:pt x="4183044" y="978515"/>
                      <a:pt x="4187829" y="986714"/>
                      <a:pt x="4195950" y="990140"/>
                    </a:cubicBezTo>
                    <a:lnTo>
                      <a:pt x="4195950" y="1063784"/>
                    </a:lnTo>
                    <a:lnTo>
                      <a:pt x="4131164" y="1063784"/>
                    </a:lnTo>
                    <a:lnTo>
                      <a:pt x="4131164" y="990141"/>
                    </a:lnTo>
                    <a:cubicBezTo>
                      <a:pt x="4139286" y="986715"/>
                      <a:pt x="4144072" y="978516"/>
                      <a:pt x="4144072" y="969199"/>
                    </a:cubicBezTo>
                    <a:cubicBezTo>
                      <a:pt x="4144072" y="954496"/>
                      <a:pt x="4132152" y="942576"/>
                      <a:pt x="4117449" y="942576"/>
                    </a:cubicBezTo>
                    <a:cubicBezTo>
                      <a:pt x="4102746" y="942576"/>
                      <a:pt x="4090826" y="954496"/>
                      <a:pt x="4090826" y="969199"/>
                    </a:cubicBezTo>
                    <a:cubicBezTo>
                      <a:pt x="4090826" y="978515"/>
                      <a:pt x="4095611" y="986714"/>
                      <a:pt x="4103732" y="990140"/>
                    </a:cubicBezTo>
                    <a:lnTo>
                      <a:pt x="4103732" y="1063784"/>
                    </a:lnTo>
                    <a:lnTo>
                      <a:pt x="4038946" y="1063784"/>
                    </a:lnTo>
                    <a:lnTo>
                      <a:pt x="4038946" y="990141"/>
                    </a:lnTo>
                    <a:cubicBezTo>
                      <a:pt x="4047068" y="986715"/>
                      <a:pt x="4051854" y="978516"/>
                      <a:pt x="4051854" y="969199"/>
                    </a:cubicBezTo>
                    <a:cubicBezTo>
                      <a:pt x="4051854" y="954496"/>
                      <a:pt x="4039934" y="942576"/>
                      <a:pt x="4025231" y="942576"/>
                    </a:cubicBezTo>
                    <a:close/>
                    <a:moveTo>
                      <a:pt x="712015" y="822049"/>
                    </a:moveTo>
                    <a:cubicBezTo>
                      <a:pt x="775687" y="822049"/>
                      <a:pt x="827302" y="873664"/>
                      <a:pt x="827302" y="937335"/>
                    </a:cubicBezTo>
                    <a:cubicBezTo>
                      <a:pt x="827302" y="1001006"/>
                      <a:pt x="775687" y="1052622"/>
                      <a:pt x="712015" y="1052622"/>
                    </a:cubicBezTo>
                    <a:cubicBezTo>
                      <a:pt x="648344" y="1052622"/>
                      <a:pt x="596728" y="1001006"/>
                      <a:pt x="596728" y="937335"/>
                    </a:cubicBezTo>
                    <a:cubicBezTo>
                      <a:pt x="596728" y="873664"/>
                      <a:pt x="648344" y="822049"/>
                      <a:pt x="712015" y="822049"/>
                    </a:cubicBezTo>
                    <a:close/>
                    <a:moveTo>
                      <a:pt x="712015" y="766607"/>
                    </a:moveTo>
                    <a:cubicBezTo>
                      <a:pt x="617725" y="766607"/>
                      <a:pt x="541287" y="843045"/>
                      <a:pt x="541287" y="937335"/>
                    </a:cubicBezTo>
                    <a:cubicBezTo>
                      <a:pt x="541287" y="1031626"/>
                      <a:pt x="617725" y="1108063"/>
                      <a:pt x="712015" y="1108063"/>
                    </a:cubicBezTo>
                    <a:cubicBezTo>
                      <a:pt x="806306" y="1108063"/>
                      <a:pt x="882743" y="1031626"/>
                      <a:pt x="882743" y="937335"/>
                    </a:cubicBezTo>
                    <a:cubicBezTo>
                      <a:pt x="882743" y="843045"/>
                      <a:pt x="806306" y="766607"/>
                      <a:pt x="712015" y="766607"/>
                    </a:cubicBezTo>
                    <a:close/>
                    <a:moveTo>
                      <a:pt x="4509792" y="658540"/>
                    </a:moveTo>
                    <a:cubicBezTo>
                      <a:pt x="4504181" y="658540"/>
                      <a:pt x="4499632" y="663089"/>
                      <a:pt x="4499632" y="668700"/>
                    </a:cubicBezTo>
                    <a:lnTo>
                      <a:pt x="4499632" y="709340"/>
                    </a:lnTo>
                    <a:cubicBezTo>
                      <a:pt x="4499632" y="714951"/>
                      <a:pt x="4504181" y="719500"/>
                      <a:pt x="4509792" y="719500"/>
                    </a:cubicBezTo>
                    <a:lnTo>
                      <a:pt x="4700531" y="719500"/>
                    </a:lnTo>
                    <a:cubicBezTo>
                      <a:pt x="4706142" y="719500"/>
                      <a:pt x="4710691" y="714951"/>
                      <a:pt x="4710691" y="709340"/>
                    </a:cubicBezTo>
                    <a:lnTo>
                      <a:pt x="4710691" y="668700"/>
                    </a:lnTo>
                    <a:cubicBezTo>
                      <a:pt x="4710691" y="663089"/>
                      <a:pt x="4706142" y="658540"/>
                      <a:pt x="4700531" y="658540"/>
                    </a:cubicBezTo>
                    <a:close/>
                    <a:moveTo>
                      <a:pt x="4233138" y="658540"/>
                    </a:moveTo>
                    <a:cubicBezTo>
                      <a:pt x="4227527" y="658540"/>
                      <a:pt x="4222978" y="663089"/>
                      <a:pt x="4222978" y="668700"/>
                    </a:cubicBezTo>
                    <a:lnTo>
                      <a:pt x="4222978" y="709340"/>
                    </a:lnTo>
                    <a:cubicBezTo>
                      <a:pt x="4222978" y="714951"/>
                      <a:pt x="4227527" y="719500"/>
                      <a:pt x="4233138" y="719500"/>
                    </a:cubicBezTo>
                    <a:lnTo>
                      <a:pt x="4423877" y="719500"/>
                    </a:lnTo>
                    <a:cubicBezTo>
                      <a:pt x="4429488" y="719500"/>
                      <a:pt x="4434037" y="714951"/>
                      <a:pt x="4434037" y="709340"/>
                    </a:cubicBezTo>
                    <a:lnTo>
                      <a:pt x="4434037" y="668700"/>
                    </a:lnTo>
                    <a:cubicBezTo>
                      <a:pt x="4434037" y="663089"/>
                      <a:pt x="4429488" y="658540"/>
                      <a:pt x="4423877" y="658540"/>
                    </a:cubicBezTo>
                    <a:close/>
                    <a:moveTo>
                      <a:pt x="1130592" y="628961"/>
                    </a:moveTo>
                    <a:lnTo>
                      <a:pt x="1526414" y="628961"/>
                    </a:lnTo>
                    <a:lnTo>
                      <a:pt x="1526414" y="836566"/>
                    </a:lnTo>
                    <a:lnTo>
                      <a:pt x="1130592" y="836566"/>
                    </a:lnTo>
                    <a:close/>
                    <a:moveTo>
                      <a:pt x="1141884" y="488294"/>
                    </a:moveTo>
                    <a:cubicBezTo>
                      <a:pt x="1132406" y="488294"/>
                      <a:pt x="1124722" y="495978"/>
                      <a:pt x="1124722" y="505456"/>
                    </a:cubicBezTo>
                    <a:cubicBezTo>
                      <a:pt x="1124722" y="511461"/>
                      <a:pt x="1127807" y="516746"/>
                      <a:pt x="1133041" y="518954"/>
                    </a:cubicBezTo>
                    <a:lnTo>
                      <a:pt x="1133041" y="595879"/>
                    </a:lnTo>
                    <a:lnTo>
                      <a:pt x="1087831" y="595879"/>
                    </a:lnTo>
                    <a:lnTo>
                      <a:pt x="1087831" y="869643"/>
                    </a:lnTo>
                    <a:lnTo>
                      <a:pt x="1133041" y="869643"/>
                    </a:lnTo>
                    <a:lnTo>
                      <a:pt x="1133041" y="946567"/>
                    </a:lnTo>
                    <a:cubicBezTo>
                      <a:pt x="1127807" y="948775"/>
                      <a:pt x="1124722" y="954060"/>
                      <a:pt x="1124722" y="960065"/>
                    </a:cubicBezTo>
                    <a:cubicBezTo>
                      <a:pt x="1124722" y="969543"/>
                      <a:pt x="1132406" y="977227"/>
                      <a:pt x="1141884" y="977227"/>
                    </a:cubicBezTo>
                    <a:cubicBezTo>
                      <a:pt x="1151361" y="977227"/>
                      <a:pt x="1159045" y="969543"/>
                      <a:pt x="1159045" y="960065"/>
                    </a:cubicBezTo>
                    <a:cubicBezTo>
                      <a:pt x="1159045" y="954060"/>
                      <a:pt x="1155960" y="948775"/>
                      <a:pt x="1150724" y="946566"/>
                    </a:cubicBezTo>
                    <a:lnTo>
                      <a:pt x="1150724" y="869643"/>
                    </a:lnTo>
                    <a:lnTo>
                      <a:pt x="1192485" y="869643"/>
                    </a:lnTo>
                    <a:lnTo>
                      <a:pt x="1192485" y="946567"/>
                    </a:lnTo>
                    <a:cubicBezTo>
                      <a:pt x="1187251" y="948775"/>
                      <a:pt x="1184166" y="954060"/>
                      <a:pt x="1184166" y="960065"/>
                    </a:cubicBezTo>
                    <a:cubicBezTo>
                      <a:pt x="1184166" y="969543"/>
                      <a:pt x="1191850" y="977227"/>
                      <a:pt x="1201328" y="977227"/>
                    </a:cubicBezTo>
                    <a:cubicBezTo>
                      <a:pt x="1210805" y="977227"/>
                      <a:pt x="1218489" y="969543"/>
                      <a:pt x="1218489" y="960065"/>
                    </a:cubicBezTo>
                    <a:cubicBezTo>
                      <a:pt x="1218489" y="954060"/>
                      <a:pt x="1215404" y="948775"/>
                      <a:pt x="1210168" y="946566"/>
                    </a:cubicBezTo>
                    <a:lnTo>
                      <a:pt x="1210168" y="869643"/>
                    </a:lnTo>
                    <a:lnTo>
                      <a:pt x="1251929" y="869643"/>
                    </a:lnTo>
                    <a:lnTo>
                      <a:pt x="1251929" y="946567"/>
                    </a:lnTo>
                    <a:cubicBezTo>
                      <a:pt x="1246695" y="948775"/>
                      <a:pt x="1243610" y="954060"/>
                      <a:pt x="1243610" y="960065"/>
                    </a:cubicBezTo>
                    <a:cubicBezTo>
                      <a:pt x="1243610" y="969543"/>
                      <a:pt x="1251294" y="977227"/>
                      <a:pt x="1260772" y="977227"/>
                    </a:cubicBezTo>
                    <a:cubicBezTo>
                      <a:pt x="1270249" y="977227"/>
                      <a:pt x="1277933" y="969543"/>
                      <a:pt x="1277933" y="960065"/>
                    </a:cubicBezTo>
                    <a:cubicBezTo>
                      <a:pt x="1277933" y="954060"/>
                      <a:pt x="1274848" y="948775"/>
                      <a:pt x="1269612" y="946566"/>
                    </a:cubicBezTo>
                    <a:lnTo>
                      <a:pt x="1269612" y="869643"/>
                    </a:lnTo>
                    <a:lnTo>
                      <a:pt x="1311374" y="869643"/>
                    </a:lnTo>
                    <a:lnTo>
                      <a:pt x="1311374" y="946567"/>
                    </a:lnTo>
                    <a:cubicBezTo>
                      <a:pt x="1306140" y="948775"/>
                      <a:pt x="1303055" y="954060"/>
                      <a:pt x="1303055" y="960065"/>
                    </a:cubicBezTo>
                    <a:cubicBezTo>
                      <a:pt x="1303055" y="969543"/>
                      <a:pt x="1310739" y="977227"/>
                      <a:pt x="1320217" y="977227"/>
                    </a:cubicBezTo>
                    <a:cubicBezTo>
                      <a:pt x="1329694" y="977227"/>
                      <a:pt x="1337378" y="969543"/>
                      <a:pt x="1337378" y="960065"/>
                    </a:cubicBezTo>
                    <a:cubicBezTo>
                      <a:pt x="1337378" y="954060"/>
                      <a:pt x="1334293" y="948775"/>
                      <a:pt x="1329057" y="946566"/>
                    </a:cubicBezTo>
                    <a:lnTo>
                      <a:pt x="1329057" y="869643"/>
                    </a:lnTo>
                    <a:lnTo>
                      <a:pt x="1370818" y="869643"/>
                    </a:lnTo>
                    <a:lnTo>
                      <a:pt x="1370818" y="946567"/>
                    </a:lnTo>
                    <a:cubicBezTo>
                      <a:pt x="1365584" y="948775"/>
                      <a:pt x="1362499" y="954060"/>
                      <a:pt x="1362499" y="960065"/>
                    </a:cubicBezTo>
                    <a:cubicBezTo>
                      <a:pt x="1362499" y="969543"/>
                      <a:pt x="1370183" y="977227"/>
                      <a:pt x="1379661" y="977227"/>
                    </a:cubicBezTo>
                    <a:cubicBezTo>
                      <a:pt x="1389138" y="977227"/>
                      <a:pt x="1396822" y="969543"/>
                      <a:pt x="1396822" y="960065"/>
                    </a:cubicBezTo>
                    <a:cubicBezTo>
                      <a:pt x="1396822" y="954060"/>
                      <a:pt x="1393737" y="948775"/>
                      <a:pt x="1388501" y="946566"/>
                    </a:cubicBezTo>
                    <a:lnTo>
                      <a:pt x="1388501" y="869643"/>
                    </a:lnTo>
                    <a:lnTo>
                      <a:pt x="1430262" y="869643"/>
                    </a:lnTo>
                    <a:lnTo>
                      <a:pt x="1430262" y="946567"/>
                    </a:lnTo>
                    <a:cubicBezTo>
                      <a:pt x="1425028" y="948775"/>
                      <a:pt x="1421943" y="954060"/>
                      <a:pt x="1421943" y="960065"/>
                    </a:cubicBezTo>
                    <a:cubicBezTo>
                      <a:pt x="1421943" y="969543"/>
                      <a:pt x="1429627" y="977227"/>
                      <a:pt x="1439105" y="977227"/>
                    </a:cubicBezTo>
                    <a:cubicBezTo>
                      <a:pt x="1448582" y="977227"/>
                      <a:pt x="1456266" y="969543"/>
                      <a:pt x="1456266" y="960065"/>
                    </a:cubicBezTo>
                    <a:cubicBezTo>
                      <a:pt x="1456266" y="954060"/>
                      <a:pt x="1453181" y="948775"/>
                      <a:pt x="1447945" y="946566"/>
                    </a:cubicBezTo>
                    <a:lnTo>
                      <a:pt x="1447945" y="869643"/>
                    </a:lnTo>
                    <a:lnTo>
                      <a:pt x="1489706" y="869643"/>
                    </a:lnTo>
                    <a:lnTo>
                      <a:pt x="1489706" y="946567"/>
                    </a:lnTo>
                    <a:cubicBezTo>
                      <a:pt x="1484472" y="948775"/>
                      <a:pt x="1481387" y="954060"/>
                      <a:pt x="1481387" y="960065"/>
                    </a:cubicBezTo>
                    <a:cubicBezTo>
                      <a:pt x="1481387" y="969543"/>
                      <a:pt x="1489071" y="977227"/>
                      <a:pt x="1498549" y="977227"/>
                    </a:cubicBezTo>
                    <a:cubicBezTo>
                      <a:pt x="1508026" y="977227"/>
                      <a:pt x="1515710" y="969543"/>
                      <a:pt x="1515710" y="960065"/>
                    </a:cubicBezTo>
                    <a:cubicBezTo>
                      <a:pt x="1515710" y="954060"/>
                      <a:pt x="1512625" y="948775"/>
                      <a:pt x="1507389" y="946566"/>
                    </a:cubicBezTo>
                    <a:lnTo>
                      <a:pt x="1507389" y="869643"/>
                    </a:lnTo>
                    <a:lnTo>
                      <a:pt x="1569173" y="869643"/>
                    </a:lnTo>
                    <a:lnTo>
                      <a:pt x="1569173" y="595879"/>
                    </a:lnTo>
                    <a:lnTo>
                      <a:pt x="1507389" y="595879"/>
                    </a:lnTo>
                    <a:lnTo>
                      <a:pt x="1507389" y="518955"/>
                    </a:lnTo>
                    <a:cubicBezTo>
                      <a:pt x="1512625" y="516746"/>
                      <a:pt x="1515710" y="511461"/>
                      <a:pt x="1515710" y="505456"/>
                    </a:cubicBezTo>
                    <a:cubicBezTo>
                      <a:pt x="1515710" y="495978"/>
                      <a:pt x="1508026" y="488294"/>
                      <a:pt x="1498549" y="488294"/>
                    </a:cubicBezTo>
                    <a:cubicBezTo>
                      <a:pt x="1489071" y="488294"/>
                      <a:pt x="1481387" y="495978"/>
                      <a:pt x="1481387" y="505456"/>
                    </a:cubicBezTo>
                    <a:cubicBezTo>
                      <a:pt x="1481387" y="511461"/>
                      <a:pt x="1484472" y="516746"/>
                      <a:pt x="1489706" y="518954"/>
                    </a:cubicBezTo>
                    <a:lnTo>
                      <a:pt x="1489706" y="595879"/>
                    </a:lnTo>
                    <a:lnTo>
                      <a:pt x="1447945" y="595879"/>
                    </a:lnTo>
                    <a:lnTo>
                      <a:pt x="1447945" y="518955"/>
                    </a:lnTo>
                    <a:cubicBezTo>
                      <a:pt x="1453181" y="516746"/>
                      <a:pt x="1456266" y="511461"/>
                      <a:pt x="1456266" y="505456"/>
                    </a:cubicBezTo>
                    <a:cubicBezTo>
                      <a:pt x="1456266" y="495978"/>
                      <a:pt x="1448582" y="488294"/>
                      <a:pt x="1439105" y="488294"/>
                    </a:cubicBezTo>
                    <a:cubicBezTo>
                      <a:pt x="1429627" y="488294"/>
                      <a:pt x="1421943" y="495978"/>
                      <a:pt x="1421943" y="505456"/>
                    </a:cubicBezTo>
                    <a:cubicBezTo>
                      <a:pt x="1421943" y="511461"/>
                      <a:pt x="1425028" y="516746"/>
                      <a:pt x="1430262" y="518954"/>
                    </a:cubicBezTo>
                    <a:lnTo>
                      <a:pt x="1430262" y="595879"/>
                    </a:lnTo>
                    <a:lnTo>
                      <a:pt x="1388501" y="595879"/>
                    </a:lnTo>
                    <a:lnTo>
                      <a:pt x="1388501" y="518955"/>
                    </a:lnTo>
                    <a:cubicBezTo>
                      <a:pt x="1393737" y="516746"/>
                      <a:pt x="1396822" y="511461"/>
                      <a:pt x="1396822" y="505456"/>
                    </a:cubicBezTo>
                    <a:cubicBezTo>
                      <a:pt x="1396822" y="495978"/>
                      <a:pt x="1389138" y="488294"/>
                      <a:pt x="1379661" y="488294"/>
                    </a:cubicBezTo>
                    <a:cubicBezTo>
                      <a:pt x="1370183" y="488294"/>
                      <a:pt x="1362499" y="495978"/>
                      <a:pt x="1362499" y="505456"/>
                    </a:cubicBezTo>
                    <a:cubicBezTo>
                      <a:pt x="1362499" y="511461"/>
                      <a:pt x="1365584" y="516746"/>
                      <a:pt x="1370818" y="518954"/>
                    </a:cubicBezTo>
                    <a:lnTo>
                      <a:pt x="1370818" y="595879"/>
                    </a:lnTo>
                    <a:lnTo>
                      <a:pt x="1329057" y="595879"/>
                    </a:lnTo>
                    <a:lnTo>
                      <a:pt x="1329057" y="518955"/>
                    </a:lnTo>
                    <a:cubicBezTo>
                      <a:pt x="1334293" y="516746"/>
                      <a:pt x="1337378" y="511461"/>
                      <a:pt x="1337378" y="505456"/>
                    </a:cubicBezTo>
                    <a:cubicBezTo>
                      <a:pt x="1337378" y="495978"/>
                      <a:pt x="1329694" y="488294"/>
                      <a:pt x="1320217" y="488294"/>
                    </a:cubicBezTo>
                    <a:cubicBezTo>
                      <a:pt x="1310739" y="488294"/>
                      <a:pt x="1303055" y="495978"/>
                      <a:pt x="1303055" y="505456"/>
                    </a:cubicBezTo>
                    <a:cubicBezTo>
                      <a:pt x="1303055" y="511461"/>
                      <a:pt x="1306140" y="516746"/>
                      <a:pt x="1311374" y="518954"/>
                    </a:cubicBezTo>
                    <a:lnTo>
                      <a:pt x="1311374" y="595879"/>
                    </a:lnTo>
                    <a:lnTo>
                      <a:pt x="1269612" y="595879"/>
                    </a:lnTo>
                    <a:lnTo>
                      <a:pt x="1269612" y="518955"/>
                    </a:lnTo>
                    <a:cubicBezTo>
                      <a:pt x="1274848" y="516746"/>
                      <a:pt x="1277933" y="511461"/>
                      <a:pt x="1277933" y="505456"/>
                    </a:cubicBezTo>
                    <a:cubicBezTo>
                      <a:pt x="1277933" y="495978"/>
                      <a:pt x="1270249" y="488294"/>
                      <a:pt x="1260772" y="488294"/>
                    </a:cubicBezTo>
                    <a:cubicBezTo>
                      <a:pt x="1251294" y="488294"/>
                      <a:pt x="1243610" y="495978"/>
                      <a:pt x="1243610" y="505456"/>
                    </a:cubicBezTo>
                    <a:cubicBezTo>
                      <a:pt x="1243610" y="511461"/>
                      <a:pt x="1246695" y="516746"/>
                      <a:pt x="1251929" y="518954"/>
                    </a:cubicBezTo>
                    <a:lnTo>
                      <a:pt x="1251929" y="595879"/>
                    </a:lnTo>
                    <a:lnTo>
                      <a:pt x="1210168" y="595879"/>
                    </a:lnTo>
                    <a:lnTo>
                      <a:pt x="1210168" y="518955"/>
                    </a:lnTo>
                    <a:cubicBezTo>
                      <a:pt x="1215404" y="516746"/>
                      <a:pt x="1218489" y="511461"/>
                      <a:pt x="1218489" y="505456"/>
                    </a:cubicBezTo>
                    <a:cubicBezTo>
                      <a:pt x="1218489" y="495978"/>
                      <a:pt x="1210805" y="488294"/>
                      <a:pt x="1201328" y="488294"/>
                    </a:cubicBezTo>
                    <a:cubicBezTo>
                      <a:pt x="1191850" y="488294"/>
                      <a:pt x="1184166" y="495978"/>
                      <a:pt x="1184166" y="505456"/>
                    </a:cubicBezTo>
                    <a:cubicBezTo>
                      <a:pt x="1184166" y="511461"/>
                      <a:pt x="1187251" y="516746"/>
                      <a:pt x="1192485" y="518954"/>
                    </a:cubicBezTo>
                    <a:lnTo>
                      <a:pt x="1192485" y="595879"/>
                    </a:lnTo>
                    <a:lnTo>
                      <a:pt x="1150724" y="595879"/>
                    </a:lnTo>
                    <a:lnTo>
                      <a:pt x="1150724" y="518955"/>
                    </a:lnTo>
                    <a:cubicBezTo>
                      <a:pt x="1155960" y="516746"/>
                      <a:pt x="1159045" y="511461"/>
                      <a:pt x="1159045" y="505456"/>
                    </a:cubicBezTo>
                    <a:cubicBezTo>
                      <a:pt x="1159045" y="495978"/>
                      <a:pt x="1151361" y="488294"/>
                      <a:pt x="1141884" y="488294"/>
                    </a:cubicBezTo>
                    <a:close/>
                    <a:moveTo>
                      <a:pt x="1849531" y="408033"/>
                    </a:moveTo>
                    <a:lnTo>
                      <a:pt x="1849531" y="486376"/>
                    </a:lnTo>
                    <a:lnTo>
                      <a:pt x="1705703" y="486376"/>
                    </a:lnTo>
                    <a:cubicBezTo>
                      <a:pt x="1693078" y="486376"/>
                      <a:pt x="1682844" y="496611"/>
                      <a:pt x="1682843" y="509235"/>
                    </a:cubicBezTo>
                    <a:cubicBezTo>
                      <a:pt x="1682844" y="521860"/>
                      <a:pt x="1693078" y="532095"/>
                      <a:pt x="1705703" y="532095"/>
                    </a:cubicBezTo>
                    <a:lnTo>
                      <a:pt x="1849531" y="532096"/>
                    </a:lnTo>
                    <a:lnTo>
                      <a:pt x="1849531" y="622107"/>
                    </a:lnTo>
                    <a:lnTo>
                      <a:pt x="1705703" y="622107"/>
                    </a:lnTo>
                    <a:cubicBezTo>
                      <a:pt x="1693078" y="622107"/>
                      <a:pt x="1682844" y="632342"/>
                      <a:pt x="1682843" y="644967"/>
                    </a:cubicBezTo>
                    <a:cubicBezTo>
                      <a:pt x="1682844" y="657591"/>
                      <a:pt x="1693078" y="667826"/>
                      <a:pt x="1705703" y="667826"/>
                    </a:cubicBezTo>
                    <a:lnTo>
                      <a:pt x="1849531" y="667827"/>
                    </a:lnTo>
                    <a:lnTo>
                      <a:pt x="1849531" y="746170"/>
                    </a:lnTo>
                    <a:lnTo>
                      <a:pt x="1970974" y="746170"/>
                    </a:lnTo>
                    <a:lnTo>
                      <a:pt x="1970974" y="408033"/>
                    </a:lnTo>
                    <a:close/>
                    <a:moveTo>
                      <a:pt x="2506316" y="238621"/>
                    </a:moveTo>
                    <a:lnTo>
                      <a:pt x="2818700" y="238621"/>
                    </a:lnTo>
                    <a:lnTo>
                      <a:pt x="2818700" y="834215"/>
                    </a:lnTo>
                    <a:lnTo>
                      <a:pt x="2506316" y="834215"/>
                    </a:lnTo>
                    <a:close/>
                    <a:moveTo>
                      <a:pt x="3389027" y="238620"/>
                    </a:moveTo>
                    <a:lnTo>
                      <a:pt x="3701413" y="238620"/>
                    </a:lnTo>
                    <a:lnTo>
                      <a:pt x="3701413" y="834216"/>
                    </a:lnTo>
                    <a:lnTo>
                      <a:pt x="3389027" y="834216"/>
                    </a:lnTo>
                    <a:close/>
                    <a:moveTo>
                      <a:pt x="2456538" y="174281"/>
                    </a:moveTo>
                    <a:lnTo>
                      <a:pt x="2456538" y="247600"/>
                    </a:lnTo>
                    <a:lnTo>
                      <a:pt x="2376709" y="247600"/>
                    </a:lnTo>
                    <a:cubicBezTo>
                      <a:pt x="2373283" y="239479"/>
                      <a:pt x="2365084" y="234694"/>
                      <a:pt x="2355768" y="234694"/>
                    </a:cubicBezTo>
                    <a:cubicBezTo>
                      <a:pt x="2341065" y="234694"/>
                      <a:pt x="2329145" y="246614"/>
                      <a:pt x="2329145" y="261317"/>
                    </a:cubicBezTo>
                    <a:cubicBezTo>
                      <a:pt x="2329145" y="276020"/>
                      <a:pt x="2341065" y="287940"/>
                      <a:pt x="2355768" y="287940"/>
                    </a:cubicBezTo>
                    <a:cubicBezTo>
                      <a:pt x="2365085" y="287940"/>
                      <a:pt x="2373284" y="283154"/>
                      <a:pt x="2376710" y="275032"/>
                    </a:cubicBezTo>
                    <a:lnTo>
                      <a:pt x="2456538" y="275032"/>
                    </a:lnTo>
                    <a:lnTo>
                      <a:pt x="2456538" y="339818"/>
                    </a:lnTo>
                    <a:lnTo>
                      <a:pt x="2376709" y="339818"/>
                    </a:lnTo>
                    <a:cubicBezTo>
                      <a:pt x="2373283" y="331697"/>
                      <a:pt x="2365084" y="326912"/>
                      <a:pt x="2355768" y="326912"/>
                    </a:cubicBezTo>
                    <a:cubicBezTo>
                      <a:pt x="2341065" y="326912"/>
                      <a:pt x="2329145" y="338832"/>
                      <a:pt x="2329145" y="353535"/>
                    </a:cubicBezTo>
                    <a:cubicBezTo>
                      <a:pt x="2329145" y="368238"/>
                      <a:pt x="2341065" y="380158"/>
                      <a:pt x="2355768" y="380158"/>
                    </a:cubicBezTo>
                    <a:cubicBezTo>
                      <a:pt x="2365085" y="380158"/>
                      <a:pt x="2373284" y="375372"/>
                      <a:pt x="2376710" y="367250"/>
                    </a:cubicBezTo>
                    <a:lnTo>
                      <a:pt x="2456538" y="367250"/>
                    </a:lnTo>
                    <a:lnTo>
                      <a:pt x="2456538" y="432036"/>
                    </a:lnTo>
                    <a:lnTo>
                      <a:pt x="2376709" y="432036"/>
                    </a:lnTo>
                    <a:cubicBezTo>
                      <a:pt x="2373283" y="423915"/>
                      <a:pt x="2365084" y="419130"/>
                      <a:pt x="2355768" y="419130"/>
                    </a:cubicBezTo>
                    <a:cubicBezTo>
                      <a:pt x="2341065" y="419130"/>
                      <a:pt x="2329145" y="431050"/>
                      <a:pt x="2329145" y="445753"/>
                    </a:cubicBezTo>
                    <a:cubicBezTo>
                      <a:pt x="2329145" y="460456"/>
                      <a:pt x="2341065" y="472376"/>
                      <a:pt x="2355768" y="472376"/>
                    </a:cubicBezTo>
                    <a:cubicBezTo>
                      <a:pt x="2365085" y="472376"/>
                      <a:pt x="2373284" y="467590"/>
                      <a:pt x="2376710" y="459468"/>
                    </a:cubicBezTo>
                    <a:lnTo>
                      <a:pt x="2456538" y="459468"/>
                    </a:lnTo>
                    <a:lnTo>
                      <a:pt x="2456538" y="524254"/>
                    </a:lnTo>
                    <a:lnTo>
                      <a:pt x="2376709" y="524254"/>
                    </a:lnTo>
                    <a:cubicBezTo>
                      <a:pt x="2373283" y="516133"/>
                      <a:pt x="2365084" y="511348"/>
                      <a:pt x="2355768" y="511348"/>
                    </a:cubicBezTo>
                    <a:cubicBezTo>
                      <a:pt x="2341065" y="511348"/>
                      <a:pt x="2329145" y="523268"/>
                      <a:pt x="2329145" y="537971"/>
                    </a:cubicBezTo>
                    <a:cubicBezTo>
                      <a:pt x="2329145" y="552674"/>
                      <a:pt x="2341065" y="564594"/>
                      <a:pt x="2355768" y="564594"/>
                    </a:cubicBezTo>
                    <a:cubicBezTo>
                      <a:pt x="2365085" y="564594"/>
                      <a:pt x="2373284" y="559808"/>
                      <a:pt x="2376710" y="551686"/>
                    </a:cubicBezTo>
                    <a:lnTo>
                      <a:pt x="2456538" y="551686"/>
                    </a:lnTo>
                    <a:lnTo>
                      <a:pt x="2456538" y="616472"/>
                    </a:lnTo>
                    <a:lnTo>
                      <a:pt x="2376709" y="616472"/>
                    </a:lnTo>
                    <a:cubicBezTo>
                      <a:pt x="2373283" y="608351"/>
                      <a:pt x="2365084" y="603566"/>
                      <a:pt x="2355768" y="603566"/>
                    </a:cubicBezTo>
                    <a:cubicBezTo>
                      <a:pt x="2341065" y="603566"/>
                      <a:pt x="2329145" y="615486"/>
                      <a:pt x="2329145" y="630189"/>
                    </a:cubicBezTo>
                    <a:cubicBezTo>
                      <a:pt x="2329145" y="644892"/>
                      <a:pt x="2341065" y="656812"/>
                      <a:pt x="2355768" y="656812"/>
                    </a:cubicBezTo>
                    <a:cubicBezTo>
                      <a:pt x="2365085" y="656812"/>
                      <a:pt x="2373284" y="652026"/>
                      <a:pt x="2376710" y="643904"/>
                    </a:cubicBezTo>
                    <a:lnTo>
                      <a:pt x="2456538" y="643904"/>
                    </a:lnTo>
                    <a:lnTo>
                      <a:pt x="2456538" y="708690"/>
                    </a:lnTo>
                    <a:lnTo>
                      <a:pt x="2376709" y="708690"/>
                    </a:lnTo>
                    <a:cubicBezTo>
                      <a:pt x="2373283" y="700569"/>
                      <a:pt x="2365084" y="695784"/>
                      <a:pt x="2355768" y="695784"/>
                    </a:cubicBezTo>
                    <a:cubicBezTo>
                      <a:pt x="2341065" y="695784"/>
                      <a:pt x="2329145" y="707704"/>
                      <a:pt x="2329145" y="722407"/>
                    </a:cubicBezTo>
                    <a:cubicBezTo>
                      <a:pt x="2329145" y="737110"/>
                      <a:pt x="2341065" y="749030"/>
                      <a:pt x="2355768" y="749030"/>
                    </a:cubicBezTo>
                    <a:cubicBezTo>
                      <a:pt x="2365085" y="749030"/>
                      <a:pt x="2373284" y="744244"/>
                      <a:pt x="2376710" y="736122"/>
                    </a:cubicBezTo>
                    <a:lnTo>
                      <a:pt x="2456538" y="736122"/>
                    </a:lnTo>
                    <a:lnTo>
                      <a:pt x="2456538" y="800908"/>
                    </a:lnTo>
                    <a:lnTo>
                      <a:pt x="2376709" y="800908"/>
                    </a:lnTo>
                    <a:cubicBezTo>
                      <a:pt x="2373283" y="792787"/>
                      <a:pt x="2365084" y="788002"/>
                      <a:pt x="2355768" y="788002"/>
                    </a:cubicBezTo>
                    <a:cubicBezTo>
                      <a:pt x="2341065" y="788002"/>
                      <a:pt x="2329145" y="799922"/>
                      <a:pt x="2329145" y="814625"/>
                    </a:cubicBezTo>
                    <a:cubicBezTo>
                      <a:pt x="2329145" y="829328"/>
                      <a:pt x="2341065" y="841248"/>
                      <a:pt x="2355768" y="841248"/>
                    </a:cubicBezTo>
                    <a:cubicBezTo>
                      <a:pt x="2365085" y="841248"/>
                      <a:pt x="2373284" y="836462"/>
                      <a:pt x="2376710" y="828340"/>
                    </a:cubicBezTo>
                    <a:lnTo>
                      <a:pt x="2456538" y="828340"/>
                    </a:lnTo>
                    <a:lnTo>
                      <a:pt x="2456538" y="898557"/>
                    </a:lnTo>
                    <a:lnTo>
                      <a:pt x="2868471" y="898557"/>
                    </a:lnTo>
                    <a:lnTo>
                      <a:pt x="2868471" y="828340"/>
                    </a:lnTo>
                    <a:lnTo>
                      <a:pt x="2947551" y="828340"/>
                    </a:lnTo>
                    <a:cubicBezTo>
                      <a:pt x="2950977" y="836462"/>
                      <a:pt x="2959176" y="841248"/>
                      <a:pt x="2968493" y="841248"/>
                    </a:cubicBezTo>
                    <a:cubicBezTo>
                      <a:pt x="2983196" y="841248"/>
                      <a:pt x="2995116" y="829328"/>
                      <a:pt x="2995116" y="814625"/>
                    </a:cubicBezTo>
                    <a:cubicBezTo>
                      <a:pt x="2995116" y="799922"/>
                      <a:pt x="2983196" y="788002"/>
                      <a:pt x="2968493" y="788002"/>
                    </a:cubicBezTo>
                    <a:lnTo>
                      <a:pt x="2947552" y="800908"/>
                    </a:lnTo>
                    <a:lnTo>
                      <a:pt x="2868471" y="800908"/>
                    </a:lnTo>
                    <a:lnTo>
                      <a:pt x="2868471" y="736122"/>
                    </a:lnTo>
                    <a:lnTo>
                      <a:pt x="2947551" y="736122"/>
                    </a:lnTo>
                    <a:cubicBezTo>
                      <a:pt x="2950977" y="744244"/>
                      <a:pt x="2959176" y="749030"/>
                      <a:pt x="2968493" y="749030"/>
                    </a:cubicBezTo>
                    <a:cubicBezTo>
                      <a:pt x="2983196" y="749030"/>
                      <a:pt x="2995116" y="737110"/>
                      <a:pt x="2995116" y="722407"/>
                    </a:cubicBezTo>
                    <a:cubicBezTo>
                      <a:pt x="2995116" y="707704"/>
                      <a:pt x="2983196" y="695784"/>
                      <a:pt x="2968493" y="695784"/>
                    </a:cubicBezTo>
                    <a:lnTo>
                      <a:pt x="2947552" y="708690"/>
                    </a:lnTo>
                    <a:lnTo>
                      <a:pt x="2868471" y="708690"/>
                    </a:lnTo>
                    <a:lnTo>
                      <a:pt x="2868471" y="643904"/>
                    </a:lnTo>
                    <a:lnTo>
                      <a:pt x="2947551" y="643904"/>
                    </a:lnTo>
                    <a:cubicBezTo>
                      <a:pt x="2950977" y="652026"/>
                      <a:pt x="2959176" y="656812"/>
                      <a:pt x="2968493" y="656812"/>
                    </a:cubicBezTo>
                    <a:cubicBezTo>
                      <a:pt x="2983196" y="656812"/>
                      <a:pt x="2995116" y="644892"/>
                      <a:pt x="2995116" y="630189"/>
                    </a:cubicBezTo>
                    <a:cubicBezTo>
                      <a:pt x="2995116" y="615486"/>
                      <a:pt x="2983196" y="603566"/>
                      <a:pt x="2968493" y="603566"/>
                    </a:cubicBezTo>
                    <a:lnTo>
                      <a:pt x="2947552" y="616472"/>
                    </a:lnTo>
                    <a:lnTo>
                      <a:pt x="2868471" y="616472"/>
                    </a:lnTo>
                    <a:lnTo>
                      <a:pt x="2868471" y="551686"/>
                    </a:lnTo>
                    <a:lnTo>
                      <a:pt x="2947551" y="551686"/>
                    </a:lnTo>
                    <a:cubicBezTo>
                      <a:pt x="2950977" y="559808"/>
                      <a:pt x="2959176" y="564594"/>
                      <a:pt x="2968493" y="564594"/>
                    </a:cubicBezTo>
                    <a:cubicBezTo>
                      <a:pt x="2983196" y="564594"/>
                      <a:pt x="2995116" y="552674"/>
                      <a:pt x="2995116" y="537971"/>
                    </a:cubicBezTo>
                    <a:cubicBezTo>
                      <a:pt x="2995116" y="523268"/>
                      <a:pt x="2983196" y="511348"/>
                      <a:pt x="2968493" y="511348"/>
                    </a:cubicBezTo>
                    <a:lnTo>
                      <a:pt x="2947552" y="524254"/>
                    </a:lnTo>
                    <a:lnTo>
                      <a:pt x="2868471" y="524254"/>
                    </a:lnTo>
                    <a:lnTo>
                      <a:pt x="2868471" y="459468"/>
                    </a:lnTo>
                    <a:lnTo>
                      <a:pt x="2947551" y="459468"/>
                    </a:lnTo>
                    <a:cubicBezTo>
                      <a:pt x="2950977" y="467590"/>
                      <a:pt x="2959176" y="472376"/>
                      <a:pt x="2968493" y="472376"/>
                    </a:cubicBezTo>
                    <a:cubicBezTo>
                      <a:pt x="2983196" y="472376"/>
                      <a:pt x="2995116" y="460456"/>
                      <a:pt x="2995116" y="445753"/>
                    </a:cubicBezTo>
                    <a:cubicBezTo>
                      <a:pt x="2995116" y="431050"/>
                      <a:pt x="2983196" y="419130"/>
                      <a:pt x="2968493" y="419130"/>
                    </a:cubicBezTo>
                    <a:lnTo>
                      <a:pt x="2947552" y="432036"/>
                    </a:lnTo>
                    <a:lnTo>
                      <a:pt x="2868471" y="432036"/>
                    </a:lnTo>
                    <a:lnTo>
                      <a:pt x="2868471" y="367250"/>
                    </a:lnTo>
                    <a:lnTo>
                      <a:pt x="2947551" y="367250"/>
                    </a:lnTo>
                    <a:cubicBezTo>
                      <a:pt x="2950977" y="375372"/>
                      <a:pt x="2959176" y="380158"/>
                      <a:pt x="2968493" y="380158"/>
                    </a:cubicBezTo>
                    <a:cubicBezTo>
                      <a:pt x="2983196" y="380158"/>
                      <a:pt x="2995116" y="368238"/>
                      <a:pt x="2995116" y="353535"/>
                    </a:cubicBezTo>
                    <a:cubicBezTo>
                      <a:pt x="2995116" y="338832"/>
                      <a:pt x="2983196" y="326912"/>
                      <a:pt x="2968493" y="326912"/>
                    </a:cubicBezTo>
                    <a:lnTo>
                      <a:pt x="2947552" y="339818"/>
                    </a:lnTo>
                    <a:lnTo>
                      <a:pt x="2868471" y="339818"/>
                    </a:lnTo>
                    <a:lnTo>
                      <a:pt x="2868471" y="275032"/>
                    </a:lnTo>
                    <a:lnTo>
                      <a:pt x="2947551" y="275032"/>
                    </a:lnTo>
                    <a:cubicBezTo>
                      <a:pt x="2950977" y="283154"/>
                      <a:pt x="2959176" y="287940"/>
                      <a:pt x="2968493" y="287940"/>
                    </a:cubicBezTo>
                    <a:cubicBezTo>
                      <a:pt x="2983196" y="287940"/>
                      <a:pt x="2995116" y="276020"/>
                      <a:pt x="2995116" y="261317"/>
                    </a:cubicBezTo>
                    <a:cubicBezTo>
                      <a:pt x="2995116" y="246614"/>
                      <a:pt x="2983196" y="234694"/>
                      <a:pt x="2968493" y="234694"/>
                    </a:cubicBezTo>
                    <a:lnTo>
                      <a:pt x="2947552" y="247600"/>
                    </a:lnTo>
                    <a:lnTo>
                      <a:pt x="2868471" y="247600"/>
                    </a:lnTo>
                    <a:lnTo>
                      <a:pt x="2868471" y="174281"/>
                    </a:lnTo>
                    <a:close/>
                    <a:moveTo>
                      <a:pt x="3339251" y="174280"/>
                    </a:moveTo>
                    <a:lnTo>
                      <a:pt x="3339251" y="247599"/>
                    </a:lnTo>
                    <a:lnTo>
                      <a:pt x="3262534" y="247599"/>
                    </a:lnTo>
                    <a:cubicBezTo>
                      <a:pt x="3259108" y="239478"/>
                      <a:pt x="3250909" y="234693"/>
                      <a:pt x="3241593" y="234693"/>
                    </a:cubicBezTo>
                    <a:cubicBezTo>
                      <a:pt x="3226890" y="234693"/>
                      <a:pt x="3214970" y="246613"/>
                      <a:pt x="3214970" y="261316"/>
                    </a:cubicBezTo>
                    <a:cubicBezTo>
                      <a:pt x="3214970" y="276019"/>
                      <a:pt x="3226890" y="287939"/>
                      <a:pt x="3241593" y="287939"/>
                    </a:cubicBezTo>
                    <a:cubicBezTo>
                      <a:pt x="3250910" y="287939"/>
                      <a:pt x="3259109" y="283153"/>
                      <a:pt x="3262535" y="275031"/>
                    </a:cubicBezTo>
                    <a:lnTo>
                      <a:pt x="3339251" y="275031"/>
                    </a:lnTo>
                    <a:lnTo>
                      <a:pt x="3339251" y="339817"/>
                    </a:lnTo>
                    <a:lnTo>
                      <a:pt x="3262534" y="339817"/>
                    </a:lnTo>
                    <a:cubicBezTo>
                      <a:pt x="3259108" y="331696"/>
                      <a:pt x="3250909" y="326911"/>
                      <a:pt x="3241593" y="326911"/>
                    </a:cubicBezTo>
                    <a:cubicBezTo>
                      <a:pt x="3226890" y="326911"/>
                      <a:pt x="3214970" y="338831"/>
                      <a:pt x="3214970" y="353534"/>
                    </a:cubicBezTo>
                    <a:cubicBezTo>
                      <a:pt x="3214970" y="368237"/>
                      <a:pt x="3226890" y="380157"/>
                      <a:pt x="3241593" y="380157"/>
                    </a:cubicBezTo>
                    <a:cubicBezTo>
                      <a:pt x="3250910" y="380157"/>
                      <a:pt x="3259109" y="375371"/>
                      <a:pt x="3262535" y="367249"/>
                    </a:cubicBezTo>
                    <a:lnTo>
                      <a:pt x="3339251" y="367249"/>
                    </a:lnTo>
                    <a:lnTo>
                      <a:pt x="3339251" y="432035"/>
                    </a:lnTo>
                    <a:lnTo>
                      <a:pt x="3262534" y="432035"/>
                    </a:lnTo>
                    <a:cubicBezTo>
                      <a:pt x="3259108" y="423914"/>
                      <a:pt x="3250909" y="419129"/>
                      <a:pt x="3241593" y="419129"/>
                    </a:cubicBezTo>
                    <a:cubicBezTo>
                      <a:pt x="3226890" y="419129"/>
                      <a:pt x="3214970" y="431049"/>
                      <a:pt x="3214970" y="445752"/>
                    </a:cubicBezTo>
                    <a:cubicBezTo>
                      <a:pt x="3214970" y="460455"/>
                      <a:pt x="3226890" y="472375"/>
                      <a:pt x="3241593" y="472375"/>
                    </a:cubicBezTo>
                    <a:cubicBezTo>
                      <a:pt x="3250910" y="472375"/>
                      <a:pt x="3259109" y="467589"/>
                      <a:pt x="3262535" y="459467"/>
                    </a:cubicBezTo>
                    <a:lnTo>
                      <a:pt x="3339251" y="459467"/>
                    </a:lnTo>
                    <a:lnTo>
                      <a:pt x="3339251" y="524253"/>
                    </a:lnTo>
                    <a:lnTo>
                      <a:pt x="3262534" y="524253"/>
                    </a:lnTo>
                    <a:cubicBezTo>
                      <a:pt x="3259108" y="516132"/>
                      <a:pt x="3250909" y="511347"/>
                      <a:pt x="3241593" y="511347"/>
                    </a:cubicBezTo>
                    <a:cubicBezTo>
                      <a:pt x="3226890" y="511347"/>
                      <a:pt x="3214970" y="523267"/>
                      <a:pt x="3214970" y="537970"/>
                    </a:cubicBezTo>
                    <a:cubicBezTo>
                      <a:pt x="3214970" y="552673"/>
                      <a:pt x="3226890" y="564593"/>
                      <a:pt x="3241593" y="564593"/>
                    </a:cubicBezTo>
                    <a:cubicBezTo>
                      <a:pt x="3250910" y="564593"/>
                      <a:pt x="3259109" y="559807"/>
                      <a:pt x="3262535" y="551685"/>
                    </a:cubicBezTo>
                    <a:lnTo>
                      <a:pt x="3339251" y="551685"/>
                    </a:lnTo>
                    <a:lnTo>
                      <a:pt x="3339251" y="616471"/>
                    </a:lnTo>
                    <a:lnTo>
                      <a:pt x="3262534" y="616471"/>
                    </a:lnTo>
                    <a:cubicBezTo>
                      <a:pt x="3259108" y="608350"/>
                      <a:pt x="3250909" y="603565"/>
                      <a:pt x="3241593" y="603565"/>
                    </a:cubicBezTo>
                    <a:cubicBezTo>
                      <a:pt x="3226890" y="603565"/>
                      <a:pt x="3214970" y="615485"/>
                      <a:pt x="3214970" y="630188"/>
                    </a:cubicBezTo>
                    <a:cubicBezTo>
                      <a:pt x="3214970" y="644891"/>
                      <a:pt x="3226890" y="656811"/>
                      <a:pt x="3241593" y="656811"/>
                    </a:cubicBezTo>
                    <a:cubicBezTo>
                      <a:pt x="3250910" y="656811"/>
                      <a:pt x="3259109" y="652025"/>
                      <a:pt x="3262535" y="643903"/>
                    </a:cubicBezTo>
                    <a:lnTo>
                      <a:pt x="3339251" y="643903"/>
                    </a:lnTo>
                    <a:lnTo>
                      <a:pt x="3339251" y="708689"/>
                    </a:lnTo>
                    <a:lnTo>
                      <a:pt x="3262534" y="708689"/>
                    </a:lnTo>
                    <a:cubicBezTo>
                      <a:pt x="3259108" y="700568"/>
                      <a:pt x="3250909" y="695783"/>
                      <a:pt x="3241593" y="695783"/>
                    </a:cubicBezTo>
                    <a:cubicBezTo>
                      <a:pt x="3226890" y="695783"/>
                      <a:pt x="3214970" y="707703"/>
                      <a:pt x="3214970" y="722406"/>
                    </a:cubicBezTo>
                    <a:cubicBezTo>
                      <a:pt x="3214970" y="737109"/>
                      <a:pt x="3226890" y="749029"/>
                      <a:pt x="3241593" y="749029"/>
                    </a:cubicBezTo>
                    <a:cubicBezTo>
                      <a:pt x="3250910" y="749029"/>
                      <a:pt x="3259109" y="744243"/>
                      <a:pt x="3262535" y="736121"/>
                    </a:cubicBezTo>
                    <a:lnTo>
                      <a:pt x="3339251" y="736121"/>
                    </a:lnTo>
                    <a:lnTo>
                      <a:pt x="3339251" y="800907"/>
                    </a:lnTo>
                    <a:lnTo>
                      <a:pt x="3262534" y="800907"/>
                    </a:lnTo>
                    <a:cubicBezTo>
                      <a:pt x="3259108" y="792786"/>
                      <a:pt x="3250909" y="788001"/>
                      <a:pt x="3241593" y="788001"/>
                    </a:cubicBezTo>
                    <a:cubicBezTo>
                      <a:pt x="3226890" y="788001"/>
                      <a:pt x="3214970" y="799921"/>
                      <a:pt x="3214970" y="814624"/>
                    </a:cubicBezTo>
                    <a:cubicBezTo>
                      <a:pt x="3214970" y="829327"/>
                      <a:pt x="3226890" y="841247"/>
                      <a:pt x="3241593" y="841247"/>
                    </a:cubicBezTo>
                    <a:cubicBezTo>
                      <a:pt x="3250910" y="841247"/>
                      <a:pt x="3259109" y="836461"/>
                      <a:pt x="3262535" y="828339"/>
                    </a:cubicBezTo>
                    <a:lnTo>
                      <a:pt x="3339251" y="828339"/>
                    </a:lnTo>
                    <a:lnTo>
                      <a:pt x="3339251" y="898556"/>
                    </a:lnTo>
                    <a:lnTo>
                      <a:pt x="3751184" y="898556"/>
                    </a:lnTo>
                    <a:lnTo>
                      <a:pt x="3751184" y="828339"/>
                    </a:lnTo>
                    <a:lnTo>
                      <a:pt x="3833376" y="828339"/>
                    </a:lnTo>
                    <a:cubicBezTo>
                      <a:pt x="3836802" y="836461"/>
                      <a:pt x="3845001" y="841247"/>
                      <a:pt x="3854318" y="841247"/>
                    </a:cubicBezTo>
                    <a:cubicBezTo>
                      <a:pt x="3869021" y="841247"/>
                      <a:pt x="3880941" y="829327"/>
                      <a:pt x="3880941" y="814624"/>
                    </a:cubicBezTo>
                    <a:cubicBezTo>
                      <a:pt x="3880941" y="799921"/>
                      <a:pt x="3869021" y="788001"/>
                      <a:pt x="3854318" y="788001"/>
                    </a:cubicBezTo>
                    <a:lnTo>
                      <a:pt x="3833377" y="800907"/>
                    </a:lnTo>
                    <a:lnTo>
                      <a:pt x="3751184" y="800907"/>
                    </a:lnTo>
                    <a:lnTo>
                      <a:pt x="3751184" y="736121"/>
                    </a:lnTo>
                    <a:lnTo>
                      <a:pt x="3833376" y="736121"/>
                    </a:lnTo>
                    <a:cubicBezTo>
                      <a:pt x="3836802" y="744243"/>
                      <a:pt x="3845001" y="749029"/>
                      <a:pt x="3854318" y="749029"/>
                    </a:cubicBezTo>
                    <a:cubicBezTo>
                      <a:pt x="3869021" y="749029"/>
                      <a:pt x="3880941" y="737109"/>
                      <a:pt x="3880941" y="722406"/>
                    </a:cubicBezTo>
                    <a:cubicBezTo>
                      <a:pt x="3880941" y="707703"/>
                      <a:pt x="3869021" y="695783"/>
                      <a:pt x="3854318" y="695783"/>
                    </a:cubicBezTo>
                    <a:lnTo>
                      <a:pt x="3833377" y="708689"/>
                    </a:lnTo>
                    <a:lnTo>
                      <a:pt x="3751184" y="708689"/>
                    </a:lnTo>
                    <a:lnTo>
                      <a:pt x="3751184" y="643903"/>
                    </a:lnTo>
                    <a:lnTo>
                      <a:pt x="3833376" y="643903"/>
                    </a:lnTo>
                    <a:cubicBezTo>
                      <a:pt x="3836802" y="652025"/>
                      <a:pt x="3845001" y="656811"/>
                      <a:pt x="3854318" y="656811"/>
                    </a:cubicBezTo>
                    <a:cubicBezTo>
                      <a:pt x="3869021" y="656811"/>
                      <a:pt x="3880941" y="644891"/>
                      <a:pt x="3880941" y="630188"/>
                    </a:cubicBezTo>
                    <a:cubicBezTo>
                      <a:pt x="3880941" y="615485"/>
                      <a:pt x="3869021" y="603565"/>
                      <a:pt x="3854318" y="603565"/>
                    </a:cubicBezTo>
                    <a:lnTo>
                      <a:pt x="3833377" y="616471"/>
                    </a:lnTo>
                    <a:lnTo>
                      <a:pt x="3751184" y="616471"/>
                    </a:lnTo>
                    <a:lnTo>
                      <a:pt x="3751184" y="551685"/>
                    </a:lnTo>
                    <a:lnTo>
                      <a:pt x="3833376" y="551685"/>
                    </a:lnTo>
                    <a:cubicBezTo>
                      <a:pt x="3836802" y="559807"/>
                      <a:pt x="3845001" y="564593"/>
                      <a:pt x="3854318" y="564593"/>
                    </a:cubicBezTo>
                    <a:cubicBezTo>
                      <a:pt x="3869021" y="564593"/>
                      <a:pt x="3880941" y="552673"/>
                      <a:pt x="3880941" y="537970"/>
                    </a:cubicBezTo>
                    <a:cubicBezTo>
                      <a:pt x="3880941" y="523267"/>
                      <a:pt x="3869021" y="511347"/>
                      <a:pt x="3854318" y="511347"/>
                    </a:cubicBezTo>
                    <a:lnTo>
                      <a:pt x="3833377" y="524253"/>
                    </a:lnTo>
                    <a:lnTo>
                      <a:pt x="3751184" y="524253"/>
                    </a:lnTo>
                    <a:lnTo>
                      <a:pt x="3751184" y="459467"/>
                    </a:lnTo>
                    <a:lnTo>
                      <a:pt x="3833376" y="459467"/>
                    </a:lnTo>
                    <a:cubicBezTo>
                      <a:pt x="3836802" y="467589"/>
                      <a:pt x="3845001" y="472375"/>
                      <a:pt x="3854318" y="472375"/>
                    </a:cubicBezTo>
                    <a:cubicBezTo>
                      <a:pt x="3869021" y="472375"/>
                      <a:pt x="3880941" y="460455"/>
                      <a:pt x="3880941" y="445752"/>
                    </a:cubicBezTo>
                    <a:cubicBezTo>
                      <a:pt x="3880941" y="431049"/>
                      <a:pt x="3869021" y="419129"/>
                      <a:pt x="3854318" y="419129"/>
                    </a:cubicBezTo>
                    <a:lnTo>
                      <a:pt x="3833377" y="432035"/>
                    </a:lnTo>
                    <a:lnTo>
                      <a:pt x="3751184" y="432035"/>
                    </a:lnTo>
                    <a:lnTo>
                      <a:pt x="3751184" y="367249"/>
                    </a:lnTo>
                    <a:lnTo>
                      <a:pt x="3833376" y="367249"/>
                    </a:lnTo>
                    <a:cubicBezTo>
                      <a:pt x="3836802" y="375371"/>
                      <a:pt x="3845001" y="380157"/>
                      <a:pt x="3854318" y="380157"/>
                    </a:cubicBezTo>
                    <a:cubicBezTo>
                      <a:pt x="3869021" y="380157"/>
                      <a:pt x="3880941" y="368237"/>
                      <a:pt x="3880941" y="353534"/>
                    </a:cubicBezTo>
                    <a:cubicBezTo>
                      <a:pt x="3880941" y="338831"/>
                      <a:pt x="3869021" y="326911"/>
                      <a:pt x="3854318" y="326911"/>
                    </a:cubicBezTo>
                    <a:lnTo>
                      <a:pt x="3833377" y="339817"/>
                    </a:lnTo>
                    <a:lnTo>
                      <a:pt x="3751184" y="339817"/>
                    </a:lnTo>
                    <a:lnTo>
                      <a:pt x="3751184" y="275031"/>
                    </a:lnTo>
                    <a:lnTo>
                      <a:pt x="3833376" y="275031"/>
                    </a:lnTo>
                    <a:cubicBezTo>
                      <a:pt x="3836802" y="283153"/>
                      <a:pt x="3845001" y="287939"/>
                      <a:pt x="3854318" y="287939"/>
                    </a:cubicBezTo>
                    <a:cubicBezTo>
                      <a:pt x="3869021" y="287939"/>
                      <a:pt x="3880941" y="276019"/>
                      <a:pt x="3880941" y="261316"/>
                    </a:cubicBezTo>
                    <a:cubicBezTo>
                      <a:pt x="3880941" y="246613"/>
                      <a:pt x="3869021" y="234693"/>
                      <a:pt x="3854318" y="234693"/>
                    </a:cubicBezTo>
                    <a:lnTo>
                      <a:pt x="3833377" y="247599"/>
                    </a:lnTo>
                    <a:lnTo>
                      <a:pt x="3751184" y="247599"/>
                    </a:lnTo>
                    <a:lnTo>
                      <a:pt x="3751184" y="174280"/>
                    </a:lnTo>
                    <a:close/>
                    <a:moveTo>
                      <a:pt x="4850287" y="156828"/>
                    </a:moveTo>
                    <a:lnTo>
                      <a:pt x="4850287" y="2333100"/>
                    </a:lnTo>
                    <a:lnTo>
                      <a:pt x="4868575" y="2333100"/>
                    </a:lnTo>
                    <a:lnTo>
                      <a:pt x="4868575" y="156828"/>
                    </a:lnTo>
                    <a:close/>
                    <a:moveTo>
                      <a:pt x="974183" y="123869"/>
                    </a:moveTo>
                    <a:cubicBezTo>
                      <a:pt x="1054905" y="123869"/>
                      <a:pt x="1120344" y="189307"/>
                      <a:pt x="1120344" y="270028"/>
                    </a:cubicBezTo>
                    <a:cubicBezTo>
                      <a:pt x="1120344" y="350749"/>
                      <a:pt x="1054905" y="416188"/>
                      <a:pt x="974183" y="416188"/>
                    </a:cubicBezTo>
                    <a:cubicBezTo>
                      <a:pt x="893461" y="416188"/>
                      <a:pt x="828023" y="350749"/>
                      <a:pt x="828023" y="270028"/>
                    </a:cubicBezTo>
                    <a:cubicBezTo>
                      <a:pt x="828023" y="189307"/>
                      <a:pt x="893461" y="123869"/>
                      <a:pt x="974183" y="123869"/>
                    </a:cubicBezTo>
                    <a:close/>
                    <a:moveTo>
                      <a:pt x="3905343" y="80215"/>
                    </a:moveTo>
                    <a:lnTo>
                      <a:pt x="3905343" y="98503"/>
                    </a:lnTo>
                    <a:lnTo>
                      <a:pt x="4775293" y="98503"/>
                    </a:lnTo>
                    <a:lnTo>
                      <a:pt x="4775293" y="80215"/>
                    </a:lnTo>
                    <a:close/>
                    <a:moveTo>
                      <a:pt x="3611121" y="64790"/>
                    </a:moveTo>
                    <a:lnTo>
                      <a:pt x="3611121" y="133846"/>
                    </a:lnTo>
                    <a:lnTo>
                      <a:pt x="3715254" y="133846"/>
                    </a:lnTo>
                    <a:lnTo>
                      <a:pt x="3715254" y="64790"/>
                    </a:lnTo>
                    <a:close/>
                    <a:moveTo>
                      <a:pt x="3361090" y="64790"/>
                    </a:moveTo>
                    <a:lnTo>
                      <a:pt x="3361090" y="133846"/>
                    </a:lnTo>
                    <a:lnTo>
                      <a:pt x="3465223" y="133846"/>
                    </a:lnTo>
                    <a:lnTo>
                      <a:pt x="3465223" y="64790"/>
                    </a:lnTo>
                    <a:close/>
                    <a:moveTo>
                      <a:pt x="2727677" y="64790"/>
                    </a:moveTo>
                    <a:lnTo>
                      <a:pt x="2727677" y="133846"/>
                    </a:lnTo>
                    <a:lnTo>
                      <a:pt x="2831810" y="133846"/>
                    </a:lnTo>
                    <a:lnTo>
                      <a:pt x="2831810" y="64790"/>
                    </a:lnTo>
                    <a:close/>
                    <a:moveTo>
                      <a:pt x="2477646" y="64790"/>
                    </a:moveTo>
                    <a:lnTo>
                      <a:pt x="2477646" y="133846"/>
                    </a:lnTo>
                    <a:lnTo>
                      <a:pt x="2581779" y="133846"/>
                    </a:lnTo>
                    <a:lnTo>
                      <a:pt x="2581779" y="64790"/>
                    </a:lnTo>
                    <a:close/>
                    <a:moveTo>
                      <a:pt x="974183" y="53580"/>
                    </a:moveTo>
                    <a:cubicBezTo>
                      <a:pt x="854642" y="53580"/>
                      <a:pt x="757735" y="150487"/>
                      <a:pt x="757735" y="270028"/>
                    </a:cubicBezTo>
                    <a:cubicBezTo>
                      <a:pt x="757735" y="389569"/>
                      <a:pt x="854642" y="486476"/>
                      <a:pt x="974183" y="486476"/>
                    </a:cubicBezTo>
                    <a:cubicBezTo>
                      <a:pt x="1093724" y="486476"/>
                      <a:pt x="1190631" y="389569"/>
                      <a:pt x="1190631" y="270028"/>
                    </a:cubicBezTo>
                    <a:cubicBezTo>
                      <a:pt x="1190631" y="150487"/>
                      <a:pt x="1093724" y="53580"/>
                      <a:pt x="974183" y="53580"/>
                    </a:cubicBezTo>
                    <a:close/>
                    <a:moveTo>
                      <a:pt x="4857050" y="40978"/>
                    </a:moveTo>
                    <a:cubicBezTo>
                      <a:pt x="4832062" y="40978"/>
                      <a:pt x="4811806" y="61234"/>
                      <a:pt x="4811806" y="86222"/>
                    </a:cubicBezTo>
                    <a:cubicBezTo>
                      <a:pt x="4811806" y="111210"/>
                      <a:pt x="4832062" y="131466"/>
                      <a:pt x="4857050" y="131466"/>
                    </a:cubicBezTo>
                    <a:cubicBezTo>
                      <a:pt x="4882038" y="131466"/>
                      <a:pt x="4902294" y="111210"/>
                      <a:pt x="4902294" y="86222"/>
                    </a:cubicBezTo>
                    <a:cubicBezTo>
                      <a:pt x="4902294" y="61234"/>
                      <a:pt x="4882038" y="40978"/>
                      <a:pt x="4857050" y="40978"/>
                    </a:cubicBezTo>
                    <a:close/>
                    <a:moveTo>
                      <a:pt x="2218625" y="40978"/>
                    </a:moveTo>
                    <a:cubicBezTo>
                      <a:pt x="2193637" y="40978"/>
                      <a:pt x="2173381" y="61234"/>
                      <a:pt x="2173381" y="86222"/>
                    </a:cubicBezTo>
                    <a:cubicBezTo>
                      <a:pt x="2173381" y="111210"/>
                      <a:pt x="2193637" y="131466"/>
                      <a:pt x="2218625" y="131466"/>
                    </a:cubicBezTo>
                    <a:cubicBezTo>
                      <a:pt x="2243613" y="131466"/>
                      <a:pt x="2263869" y="111210"/>
                      <a:pt x="2263869" y="86222"/>
                    </a:cubicBezTo>
                    <a:cubicBezTo>
                      <a:pt x="2263869" y="61234"/>
                      <a:pt x="2243613" y="40978"/>
                      <a:pt x="2218625" y="40978"/>
                    </a:cubicBezTo>
                    <a:close/>
                    <a:moveTo>
                      <a:pt x="461263" y="40978"/>
                    </a:moveTo>
                    <a:cubicBezTo>
                      <a:pt x="436275" y="40978"/>
                      <a:pt x="416019" y="61234"/>
                      <a:pt x="416019" y="86222"/>
                    </a:cubicBezTo>
                    <a:cubicBezTo>
                      <a:pt x="416019" y="111210"/>
                      <a:pt x="436275" y="131466"/>
                      <a:pt x="461263" y="131466"/>
                    </a:cubicBezTo>
                    <a:cubicBezTo>
                      <a:pt x="486251" y="131466"/>
                      <a:pt x="506507" y="111210"/>
                      <a:pt x="506507" y="86222"/>
                    </a:cubicBezTo>
                    <a:cubicBezTo>
                      <a:pt x="506507" y="61234"/>
                      <a:pt x="486251" y="40978"/>
                      <a:pt x="461263" y="40978"/>
                    </a:cubicBezTo>
                    <a:close/>
                    <a:moveTo>
                      <a:pt x="354812" y="0"/>
                    </a:moveTo>
                    <a:lnTo>
                      <a:pt x="4955293" y="0"/>
                    </a:lnTo>
                    <a:lnTo>
                      <a:pt x="4955293" y="2507810"/>
                    </a:lnTo>
                    <a:lnTo>
                      <a:pt x="648287" y="2507810"/>
                    </a:lnTo>
                    <a:cubicBezTo>
                      <a:pt x="657427" y="2498921"/>
                      <a:pt x="663002" y="2483533"/>
                      <a:pt x="663002" y="2466147"/>
                    </a:cubicBezTo>
                    <a:lnTo>
                      <a:pt x="663002" y="2105193"/>
                    </a:lnTo>
                    <a:cubicBezTo>
                      <a:pt x="663002" y="2076529"/>
                      <a:pt x="647849" y="2053292"/>
                      <a:pt x="629156" y="2053292"/>
                    </a:cubicBezTo>
                    <a:lnTo>
                      <a:pt x="354812" y="2053292"/>
                    </a:lnTo>
                    <a:lnTo>
                      <a:pt x="354812" y="1999958"/>
                    </a:lnTo>
                    <a:lnTo>
                      <a:pt x="501414" y="1999958"/>
                    </a:lnTo>
                    <a:cubicBezTo>
                      <a:pt x="510042" y="1999958"/>
                      <a:pt x="517037" y="1992963"/>
                      <a:pt x="517037" y="1984335"/>
                    </a:cubicBezTo>
                    <a:lnTo>
                      <a:pt x="517037" y="1921846"/>
                    </a:lnTo>
                    <a:cubicBezTo>
                      <a:pt x="517037" y="1913218"/>
                      <a:pt x="510042" y="1906223"/>
                      <a:pt x="501414" y="1906223"/>
                    </a:cubicBezTo>
                    <a:lnTo>
                      <a:pt x="354812" y="1906223"/>
                    </a:lnTo>
                    <a:lnTo>
                      <a:pt x="354812" y="1676177"/>
                    </a:lnTo>
                    <a:lnTo>
                      <a:pt x="1371693" y="1676177"/>
                    </a:lnTo>
                    <a:lnTo>
                      <a:pt x="1371693" y="1788758"/>
                    </a:lnTo>
                    <a:lnTo>
                      <a:pt x="354813" y="1786456"/>
                    </a:lnTo>
                    <a:lnTo>
                      <a:pt x="354813" y="1843584"/>
                    </a:lnTo>
                    <a:lnTo>
                      <a:pt x="647793" y="1843584"/>
                    </a:lnTo>
                    <a:lnTo>
                      <a:pt x="647793" y="1973075"/>
                    </a:lnTo>
                    <a:lnTo>
                      <a:pt x="647793" y="1976976"/>
                    </a:lnTo>
                    <a:lnTo>
                      <a:pt x="647793" y="1991363"/>
                    </a:lnTo>
                    <a:lnTo>
                      <a:pt x="1351872" y="1991363"/>
                    </a:lnTo>
                    <a:lnTo>
                      <a:pt x="1351872" y="2263367"/>
                    </a:lnTo>
                    <a:lnTo>
                      <a:pt x="2040078" y="2263367"/>
                    </a:lnTo>
                    <a:lnTo>
                      <a:pt x="2040078" y="1158844"/>
                    </a:lnTo>
                    <a:lnTo>
                      <a:pt x="354813" y="1158844"/>
                    </a:lnTo>
                    <a:lnTo>
                      <a:pt x="354813" y="1202230"/>
                    </a:lnTo>
                    <a:lnTo>
                      <a:pt x="1997167" y="1199852"/>
                    </a:lnTo>
                    <a:lnTo>
                      <a:pt x="1997167" y="2211090"/>
                    </a:lnTo>
                    <a:lnTo>
                      <a:pt x="1400268" y="2211090"/>
                    </a:lnTo>
                    <a:lnTo>
                      <a:pt x="1400268" y="1642764"/>
                    </a:lnTo>
                    <a:lnTo>
                      <a:pt x="354812" y="1642764"/>
                    </a:lnTo>
                    <a:close/>
                    <a:moveTo>
                      <a:pt x="0" y="0"/>
                    </a:moveTo>
                    <a:lnTo>
                      <a:pt x="236050" y="0"/>
                    </a:lnTo>
                    <a:lnTo>
                      <a:pt x="273861" y="0"/>
                    </a:lnTo>
                    <a:lnTo>
                      <a:pt x="311673" y="0"/>
                    </a:lnTo>
                    <a:lnTo>
                      <a:pt x="311673" y="3065164"/>
                    </a:lnTo>
                    <a:lnTo>
                      <a:pt x="236050" y="3065164"/>
                    </a:lnTo>
                    <a:lnTo>
                      <a:pt x="236050" y="87014"/>
                    </a:lnTo>
                    <a:lnTo>
                      <a:pt x="0" y="87014"/>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bg1"/>
                  </a:solidFill>
                </a:endParaRPr>
              </a:p>
            </p:txBody>
          </p:sp>
          <p:sp>
            <p:nvSpPr>
              <p:cNvPr id="63" name="Freeform 62"/>
              <p:cNvSpPr>
                <a:spLocks noChangeAspect="1" noEditPoints="1"/>
              </p:cNvSpPr>
              <p:nvPr/>
            </p:nvSpPr>
            <p:spPr bwMode="black">
              <a:xfrm>
                <a:off x="1148727" y="3124525"/>
                <a:ext cx="586427" cy="447783"/>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rgbClr val="FFFFFF"/>
              </a:solidFill>
              <a:extLst/>
            </p:spPr>
            <p:txBody>
              <a:bodyPr vert="horz" wrap="square" lIns="91427" tIns="45713" rIns="91427" bIns="45713"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705">
                  <a:defRPr/>
                </a:pPr>
                <a:endParaRPr lang="en-US" sz="2300" kern="0">
                  <a:ln>
                    <a:solidFill>
                      <a:schemeClr val="tx1">
                        <a:alpha val="0"/>
                      </a:schemeClr>
                    </a:solidFill>
                  </a:ln>
                  <a:solidFill>
                    <a:srgbClr val="000000"/>
                  </a:solidFill>
                </a:endParaRPr>
              </a:p>
            </p:txBody>
          </p:sp>
          <p:sp>
            <p:nvSpPr>
              <p:cNvPr id="64" name="Round Same Side Corner Rectangle 2"/>
              <p:cNvSpPr/>
              <p:nvPr>
                <p:custDataLst>
                  <p:tags r:id="rId5"/>
                </p:custDataLst>
              </p:nvPr>
            </p:nvSpPr>
            <p:spPr>
              <a:xfrm>
                <a:off x="7160501" y="1560108"/>
                <a:ext cx="361389" cy="732677"/>
              </a:xfrm>
              <a:custGeom>
                <a:avLst/>
                <a:gdLst/>
                <a:ahLst/>
                <a:cxnLst/>
                <a:rect l="l" t="t" r="r" b="b"/>
                <a:pathLst>
                  <a:path w="1479550" h="2999631">
                    <a:moveTo>
                      <a:pt x="739775" y="2723722"/>
                    </a:moveTo>
                    <a:cubicBezTo>
                      <a:pt x="701170" y="2723722"/>
                      <a:pt x="669874" y="2755018"/>
                      <a:pt x="669874" y="2793623"/>
                    </a:cubicBezTo>
                    <a:cubicBezTo>
                      <a:pt x="669874" y="2832228"/>
                      <a:pt x="701170" y="2863524"/>
                      <a:pt x="739775" y="2863524"/>
                    </a:cubicBezTo>
                    <a:cubicBezTo>
                      <a:pt x="778380" y="2863524"/>
                      <a:pt x="809676" y="2832228"/>
                      <a:pt x="809676" y="2793623"/>
                    </a:cubicBezTo>
                    <a:cubicBezTo>
                      <a:pt x="809676" y="2755018"/>
                      <a:pt x="778380" y="2723722"/>
                      <a:pt x="739775" y="2723722"/>
                    </a:cubicBezTo>
                    <a:close/>
                    <a:moveTo>
                      <a:pt x="201613" y="1629933"/>
                    </a:moveTo>
                    <a:lnTo>
                      <a:pt x="1123848" y="1629933"/>
                    </a:lnTo>
                    <a:lnTo>
                      <a:pt x="1123848" y="2058558"/>
                    </a:lnTo>
                    <a:lnTo>
                      <a:pt x="201613" y="2058558"/>
                    </a:lnTo>
                    <a:close/>
                    <a:moveTo>
                      <a:pt x="685698" y="1155271"/>
                    </a:moveTo>
                    <a:lnTo>
                      <a:pt x="1123848" y="1155271"/>
                    </a:lnTo>
                    <a:lnTo>
                      <a:pt x="1123848" y="1583896"/>
                    </a:lnTo>
                    <a:lnTo>
                      <a:pt x="685698" y="1583896"/>
                    </a:lnTo>
                    <a:close/>
                    <a:moveTo>
                      <a:pt x="201613" y="1155271"/>
                    </a:moveTo>
                    <a:lnTo>
                      <a:pt x="639763" y="1155271"/>
                    </a:lnTo>
                    <a:lnTo>
                      <a:pt x="639763" y="1583896"/>
                    </a:lnTo>
                    <a:lnTo>
                      <a:pt x="201613" y="1583896"/>
                    </a:lnTo>
                    <a:close/>
                    <a:moveTo>
                      <a:pt x="685698" y="680609"/>
                    </a:moveTo>
                    <a:lnTo>
                      <a:pt x="1123848" y="680609"/>
                    </a:lnTo>
                    <a:lnTo>
                      <a:pt x="1123848" y="1109234"/>
                    </a:lnTo>
                    <a:lnTo>
                      <a:pt x="685698" y="1109234"/>
                    </a:lnTo>
                    <a:close/>
                    <a:moveTo>
                      <a:pt x="201613" y="680609"/>
                    </a:moveTo>
                    <a:lnTo>
                      <a:pt x="639763" y="680609"/>
                    </a:lnTo>
                    <a:lnTo>
                      <a:pt x="639763" y="1109234"/>
                    </a:lnTo>
                    <a:lnTo>
                      <a:pt x="201613" y="1109234"/>
                    </a:lnTo>
                    <a:close/>
                    <a:moveTo>
                      <a:pt x="154163" y="413909"/>
                    </a:moveTo>
                    <a:lnTo>
                      <a:pt x="154163" y="2528459"/>
                    </a:lnTo>
                    <a:lnTo>
                      <a:pt x="201613" y="2528459"/>
                    </a:lnTo>
                    <a:lnTo>
                      <a:pt x="201613" y="2104596"/>
                    </a:lnTo>
                    <a:lnTo>
                      <a:pt x="639763" y="2104596"/>
                    </a:lnTo>
                    <a:lnTo>
                      <a:pt x="639763" y="2528459"/>
                    </a:lnTo>
                    <a:lnTo>
                      <a:pt x="685698" y="2528459"/>
                    </a:lnTo>
                    <a:lnTo>
                      <a:pt x="685698" y="2104596"/>
                    </a:lnTo>
                    <a:lnTo>
                      <a:pt x="1123848" y="2104596"/>
                    </a:lnTo>
                    <a:lnTo>
                      <a:pt x="1123848" y="2528459"/>
                    </a:lnTo>
                    <a:lnTo>
                      <a:pt x="1325388" y="2528459"/>
                    </a:lnTo>
                    <a:lnTo>
                      <a:pt x="1325388" y="413909"/>
                    </a:lnTo>
                    <a:close/>
                    <a:moveTo>
                      <a:pt x="556419" y="171020"/>
                    </a:moveTo>
                    <a:cubicBezTo>
                      <a:pt x="543267" y="171020"/>
                      <a:pt x="532606" y="181681"/>
                      <a:pt x="532606" y="194833"/>
                    </a:cubicBezTo>
                    <a:cubicBezTo>
                      <a:pt x="532606" y="207984"/>
                      <a:pt x="543267" y="218645"/>
                      <a:pt x="556419" y="218645"/>
                    </a:cubicBezTo>
                    <a:lnTo>
                      <a:pt x="923131" y="218646"/>
                    </a:lnTo>
                    <a:cubicBezTo>
                      <a:pt x="936283" y="218646"/>
                      <a:pt x="946944" y="207985"/>
                      <a:pt x="946944" y="194833"/>
                    </a:cubicBezTo>
                    <a:lnTo>
                      <a:pt x="946945" y="194833"/>
                    </a:lnTo>
                    <a:cubicBezTo>
                      <a:pt x="946945" y="181681"/>
                      <a:pt x="936284" y="171020"/>
                      <a:pt x="923132" y="171020"/>
                    </a:cubicBezTo>
                    <a:close/>
                    <a:moveTo>
                      <a:pt x="725487" y="274"/>
                    </a:moveTo>
                    <a:cubicBezTo>
                      <a:pt x="1081947" y="-5382"/>
                      <a:pt x="1443170" y="76220"/>
                      <a:pt x="1479550" y="262045"/>
                    </a:cubicBezTo>
                    <a:lnTo>
                      <a:pt x="1479550" y="1250633"/>
                    </a:lnTo>
                    <a:lnTo>
                      <a:pt x="1479550" y="1748998"/>
                    </a:lnTo>
                    <a:lnTo>
                      <a:pt x="1479550" y="2737586"/>
                    </a:lnTo>
                    <a:cubicBezTo>
                      <a:pt x="1406789" y="3109236"/>
                      <a:pt x="34660" y="3063993"/>
                      <a:pt x="0" y="2737586"/>
                    </a:cubicBezTo>
                    <a:lnTo>
                      <a:pt x="0" y="1748998"/>
                    </a:lnTo>
                    <a:lnTo>
                      <a:pt x="0" y="1250633"/>
                    </a:lnTo>
                    <a:lnTo>
                      <a:pt x="0" y="262045"/>
                    </a:lnTo>
                    <a:cubicBezTo>
                      <a:pt x="17330" y="98842"/>
                      <a:pt x="369027" y="5929"/>
                      <a:pt x="725487" y="274"/>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Freeform 80"/>
              <p:cNvSpPr/>
              <p:nvPr/>
            </p:nvSpPr>
            <p:spPr>
              <a:xfrm>
                <a:off x="6865750" y="2953885"/>
                <a:ext cx="722474" cy="651936"/>
              </a:xfrm>
              <a:custGeom>
                <a:avLst/>
                <a:gdLst/>
                <a:ahLst/>
                <a:cxnLst/>
                <a:rect l="l" t="t" r="r" b="b"/>
                <a:pathLst>
                  <a:path w="6642100" h="5993606">
                    <a:moveTo>
                      <a:pt x="2981325" y="5655069"/>
                    </a:moveTo>
                    <a:lnTo>
                      <a:pt x="2946400" y="5689994"/>
                    </a:lnTo>
                    <a:lnTo>
                      <a:pt x="2946400" y="5934867"/>
                    </a:lnTo>
                    <a:cubicBezTo>
                      <a:pt x="2946400" y="5954156"/>
                      <a:pt x="2962036" y="5969792"/>
                      <a:pt x="2981325" y="5969792"/>
                    </a:cubicBezTo>
                    <a:cubicBezTo>
                      <a:pt x="3000614" y="5969792"/>
                      <a:pt x="3016250" y="5954156"/>
                      <a:pt x="3016250" y="5934867"/>
                    </a:cubicBezTo>
                    <a:lnTo>
                      <a:pt x="3016250" y="5689994"/>
                    </a:lnTo>
                    <a:cubicBezTo>
                      <a:pt x="3016250" y="5670705"/>
                      <a:pt x="3000614" y="5655069"/>
                      <a:pt x="2981325" y="5655069"/>
                    </a:cubicBezTo>
                    <a:close/>
                    <a:moveTo>
                      <a:pt x="2981325" y="5305026"/>
                    </a:moveTo>
                    <a:cubicBezTo>
                      <a:pt x="2962036" y="5305026"/>
                      <a:pt x="2946400" y="5320662"/>
                      <a:pt x="2946400" y="5339951"/>
                    </a:cubicBezTo>
                    <a:lnTo>
                      <a:pt x="2946400" y="5584824"/>
                    </a:lnTo>
                    <a:cubicBezTo>
                      <a:pt x="2946400" y="5604113"/>
                      <a:pt x="2962036" y="5619749"/>
                      <a:pt x="2981325" y="5619749"/>
                    </a:cubicBezTo>
                    <a:cubicBezTo>
                      <a:pt x="3000614" y="5619749"/>
                      <a:pt x="3016250" y="5604113"/>
                      <a:pt x="3016250" y="5584824"/>
                    </a:cubicBezTo>
                    <a:lnTo>
                      <a:pt x="3016250" y="5339951"/>
                    </a:lnTo>
                    <a:cubicBezTo>
                      <a:pt x="3016250" y="5320662"/>
                      <a:pt x="3000614" y="5305026"/>
                      <a:pt x="2981325" y="5305026"/>
                    </a:cubicBezTo>
                    <a:close/>
                    <a:moveTo>
                      <a:pt x="2981325" y="4950220"/>
                    </a:moveTo>
                    <a:cubicBezTo>
                      <a:pt x="2962036" y="4950220"/>
                      <a:pt x="2946400" y="4965856"/>
                      <a:pt x="2946400" y="4985145"/>
                    </a:cubicBezTo>
                    <a:lnTo>
                      <a:pt x="2946400" y="5230018"/>
                    </a:lnTo>
                    <a:cubicBezTo>
                      <a:pt x="2946400" y="5249307"/>
                      <a:pt x="2962036" y="5264943"/>
                      <a:pt x="2981325" y="5264943"/>
                    </a:cubicBezTo>
                    <a:cubicBezTo>
                      <a:pt x="3000614" y="5264943"/>
                      <a:pt x="3016250" y="5249307"/>
                      <a:pt x="3016250" y="5230018"/>
                    </a:cubicBezTo>
                    <a:lnTo>
                      <a:pt x="3016250" y="4985145"/>
                    </a:lnTo>
                    <a:cubicBezTo>
                      <a:pt x="3016250" y="4965856"/>
                      <a:pt x="3000614" y="4950220"/>
                      <a:pt x="2981325" y="4950220"/>
                    </a:cubicBezTo>
                    <a:close/>
                    <a:moveTo>
                      <a:pt x="2981325" y="4780756"/>
                    </a:moveTo>
                    <a:cubicBezTo>
                      <a:pt x="2962036" y="4780756"/>
                      <a:pt x="2946400" y="4796392"/>
                      <a:pt x="2946400" y="4815681"/>
                    </a:cubicBezTo>
                    <a:lnTo>
                      <a:pt x="2946400" y="4899025"/>
                    </a:lnTo>
                    <a:cubicBezTo>
                      <a:pt x="2946400" y="4918314"/>
                      <a:pt x="2962036" y="4933950"/>
                      <a:pt x="2981325" y="4933950"/>
                    </a:cubicBezTo>
                    <a:cubicBezTo>
                      <a:pt x="3000614" y="4933950"/>
                      <a:pt x="3016250" y="4918314"/>
                      <a:pt x="3016250" y="4899025"/>
                    </a:cubicBezTo>
                    <a:lnTo>
                      <a:pt x="3016250" y="4815681"/>
                    </a:lnTo>
                    <a:cubicBezTo>
                      <a:pt x="3016250" y="4796392"/>
                      <a:pt x="3000614" y="4780756"/>
                      <a:pt x="2981325" y="4780756"/>
                    </a:cubicBezTo>
                    <a:close/>
                    <a:moveTo>
                      <a:pt x="2134394" y="4660106"/>
                    </a:moveTo>
                    <a:lnTo>
                      <a:pt x="1143794" y="4745831"/>
                    </a:lnTo>
                    <a:lnTo>
                      <a:pt x="1143794" y="4807744"/>
                    </a:lnTo>
                    <a:lnTo>
                      <a:pt x="2134394" y="4714875"/>
                    </a:lnTo>
                    <a:close/>
                    <a:moveTo>
                      <a:pt x="4689467" y="4410077"/>
                    </a:moveTo>
                    <a:cubicBezTo>
                      <a:pt x="4483109" y="4428995"/>
                      <a:pt x="3652687" y="4516703"/>
                      <a:pt x="3396457" y="4542633"/>
                    </a:cubicBezTo>
                    <a:cubicBezTo>
                      <a:pt x="3399118" y="4570149"/>
                      <a:pt x="3399372" y="4588141"/>
                      <a:pt x="3402032" y="4615657"/>
                    </a:cubicBezTo>
                    <a:cubicBezTo>
                      <a:pt x="3627472" y="4589596"/>
                      <a:pt x="4441017" y="4507707"/>
                      <a:pt x="4694231" y="4483895"/>
                    </a:cubicBezTo>
                    <a:cubicBezTo>
                      <a:pt x="4690911" y="4450822"/>
                      <a:pt x="4693446" y="4450690"/>
                      <a:pt x="4689467" y="4410077"/>
                    </a:cubicBezTo>
                    <a:close/>
                    <a:moveTo>
                      <a:pt x="2981325" y="4318794"/>
                    </a:moveTo>
                    <a:cubicBezTo>
                      <a:pt x="2962036" y="4318794"/>
                      <a:pt x="2946400" y="4334430"/>
                      <a:pt x="2946400" y="4353719"/>
                    </a:cubicBezTo>
                    <a:lnTo>
                      <a:pt x="2946400" y="4556125"/>
                    </a:lnTo>
                    <a:cubicBezTo>
                      <a:pt x="2946400" y="4575414"/>
                      <a:pt x="2962036" y="4591050"/>
                      <a:pt x="2981325" y="4591050"/>
                    </a:cubicBezTo>
                    <a:cubicBezTo>
                      <a:pt x="3000614" y="4591050"/>
                      <a:pt x="3016250" y="4575414"/>
                      <a:pt x="3016250" y="4556125"/>
                    </a:cubicBezTo>
                    <a:lnTo>
                      <a:pt x="3016250" y="4353719"/>
                    </a:lnTo>
                    <a:cubicBezTo>
                      <a:pt x="3016250" y="4334430"/>
                      <a:pt x="3000614" y="4318794"/>
                      <a:pt x="2981325" y="4318794"/>
                    </a:cubicBezTo>
                    <a:close/>
                    <a:moveTo>
                      <a:pt x="6296031" y="4253707"/>
                    </a:moveTo>
                    <a:cubicBezTo>
                      <a:pt x="6047860" y="4274874"/>
                      <a:pt x="5019949" y="4374886"/>
                      <a:pt x="4768838" y="4399757"/>
                    </a:cubicBezTo>
                    <a:cubicBezTo>
                      <a:pt x="4771499" y="4427273"/>
                      <a:pt x="4774135" y="4454790"/>
                      <a:pt x="4776796" y="4482306"/>
                    </a:cubicBezTo>
                    <a:lnTo>
                      <a:pt x="6296031" y="4339432"/>
                    </a:lnTo>
                    <a:cubicBezTo>
                      <a:pt x="6293142" y="4295511"/>
                      <a:pt x="6295499" y="4281753"/>
                      <a:pt x="6296031" y="4253707"/>
                    </a:cubicBezTo>
                    <a:close/>
                    <a:moveTo>
                      <a:pt x="1810544" y="4214812"/>
                    </a:moveTo>
                    <a:lnTo>
                      <a:pt x="1205706" y="4295775"/>
                    </a:lnTo>
                    <a:cubicBezTo>
                      <a:pt x="1204912" y="4384675"/>
                      <a:pt x="1204119" y="4473575"/>
                      <a:pt x="1203325" y="4562475"/>
                    </a:cubicBezTo>
                    <a:lnTo>
                      <a:pt x="1810544" y="4498181"/>
                    </a:lnTo>
                    <a:close/>
                    <a:moveTo>
                      <a:pt x="2136775" y="4181475"/>
                    </a:moveTo>
                    <a:lnTo>
                      <a:pt x="1951038" y="4207669"/>
                    </a:lnTo>
                    <a:lnTo>
                      <a:pt x="1943894" y="4486275"/>
                    </a:lnTo>
                    <a:lnTo>
                      <a:pt x="2129631" y="4462462"/>
                    </a:lnTo>
                    <a:close/>
                    <a:moveTo>
                      <a:pt x="1081881" y="4162425"/>
                    </a:moveTo>
                    <a:lnTo>
                      <a:pt x="869949" y="4193381"/>
                    </a:lnTo>
                    <a:lnTo>
                      <a:pt x="848518" y="4593431"/>
                    </a:lnTo>
                    <a:lnTo>
                      <a:pt x="1062830" y="4574381"/>
                    </a:lnTo>
                    <a:cubicBezTo>
                      <a:pt x="1066799" y="4461668"/>
                      <a:pt x="1075531" y="4310857"/>
                      <a:pt x="1081881" y="4162425"/>
                    </a:cubicBezTo>
                    <a:close/>
                    <a:moveTo>
                      <a:pt x="2884488" y="4088606"/>
                    </a:moveTo>
                    <a:lnTo>
                      <a:pt x="2272506" y="4162425"/>
                    </a:lnTo>
                    <a:lnTo>
                      <a:pt x="2260600" y="4450556"/>
                    </a:lnTo>
                    <a:lnTo>
                      <a:pt x="2477294" y="4433887"/>
                    </a:lnTo>
                    <a:cubicBezTo>
                      <a:pt x="2565399" y="4498180"/>
                      <a:pt x="2679700" y="4545806"/>
                      <a:pt x="2777331" y="4548187"/>
                    </a:cubicBezTo>
                    <a:lnTo>
                      <a:pt x="2779713" y="4602956"/>
                    </a:lnTo>
                    <a:lnTo>
                      <a:pt x="2220119" y="4662487"/>
                    </a:lnTo>
                    <a:cubicBezTo>
                      <a:pt x="2189162" y="4685506"/>
                      <a:pt x="2210594" y="4696618"/>
                      <a:pt x="2220119" y="4702969"/>
                    </a:cubicBezTo>
                    <a:lnTo>
                      <a:pt x="2884488" y="4641056"/>
                    </a:lnTo>
                    <a:close/>
                    <a:moveTo>
                      <a:pt x="2981325" y="4071144"/>
                    </a:moveTo>
                    <a:cubicBezTo>
                      <a:pt x="2962036" y="4071144"/>
                      <a:pt x="2946400" y="4086780"/>
                      <a:pt x="2946400" y="4106069"/>
                    </a:cubicBezTo>
                    <a:lnTo>
                      <a:pt x="2946400" y="4248944"/>
                    </a:lnTo>
                    <a:cubicBezTo>
                      <a:pt x="2946400" y="4268233"/>
                      <a:pt x="2962036" y="4283869"/>
                      <a:pt x="2981325" y="4283869"/>
                    </a:cubicBezTo>
                    <a:cubicBezTo>
                      <a:pt x="3000614" y="4283869"/>
                      <a:pt x="3016250" y="4268233"/>
                      <a:pt x="3016250" y="4248944"/>
                    </a:cubicBezTo>
                    <a:lnTo>
                      <a:pt x="3016250" y="4106069"/>
                    </a:lnTo>
                    <a:cubicBezTo>
                      <a:pt x="3016250" y="4086780"/>
                      <a:pt x="3000614" y="4071144"/>
                      <a:pt x="2981325" y="4071144"/>
                    </a:cubicBezTo>
                    <a:close/>
                    <a:moveTo>
                      <a:pt x="4416424" y="3885406"/>
                    </a:moveTo>
                    <a:lnTo>
                      <a:pt x="3394074" y="4018756"/>
                    </a:lnTo>
                    <a:lnTo>
                      <a:pt x="3394074" y="4317206"/>
                    </a:lnTo>
                    <a:lnTo>
                      <a:pt x="4416424" y="4209256"/>
                    </a:lnTo>
                    <a:close/>
                    <a:moveTo>
                      <a:pt x="4657725" y="3869531"/>
                    </a:moveTo>
                    <a:lnTo>
                      <a:pt x="4597399" y="3879056"/>
                    </a:lnTo>
                    <a:lnTo>
                      <a:pt x="4597399" y="4177506"/>
                    </a:lnTo>
                    <a:lnTo>
                      <a:pt x="4657725" y="4171156"/>
                    </a:lnTo>
                    <a:close/>
                    <a:moveTo>
                      <a:pt x="6051550" y="3694905"/>
                    </a:moveTo>
                    <a:lnTo>
                      <a:pt x="4848225" y="3856830"/>
                    </a:lnTo>
                    <a:lnTo>
                      <a:pt x="4848225" y="4155280"/>
                    </a:lnTo>
                    <a:lnTo>
                      <a:pt x="6099175" y="4031455"/>
                    </a:lnTo>
                    <a:close/>
                    <a:moveTo>
                      <a:pt x="6226175" y="3671093"/>
                    </a:moveTo>
                    <a:lnTo>
                      <a:pt x="6187282" y="3674268"/>
                    </a:lnTo>
                    <a:lnTo>
                      <a:pt x="6242050" y="4121943"/>
                    </a:lnTo>
                    <a:lnTo>
                      <a:pt x="6280150" y="4121943"/>
                    </a:lnTo>
                    <a:close/>
                    <a:moveTo>
                      <a:pt x="1296194" y="2116932"/>
                    </a:moveTo>
                    <a:lnTo>
                      <a:pt x="1291346" y="2239754"/>
                    </a:lnTo>
                    <a:lnTo>
                      <a:pt x="1445537" y="2203508"/>
                    </a:lnTo>
                    <a:close/>
                    <a:moveTo>
                      <a:pt x="2463006" y="1754982"/>
                    </a:moveTo>
                    <a:lnTo>
                      <a:pt x="2458034" y="1965496"/>
                    </a:lnTo>
                    <a:lnTo>
                      <a:pt x="2663110" y="1917288"/>
                    </a:lnTo>
                    <a:close/>
                    <a:moveTo>
                      <a:pt x="3884613" y="1459707"/>
                    </a:moveTo>
                    <a:lnTo>
                      <a:pt x="3880380" y="1631138"/>
                    </a:lnTo>
                    <a:lnTo>
                      <a:pt x="4019097" y="1598530"/>
                    </a:lnTo>
                    <a:close/>
                    <a:moveTo>
                      <a:pt x="5744257" y="1401844"/>
                    </a:moveTo>
                    <a:lnTo>
                      <a:pt x="975704" y="2529889"/>
                    </a:lnTo>
                    <a:lnTo>
                      <a:pt x="890246" y="4051040"/>
                    </a:lnTo>
                    <a:lnTo>
                      <a:pt x="6094635" y="3341739"/>
                    </a:lnTo>
                    <a:lnTo>
                      <a:pt x="5872444" y="1564214"/>
                    </a:lnTo>
                    <a:cubicBezTo>
                      <a:pt x="5778915" y="1573591"/>
                      <a:pt x="5758411" y="1462317"/>
                      <a:pt x="5744257" y="1401844"/>
                    </a:cubicBezTo>
                    <a:close/>
                    <a:moveTo>
                      <a:pt x="5542154" y="1105556"/>
                    </a:moveTo>
                    <a:lnTo>
                      <a:pt x="5527466" y="1243950"/>
                    </a:lnTo>
                    <a:lnTo>
                      <a:pt x="5621379" y="1221873"/>
                    </a:lnTo>
                    <a:close/>
                    <a:moveTo>
                      <a:pt x="5096669" y="0"/>
                    </a:moveTo>
                    <a:lnTo>
                      <a:pt x="5155183" y="110340"/>
                    </a:lnTo>
                    <a:lnTo>
                      <a:pt x="5156201" y="109538"/>
                    </a:lnTo>
                    <a:lnTo>
                      <a:pt x="5160632" y="120615"/>
                    </a:lnTo>
                    <a:lnTo>
                      <a:pt x="5180013" y="157162"/>
                    </a:lnTo>
                    <a:lnTo>
                      <a:pt x="5175752" y="158414"/>
                    </a:lnTo>
                    <a:lnTo>
                      <a:pt x="5179938" y="168879"/>
                    </a:lnTo>
                    <a:lnTo>
                      <a:pt x="5698167" y="1203823"/>
                    </a:lnTo>
                    <a:lnTo>
                      <a:pt x="5946775" y="1145381"/>
                    </a:lnTo>
                    <a:lnTo>
                      <a:pt x="6003925" y="1488281"/>
                    </a:lnTo>
                    <a:lnTo>
                      <a:pt x="6099175" y="1488281"/>
                    </a:lnTo>
                    <a:lnTo>
                      <a:pt x="6346825" y="3555206"/>
                    </a:lnTo>
                    <a:cubicBezTo>
                      <a:pt x="6359525" y="3647281"/>
                      <a:pt x="6343650" y="3663156"/>
                      <a:pt x="6299200" y="3669506"/>
                    </a:cubicBezTo>
                    <a:lnTo>
                      <a:pt x="6384925" y="4326731"/>
                    </a:lnTo>
                    <a:lnTo>
                      <a:pt x="6451600" y="4317206"/>
                    </a:lnTo>
                    <a:lnTo>
                      <a:pt x="6508750" y="4431506"/>
                    </a:lnTo>
                    <a:lnTo>
                      <a:pt x="6642100" y="4421981"/>
                    </a:lnTo>
                    <a:lnTo>
                      <a:pt x="6642100" y="4498181"/>
                    </a:lnTo>
                    <a:lnTo>
                      <a:pt x="3422650" y="4783931"/>
                    </a:lnTo>
                    <a:lnTo>
                      <a:pt x="3422650" y="5993606"/>
                    </a:lnTo>
                    <a:lnTo>
                      <a:pt x="3355971" y="5993606"/>
                    </a:lnTo>
                    <a:lnTo>
                      <a:pt x="3362229" y="5982496"/>
                    </a:lnTo>
                    <a:cubicBezTo>
                      <a:pt x="3358557" y="5499631"/>
                      <a:pt x="3354886" y="5016766"/>
                      <a:pt x="3351214" y="4533901"/>
                    </a:cubicBezTo>
                    <a:cubicBezTo>
                      <a:pt x="3342979" y="4537474"/>
                      <a:pt x="3346652" y="4519614"/>
                      <a:pt x="3340798" y="4480324"/>
                    </a:cubicBezTo>
                    <a:cubicBezTo>
                      <a:pt x="3324394" y="4463324"/>
                      <a:pt x="3311165" y="4460942"/>
                      <a:pt x="3278091" y="4468417"/>
                    </a:cubicBezTo>
                    <a:lnTo>
                      <a:pt x="3292350" y="5993606"/>
                    </a:lnTo>
                    <a:lnTo>
                      <a:pt x="2841625" y="5993606"/>
                    </a:lnTo>
                    <a:lnTo>
                      <a:pt x="2870200" y="4822031"/>
                    </a:lnTo>
                    <a:lnTo>
                      <a:pt x="1365250" y="4948237"/>
                    </a:lnTo>
                    <a:cubicBezTo>
                      <a:pt x="1348580" y="4919662"/>
                      <a:pt x="1312863" y="4933950"/>
                      <a:pt x="1286669" y="4926806"/>
                    </a:cubicBezTo>
                    <a:cubicBezTo>
                      <a:pt x="1285875" y="4901406"/>
                      <a:pt x="1277938" y="4895056"/>
                      <a:pt x="1277144" y="4869656"/>
                    </a:cubicBezTo>
                    <a:cubicBezTo>
                      <a:pt x="1033462" y="4877594"/>
                      <a:pt x="999332" y="4892675"/>
                      <a:pt x="1086644" y="4807744"/>
                    </a:cubicBezTo>
                    <a:lnTo>
                      <a:pt x="1069975" y="4774406"/>
                    </a:lnTo>
                    <a:lnTo>
                      <a:pt x="679450" y="4812506"/>
                    </a:lnTo>
                    <a:cubicBezTo>
                      <a:pt x="651669" y="4772025"/>
                      <a:pt x="571500" y="4733926"/>
                      <a:pt x="438944" y="4736307"/>
                    </a:cubicBezTo>
                    <a:lnTo>
                      <a:pt x="357981" y="4741068"/>
                    </a:lnTo>
                    <a:cubicBezTo>
                      <a:pt x="357187" y="4713287"/>
                      <a:pt x="354013" y="4678362"/>
                      <a:pt x="353219" y="4650581"/>
                    </a:cubicBezTo>
                    <a:lnTo>
                      <a:pt x="727075" y="4610100"/>
                    </a:lnTo>
                    <a:lnTo>
                      <a:pt x="727075" y="4221956"/>
                    </a:lnTo>
                    <a:lnTo>
                      <a:pt x="679450" y="4193381"/>
                    </a:lnTo>
                    <a:lnTo>
                      <a:pt x="841375" y="2345531"/>
                    </a:lnTo>
                    <a:lnTo>
                      <a:pt x="1177925" y="2266417"/>
                    </a:lnTo>
                    <a:lnTo>
                      <a:pt x="1177925" y="2028032"/>
                    </a:lnTo>
                    <a:lnTo>
                      <a:pt x="447675" y="1567657"/>
                    </a:lnTo>
                    <a:lnTo>
                      <a:pt x="9525" y="1726407"/>
                    </a:lnTo>
                    <a:lnTo>
                      <a:pt x="0" y="1577182"/>
                    </a:lnTo>
                    <a:lnTo>
                      <a:pt x="190500" y="1507332"/>
                    </a:lnTo>
                    <a:cubicBezTo>
                      <a:pt x="295539" y="1507596"/>
                      <a:pt x="376767" y="1484049"/>
                      <a:pt x="469900" y="1472407"/>
                    </a:cubicBezTo>
                    <a:lnTo>
                      <a:pt x="1576977" y="2172610"/>
                    </a:lnTo>
                    <a:lnTo>
                      <a:pt x="2372592" y="1985581"/>
                    </a:lnTo>
                    <a:lnTo>
                      <a:pt x="2374899" y="1676400"/>
                    </a:lnTo>
                    <a:lnTo>
                      <a:pt x="1770062" y="1188244"/>
                    </a:lnTo>
                    <a:lnTo>
                      <a:pt x="1353343" y="1307306"/>
                    </a:lnTo>
                    <a:cubicBezTo>
                      <a:pt x="1342230" y="1240631"/>
                      <a:pt x="1343025" y="1233488"/>
                      <a:pt x="1350962" y="1181100"/>
                    </a:cubicBezTo>
                    <a:cubicBezTo>
                      <a:pt x="1424781" y="1101724"/>
                      <a:pt x="1522412" y="1084263"/>
                      <a:pt x="1598612" y="1090613"/>
                    </a:cubicBezTo>
                    <a:cubicBezTo>
                      <a:pt x="1685130" y="1134270"/>
                      <a:pt x="1740693" y="1104106"/>
                      <a:pt x="1815305" y="1092994"/>
                    </a:cubicBezTo>
                    <a:lnTo>
                      <a:pt x="2777072" y="1890498"/>
                    </a:lnTo>
                    <a:lnTo>
                      <a:pt x="3800587" y="1649896"/>
                    </a:lnTo>
                    <a:lnTo>
                      <a:pt x="3810000" y="1354932"/>
                    </a:lnTo>
                    <a:lnTo>
                      <a:pt x="3270250" y="735807"/>
                    </a:lnTo>
                    <a:lnTo>
                      <a:pt x="2933700" y="856457"/>
                    </a:lnTo>
                    <a:lnTo>
                      <a:pt x="2921000" y="675482"/>
                    </a:lnTo>
                    <a:lnTo>
                      <a:pt x="3101975" y="596107"/>
                    </a:lnTo>
                    <a:cubicBezTo>
                      <a:pt x="3117784" y="590882"/>
                      <a:pt x="3135081" y="587740"/>
                      <a:pt x="3153309" y="586793"/>
                    </a:cubicBezTo>
                    <a:cubicBezTo>
                      <a:pt x="3207991" y="583953"/>
                      <a:pt x="3271044" y="600869"/>
                      <a:pt x="3327400" y="640557"/>
                    </a:cubicBezTo>
                    <a:lnTo>
                      <a:pt x="4119283" y="1574979"/>
                    </a:lnTo>
                    <a:lnTo>
                      <a:pt x="5445162" y="1263298"/>
                    </a:lnTo>
                    <a:lnTo>
                      <a:pt x="5451474" y="931069"/>
                    </a:lnTo>
                    <a:cubicBezTo>
                      <a:pt x="5343727" y="708020"/>
                      <a:pt x="5212264" y="441855"/>
                      <a:pt x="5102274" y="214595"/>
                    </a:cubicBezTo>
                    <a:lnTo>
                      <a:pt x="5085344" y="184967"/>
                    </a:lnTo>
                    <a:lnTo>
                      <a:pt x="4839494" y="257175"/>
                    </a:lnTo>
                    <a:cubicBezTo>
                      <a:pt x="4840288" y="196850"/>
                      <a:pt x="4841081" y="136525"/>
                      <a:pt x="4841875" y="7620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a:endParaRPr lang="en-US" sz="1199" dirty="0" err="1"/>
              </a:p>
            </p:txBody>
          </p:sp>
          <p:grpSp>
            <p:nvGrpSpPr>
              <p:cNvPr id="82" name="Group 81"/>
              <p:cNvGrpSpPr/>
              <p:nvPr/>
            </p:nvGrpSpPr>
            <p:grpSpPr>
              <a:xfrm flipH="1">
                <a:off x="3863706" y="3090281"/>
                <a:ext cx="757570" cy="524543"/>
                <a:chOff x="2447924" y="1553458"/>
                <a:chExt cx="6165879" cy="4269267"/>
              </a:xfrm>
              <a:solidFill>
                <a:schemeClr val="tx1"/>
              </a:solidFill>
            </p:grpSpPr>
            <p:sp>
              <p:nvSpPr>
                <p:cNvPr id="84" name="Freeform 83"/>
                <p:cNvSpPr/>
                <p:nvPr/>
              </p:nvSpPr>
              <p:spPr>
                <a:xfrm>
                  <a:off x="2447924" y="1553458"/>
                  <a:ext cx="4569613" cy="3257684"/>
                </a:xfrm>
                <a:custGeom>
                  <a:avLst/>
                  <a:gdLst/>
                  <a:ahLst/>
                  <a:cxnLst/>
                  <a:rect l="l" t="t" r="r" b="b"/>
                  <a:pathLst>
                    <a:path w="4569614" h="3257681">
                      <a:moveTo>
                        <a:pt x="3930651" y="2631191"/>
                      </a:moveTo>
                      <a:cubicBezTo>
                        <a:pt x="3883306" y="2631191"/>
                        <a:pt x="3844926" y="2665307"/>
                        <a:pt x="3844926" y="2707391"/>
                      </a:cubicBezTo>
                      <a:cubicBezTo>
                        <a:pt x="3844926" y="2749475"/>
                        <a:pt x="3883306" y="2783591"/>
                        <a:pt x="3930651" y="2783591"/>
                      </a:cubicBezTo>
                      <a:cubicBezTo>
                        <a:pt x="3977996" y="2783591"/>
                        <a:pt x="4016376" y="2749475"/>
                        <a:pt x="4016376" y="2707391"/>
                      </a:cubicBezTo>
                      <a:cubicBezTo>
                        <a:pt x="4016376" y="2665307"/>
                        <a:pt x="3977996" y="2631191"/>
                        <a:pt x="3930651" y="2631191"/>
                      </a:cubicBezTo>
                      <a:close/>
                      <a:moveTo>
                        <a:pt x="4165601" y="2599441"/>
                      </a:moveTo>
                      <a:cubicBezTo>
                        <a:pt x="4118256" y="2599441"/>
                        <a:pt x="4079876" y="2633557"/>
                        <a:pt x="4079876" y="2675641"/>
                      </a:cubicBezTo>
                      <a:cubicBezTo>
                        <a:pt x="4079876" y="2717725"/>
                        <a:pt x="4118256" y="2751841"/>
                        <a:pt x="4165601" y="2751841"/>
                      </a:cubicBezTo>
                      <a:cubicBezTo>
                        <a:pt x="4212946" y="2751841"/>
                        <a:pt x="4251326" y="2717725"/>
                        <a:pt x="4251326" y="2675641"/>
                      </a:cubicBezTo>
                      <a:cubicBezTo>
                        <a:pt x="4251326" y="2633557"/>
                        <a:pt x="4212946" y="2599441"/>
                        <a:pt x="4165601" y="2599441"/>
                      </a:cubicBezTo>
                      <a:close/>
                      <a:moveTo>
                        <a:pt x="2349501" y="192791"/>
                      </a:moveTo>
                      <a:cubicBezTo>
                        <a:pt x="2323198" y="192791"/>
                        <a:pt x="2301876" y="204163"/>
                        <a:pt x="2301876" y="218191"/>
                      </a:cubicBezTo>
                      <a:cubicBezTo>
                        <a:pt x="2301876" y="232219"/>
                        <a:pt x="2323198" y="243591"/>
                        <a:pt x="2349501" y="243591"/>
                      </a:cubicBezTo>
                      <a:cubicBezTo>
                        <a:pt x="2375804" y="243591"/>
                        <a:pt x="2397126" y="232219"/>
                        <a:pt x="2397126" y="218191"/>
                      </a:cubicBezTo>
                      <a:cubicBezTo>
                        <a:pt x="2397126" y="204163"/>
                        <a:pt x="2375804" y="192791"/>
                        <a:pt x="2349501" y="192791"/>
                      </a:cubicBezTo>
                      <a:close/>
                      <a:moveTo>
                        <a:pt x="4213295" y="170131"/>
                      </a:moveTo>
                      <a:lnTo>
                        <a:pt x="222942" y="403666"/>
                      </a:lnTo>
                      <a:lnTo>
                        <a:pt x="454640" y="2894678"/>
                      </a:lnTo>
                      <a:lnTo>
                        <a:pt x="4402082" y="2505455"/>
                      </a:lnTo>
                      <a:close/>
                      <a:moveTo>
                        <a:pt x="4364848" y="0"/>
                      </a:moveTo>
                      <a:lnTo>
                        <a:pt x="4569614" y="2792296"/>
                      </a:lnTo>
                      <a:lnTo>
                        <a:pt x="288093" y="3257681"/>
                      </a:lnTo>
                      <a:lnTo>
                        <a:pt x="287284" y="3248090"/>
                      </a:lnTo>
                      <a:lnTo>
                        <a:pt x="228600" y="3185113"/>
                      </a:lnTo>
                      <a:lnTo>
                        <a:pt x="0" y="361188"/>
                      </a:lnTo>
                      <a:lnTo>
                        <a:pt x="37382" y="286305"/>
                      </a:lnTo>
                      <a:lnTo>
                        <a:pt x="36785" y="279232"/>
                      </a:lnTo>
                      <a:close/>
                    </a:path>
                  </a:pathLst>
                </a:custGeom>
                <a:grp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dirty="0">
                    <a:gradFill>
                      <a:gsLst>
                        <a:gs pos="0">
                          <a:srgbClr val="FFFFFF"/>
                        </a:gs>
                        <a:gs pos="100000">
                          <a:srgbClr val="FFFFFF"/>
                        </a:gs>
                      </a:gsLst>
                      <a:lin ang="5400000" scaled="0"/>
                    </a:gradFill>
                    <a:latin typeface="Segoe UI"/>
                  </a:endParaRPr>
                </a:p>
              </p:txBody>
            </p:sp>
            <p:sp>
              <p:nvSpPr>
                <p:cNvPr id="94" name="Freeform 93"/>
                <p:cNvSpPr/>
                <p:nvPr/>
              </p:nvSpPr>
              <p:spPr>
                <a:xfrm>
                  <a:off x="2780045" y="4426720"/>
                  <a:ext cx="5833758" cy="1396005"/>
                </a:xfrm>
                <a:custGeom>
                  <a:avLst/>
                  <a:gdLst/>
                  <a:ahLst/>
                  <a:cxnLst/>
                  <a:rect l="l" t="t" r="r" b="b"/>
                  <a:pathLst>
                    <a:path w="5833760" h="1396004">
                      <a:moveTo>
                        <a:pt x="3189592" y="815203"/>
                      </a:moveTo>
                      <a:lnTo>
                        <a:pt x="2744457" y="876798"/>
                      </a:lnTo>
                      <a:lnTo>
                        <a:pt x="3049257" y="998718"/>
                      </a:lnTo>
                      <a:lnTo>
                        <a:pt x="3468357" y="952998"/>
                      </a:lnTo>
                      <a:close/>
                      <a:moveTo>
                        <a:pt x="548945" y="812029"/>
                      </a:moveTo>
                      <a:lnTo>
                        <a:pt x="558470" y="921567"/>
                      </a:lnTo>
                      <a:lnTo>
                        <a:pt x="882320" y="1073967"/>
                      </a:lnTo>
                      <a:lnTo>
                        <a:pt x="877557" y="978717"/>
                      </a:lnTo>
                      <a:close/>
                      <a:moveTo>
                        <a:pt x="3684892" y="751703"/>
                      </a:moveTo>
                      <a:lnTo>
                        <a:pt x="3239757" y="813298"/>
                      </a:lnTo>
                      <a:lnTo>
                        <a:pt x="3496932" y="947918"/>
                      </a:lnTo>
                      <a:lnTo>
                        <a:pt x="3963657" y="889498"/>
                      </a:lnTo>
                      <a:close/>
                      <a:moveTo>
                        <a:pt x="291770" y="669154"/>
                      </a:moveTo>
                      <a:cubicBezTo>
                        <a:pt x="275988" y="669154"/>
                        <a:pt x="263195" y="694741"/>
                        <a:pt x="263195" y="726304"/>
                      </a:cubicBezTo>
                      <a:cubicBezTo>
                        <a:pt x="263195" y="757867"/>
                        <a:pt x="275988" y="783454"/>
                        <a:pt x="291770" y="783454"/>
                      </a:cubicBezTo>
                      <a:cubicBezTo>
                        <a:pt x="307552" y="783454"/>
                        <a:pt x="320345" y="757867"/>
                        <a:pt x="320345" y="726304"/>
                      </a:cubicBezTo>
                      <a:cubicBezTo>
                        <a:pt x="320345" y="694741"/>
                        <a:pt x="307552" y="669154"/>
                        <a:pt x="291770" y="669154"/>
                      </a:cubicBezTo>
                      <a:close/>
                      <a:moveTo>
                        <a:pt x="1739394" y="609349"/>
                      </a:moveTo>
                      <a:lnTo>
                        <a:pt x="2037349" y="729020"/>
                      </a:lnTo>
                      <a:lnTo>
                        <a:pt x="1641508" y="780950"/>
                      </a:lnTo>
                      <a:lnTo>
                        <a:pt x="1294059" y="658167"/>
                      </a:lnTo>
                      <a:close/>
                      <a:moveTo>
                        <a:pt x="158420" y="602479"/>
                      </a:moveTo>
                      <a:cubicBezTo>
                        <a:pt x="142638" y="602479"/>
                        <a:pt x="129845" y="628066"/>
                        <a:pt x="129845" y="659629"/>
                      </a:cubicBezTo>
                      <a:cubicBezTo>
                        <a:pt x="129845" y="691192"/>
                        <a:pt x="142638" y="716779"/>
                        <a:pt x="158420" y="716779"/>
                      </a:cubicBezTo>
                      <a:cubicBezTo>
                        <a:pt x="174202" y="716779"/>
                        <a:pt x="186995" y="691192"/>
                        <a:pt x="186995" y="659629"/>
                      </a:cubicBezTo>
                      <a:cubicBezTo>
                        <a:pt x="186995" y="628066"/>
                        <a:pt x="174202" y="602479"/>
                        <a:pt x="158420" y="602479"/>
                      </a:cubicBezTo>
                      <a:close/>
                      <a:moveTo>
                        <a:pt x="4512297" y="594859"/>
                      </a:moveTo>
                      <a:lnTo>
                        <a:pt x="1548117" y="983479"/>
                      </a:lnTo>
                      <a:lnTo>
                        <a:pt x="885177" y="724399"/>
                      </a:lnTo>
                      <a:lnTo>
                        <a:pt x="1525257" y="1021579"/>
                      </a:lnTo>
                      <a:close/>
                      <a:moveTo>
                        <a:pt x="1496634" y="511847"/>
                      </a:moveTo>
                      <a:lnTo>
                        <a:pt x="1724613" y="603413"/>
                      </a:lnTo>
                      <a:lnTo>
                        <a:pt x="1288278" y="656124"/>
                      </a:lnTo>
                      <a:lnTo>
                        <a:pt x="1023235" y="562462"/>
                      </a:lnTo>
                      <a:close/>
                      <a:moveTo>
                        <a:pt x="1291895" y="397692"/>
                      </a:moveTo>
                      <a:lnTo>
                        <a:pt x="177470" y="502467"/>
                      </a:lnTo>
                      <a:lnTo>
                        <a:pt x="25070" y="473892"/>
                      </a:lnTo>
                      <a:lnTo>
                        <a:pt x="1530020" y="1202554"/>
                      </a:lnTo>
                      <a:lnTo>
                        <a:pt x="244145" y="531042"/>
                      </a:lnTo>
                      <a:close/>
                      <a:moveTo>
                        <a:pt x="4276077" y="175759"/>
                      </a:moveTo>
                      <a:lnTo>
                        <a:pt x="1481419" y="504542"/>
                      </a:lnTo>
                      <a:lnTo>
                        <a:pt x="1456677" y="495799"/>
                      </a:lnTo>
                      <a:lnTo>
                        <a:pt x="1479119" y="504813"/>
                      </a:lnTo>
                      <a:lnTo>
                        <a:pt x="1014710" y="559449"/>
                      </a:lnTo>
                      <a:lnTo>
                        <a:pt x="1007097" y="556759"/>
                      </a:lnTo>
                      <a:lnTo>
                        <a:pt x="1014003" y="559533"/>
                      </a:lnTo>
                      <a:lnTo>
                        <a:pt x="648957" y="602479"/>
                      </a:lnTo>
                      <a:lnTo>
                        <a:pt x="1021704" y="562626"/>
                      </a:lnTo>
                      <a:lnTo>
                        <a:pt x="1262307" y="659262"/>
                      </a:lnTo>
                      <a:lnTo>
                        <a:pt x="1049007" y="685029"/>
                      </a:lnTo>
                      <a:lnTo>
                        <a:pt x="1266974" y="661136"/>
                      </a:lnTo>
                      <a:lnTo>
                        <a:pt x="1584052" y="788487"/>
                      </a:lnTo>
                      <a:lnTo>
                        <a:pt x="1404607" y="812028"/>
                      </a:lnTo>
                      <a:lnTo>
                        <a:pt x="1464932" y="834253"/>
                      </a:lnTo>
                      <a:lnTo>
                        <a:pt x="1636737" y="809647"/>
                      </a:lnTo>
                      <a:lnTo>
                        <a:pt x="1936737" y="930139"/>
                      </a:lnTo>
                      <a:lnTo>
                        <a:pt x="2020557" y="914899"/>
                      </a:lnTo>
                      <a:lnTo>
                        <a:pt x="1697921" y="800885"/>
                      </a:lnTo>
                      <a:lnTo>
                        <a:pt x="2080025" y="746160"/>
                      </a:lnTo>
                      <a:lnTo>
                        <a:pt x="2386317" y="869179"/>
                      </a:lnTo>
                      <a:lnTo>
                        <a:pt x="2470137" y="853939"/>
                      </a:lnTo>
                      <a:lnTo>
                        <a:pt x="2140597" y="737485"/>
                      </a:lnTo>
                      <a:lnTo>
                        <a:pt x="3970007" y="475478"/>
                      </a:lnTo>
                      <a:lnTo>
                        <a:pt x="2095175" y="721434"/>
                      </a:lnTo>
                      <a:lnTo>
                        <a:pt x="1768859" y="606119"/>
                      </a:lnTo>
                      <a:lnTo>
                        <a:pt x="3887457" y="373879"/>
                      </a:lnTo>
                      <a:lnTo>
                        <a:pt x="4363707" y="564379"/>
                      </a:lnTo>
                      <a:lnTo>
                        <a:pt x="3887457" y="342129"/>
                      </a:lnTo>
                      <a:lnTo>
                        <a:pt x="1751879" y="600119"/>
                      </a:lnTo>
                      <a:lnTo>
                        <a:pt x="1500822" y="511399"/>
                      </a:lnTo>
                      <a:lnTo>
                        <a:pt x="4283697" y="213859"/>
                      </a:lnTo>
                      <a:lnTo>
                        <a:pt x="5213337" y="594859"/>
                      </a:lnTo>
                      <a:close/>
                      <a:moveTo>
                        <a:pt x="4287507" y="62729"/>
                      </a:moveTo>
                      <a:lnTo>
                        <a:pt x="5614657" y="665979"/>
                      </a:lnTo>
                      <a:lnTo>
                        <a:pt x="1620507" y="1250179"/>
                      </a:lnTo>
                      <a:lnTo>
                        <a:pt x="5754357" y="678679"/>
                      </a:lnTo>
                      <a:close/>
                      <a:moveTo>
                        <a:pt x="4278784" y="0"/>
                      </a:moveTo>
                      <a:lnTo>
                        <a:pt x="5803959" y="656320"/>
                      </a:lnTo>
                      <a:lnTo>
                        <a:pt x="5807697" y="655819"/>
                      </a:lnTo>
                      <a:cubicBezTo>
                        <a:pt x="5826747" y="699634"/>
                        <a:pt x="5855322" y="743449"/>
                        <a:pt x="5807697" y="815839"/>
                      </a:cubicBezTo>
                      <a:lnTo>
                        <a:pt x="1510017" y="1394959"/>
                      </a:lnTo>
                      <a:cubicBezTo>
                        <a:pt x="1483664" y="1421312"/>
                        <a:pt x="514337" y="942839"/>
                        <a:pt x="16497" y="716779"/>
                      </a:cubicBezTo>
                      <a:cubicBezTo>
                        <a:pt x="-12078" y="575809"/>
                        <a:pt x="2210" y="520564"/>
                        <a:pt x="16497" y="465319"/>
                      </a:cubicBezTo>
                      <a:lnTo>
                        <a:pt x="25043" y="469791"/>
                      </a:lnTo>
                      <a:close/>
                    </a:path>
                  </a:pathLst>
                </a:custGeom>
                <a:grpFill/>
                <a:ln w="9525" cap="flat" cmpd="sng" algn="ctr">
                  <a:noFill/>
                  <a:prstDash val="solid"/>
                </a:ln>
                <a:effectLst/>
              </p:spPr>
              <p:txBody>
                <a:bodyPr vert="horz" wrap="square" lIns="91423" tIns="45711" rIns="91423" bIns="45711"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923" fontAlgn="base">
                    <a:spcBef>
                      <a:spcPct val="0"/>
                    </a:spcBef>
                    <a:spcAft>
                      <a:spcPct val="0"/>
                    </a:spcAft>
                    <a:defRPr/>
                  </a:pPr>
                  <a:endParaRPr lang="en-US" sz="2200" kern="0" dirty="0">
                    <a:gradFill>
                      <a:gsLst>
                        <a:gs pos="0">
                          <a:srgbClr val="FFFFFF"/>
                        </a:gs>
                        <a:gs pos="100000">
                          <a:srgbClr val="FFFFFF"/>
                        </a:gs>
                      </a:gsLst>
                      <a:lin ang="5400000" scaled="0"/>
                    </a:gradFill>
                    <a:latin typeface="Segoe UI"/>
                  </a:endParaRPr>
                </a:p>
              </p:txBody>
            </p:sp>
          </p:grpSp>
          <p:sp>
            <p:nvSpPr>
              <p:cNvPr id="95" name="Freeform 94"/>
              <p:cNvSpPr/>
              <p:nvPr/>
            </p:nvSpPr>
            <p:spPr>
              <a:xfrm>
                <a:off x="2598235" y="3092508"/>
                <a:ext cx="526854" cy="513313"/>
              </a:xfrm>
              <a:custGeom>
                <a:avLst/>
                <a:gdLst>
                  <a:gd name="connsiteX0" fmla="*/ 790023 w 2202104"/>
                  <a:gd name="connsiteY0" fmla="*/ 1443037 h 2145506"/>
                  <a:gd name="connsiteX1" fmla="*/ 685248 w 2202104"/>
                  <a:gd name="connsiteY1" fmla="*/ 1526381 h 2145506"/>
                  <a:gd name="connsiteX2" fmla="*/ 928135 w 2202104"/>
                  <a:gd name="connsiteY2" fmla="*/ 1585912 h 2145506"/>
                  <a:gd name="connsiteX3" fmla="*/ 1032910 w 2202104"/>
                  <a:gd name="connsiteY3" fmla="*/ 1483518 h 2145506"/>
                  <a:gd name="connsiteX4" fmla="*/ 790023 w 2202104"/>
                  <a:gd name="connsiteY4" fmla="*/ 1443037 h 2145506"/>
                  <a:gd name="connsiteX5" fmla="*/ 2062404 w 2202104"/>
                  <a:gd name="connsiteY5" fmla="*/ 1281113 h 2145506"/>
                  <a:gd name="connsiteX6" fmla="*/ 1609967 w 2202104"/>
                  <a:gd name="connsiteY6" fmla="*/ 1891506 h 2145506"/>
                  <a:gd name="connsiteX7" fmla="*/ 36754 w 2202104"/>
                  <a:gd name="connsiteY7" fmla="*/ 1566863 h 2145506"/>
                  <a:gd name="connsiteX8" fmla="*/ 1614729 w 2202104"/>
                  <a:gd name="connsiteY8" fmla="*/ 1912938 h 2145506"/>
                  <a:gd name="connsiteX9" fmla="*/ 2062404 w 2202104"/>
                  <a:gd name="connsiteY9" fmla="*/ 1281113 h 2145506"/>
                  <a:gd name="connsiteX10" fmla="*/ 768592 w 2202104"/>
                  <a:gd name="connsiteY10" fmla="*/ 1178718 h 2145506"/>
                  <a:gd name="connsiteX11" fmla="*/ 523323 w 2202104"/>
                  <a:gd name="connsiteY11" fmla="*/ 1335881 h 2145506"/>
                  <a:gd name="connsiteX12" fmla="*/ 1735379 w 2202104"/>
                  <a:gd name="connsiteY12" fmla="*/ 1538287 h 2145506"/>
                  <a:gd name="connsiteX13" fmla="*/ 1885398 w 2202104"/>
                  <a:gd name="connsiteY13" fmla="*/ 1328737 h 2145506"/>
                  <a:gd name="connsiteX14" fmla="*/ 768592 w 2202104"/>
                  <a:gd name="connsiteY14" fmla="*/ 1178718 h 2145506"/>
                  <a:gd name="connsiteX15" fmla="*/ 2040179 w 2202104"/>
                  <a:gd name="connsiteY15" fmla="*/ 104775 h 2145506"/>
                  <a:gd name="connsiteX16" fmla="*/ 899560 w 2202104"/>
                  <a:gd name="connsiteY16" fmla="*/ 142875 h 2145506"/>
                  <a:gd name="connsiteX17" fmla="*/ 835267 w 2202104"/>
                  <a:gd name="connsiteY17" fmla="*/ 964406 h 2145506"/>
                  <a:gd name="connsiteX18" fmla="*/ 1952073 w 2202104"/>
                  <a:gd name="connsiteY18" fmla="*/ 1054893 h 2145506"/>
                  <a:gd name="connsiteX19" fmla="*/ 2040179 w 2202104"/>
                  <a:gd name="connsiteY19" fmla="*/ 104775 h 2145506"/>
                  <a:gd name="connsiteX20" fmla="*/ 2202104 w 2202104"/>
                  <a:gd name="connsiteY20" fmla="*/ 0 h 2145506"/>
                  <a:gd name="connsiteX21" fmla="*/ 2097329 w 2202104"/>
                  <a:gd name="connsiteY21" fmla="*/ 1176337 h 2145506"/>
                  <a:gd name="connsiteX22" fmla="*/ 1918969 w 2202104"/>
                  <a:gd name="connsiteY22" fmla="*/ 1159788 h 2145506"/>
                  <a:gd name="connsiteX23" fmla="*/ 2018748 w 2202104"/>
                  <a:gd name="connsiteY23" fmla="*/ 1195387 h 2145506"/>
                  <a:gd name="connsiteX24" fmla="*/ 2033035 w 2202104"/>
                  <a:gd name="connsiteY24" fmla="*/ 1243012 h 2145506"/>
                  <a:gd name="connsiteX25" fmla="*/ 2085423 w 2202104"/>
                  <a:gd name="connsiteY25" fmla="*/ 1252537 h 2145506"/>
                  <a:gd name="connsiteX26" fmla="*/ 1990173 w 2202104"/>
                  <a:gd name="connsiteY26" fmla="*/ 1593056 h 2145506"/>
                  <a:gd name="connsiteX27" fmla="*/ 1647273 w 2202104"/>
                  <a:gd name="connsiteY27" fmla="*/ 2145506 h 2145506"/>
                  <a:gd name="connsiteX28" fmla="*/ 92317 w 2202104"/>
                  <a:gd name="connsiteY28" fmla="*/ 1788318 h 2145506"/>
                  <a:gd name="connsiteX29" fmla="*/ 23260 w 2202104"/>
                  <a:gd name="connsiteY29" fmla="*/ 1554956 h 2145506"/>
                  <a:gd name="connsiteX30" fmla="*/ 728110 w 2202104"/>
                  <a:gd name="connsiteY30" fmla="*/ 1114425 h 2145506"/>
                  <a:gd name="connsiteX31" fmla="*/ 825742 w 2202104"/>
                  <a:gd name="connsiteY31" fmla="*/ 1059656 h 2145506"/>
                  <a:gd name="connsiteX32" fmla="*/ 1841808 w 2202104"/>
                  <a:gd name="connsiteY32" fmla="*/ 1152629 h 2145506"/>
                  <a:gd name="connsiteX33" fmla="*/ 711442 w 2202104"/>
                  <a:gd name="connsiteY33" fmla="*/ 1047750 h 2145506"/>
                  <a:gd name="connsiteX34" fmla="*/ 778117 w 2202104"/>
                  <a:gd name="connsiteY34" fmla="*/ 52387 h 2145506"/>
                  <a:gd name="connsiteX35" fmla="*/ 2202104 w 2202104"/>
                  <a:gd name="connsiteY35" fmla="*/ 0 h 2145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202104" h="2145506">
                    <a:moveTo>
                      <a:pt x="790023" y="1443037"/>
                    </a:moveTo>
                    <a:lnTo>
                      <a:pt x="685248" y="1526381"/>
                    </a:lnTo>
                    <a:lnTo>
                      <a:pt x="928135" y="1585912"/>
                    </a:lnTo>
                    <a:lnTo>
                      <a:pt x="1032910" y="1483518"/>
                    </a:lnTo>
                    <a:lnTo>
                      <a:pt x="790023" y="1443037"/>
                    </a:lnTo>
                    <a:close/>
                    <a:moveTo>
                      <a:pt x="2062404" y="1281113"/>
                    </a:moveTo>
                    <a:lnTo>
                      <a:pt x="1609967" y="1891506"/>
                    </a:lnTo>
                    <a:lnTo>
                      <a:pt x="36754" y="1566863"/>
                    </a:lnTo>
                    <a:lnTo>
                      <a:pt x="1614729" y="1912938"/>
                    </a:lnTo>
                    <a:lnTo>
                      <a:pt x="2062404" y="1281113"/>
                    </a:lnTo>
                    <a:close/>
                    <a:moveTo>
                      <a:pt x="768592" y="1178718"/>
                    </a:moveTo>
                    <a:lnTo>
                      <a:pt x="523323" y="1335881"/>
                    </a:lnTo>
                    <a:lnTo>
                      <a:pt x="1735379" y="1538287"/>
                    </a:lnTo>
                    <a:lnTo>
                      <a:pt x="1885398" y="1328737"/>
                    </a:lnTo>
                    <a:lnTo>
                      <a:pt x="768592" y="1178718"/>
                    </a:lnTo>
                    <a:close/>
                    <a:moveTo>
                      <a:pt x="2040179" y="104775"/>
                    </a:moveTo>
                    <a:lnTo>
                      <a:pt x="899560" y="142875"/>
                    </a:lnTo>
                    <a:lnTo>
                      <a:pt x="835267" y="964406"/>
                    </a:lnTo>
                    <a:lnTo>
                      <a:pt x="1952073" y="1054893"/>
                    </a:lnTo>
                    <a:lnTo>
                      <a:pt x="2040179" y="104775"/>
                    </a:lnTo>
                    <a:close/>
                    <a:moveTo>
                      <a:pt x="2202104" y="0"/>
                    </a:moveTo>
                    <a:lnTo>
                      <a:pt x="2097329" y="1176337"/>
                    </a:lnTo>
                    <a:lnTo>
                      <a:pt x="1918969" y="1159788"/>
                    </a:lnTo>
                    <a:cubicBezTo>
                      <a:pt x="1951803" y="1171645"/>
                      <a:pt x="1897604" y="1185886"/>
                      <a:pt x="2018748" y="1195387"/>
                    </a:cubicBezTo>
                    <a:cubicBezTo>
                      <a:pt x="2035417" y="1208881"/>
                      <a:pt x="2044942" y="1222374"/>
                      <a:pt x="2033035" y="1243012"/>
                    </a:cubicBezTo>
                    <a:cubicBezTo>
                      <a:pt x="2040973" y="1250950"/>
                      <a:pt x="2067960" y="1249362"/>
                      <a:pt x="2085423" y="1252537"/>
                    </a:cubicBezTo>
                    <a:cubicBezTo>
                      <a:pt x="2103680" y="1313656"/>
                      <a:pt x="2133842" y="1455738"/>
                      <a:pt x="1990173" y="1593056"/>
                    </a:cubicBezTo>
                    <a:lnTo>
                      <a:pt x="1647273" y="2145506"/>
                    </a:lnTo>
                    <a:lnTo>
                      <a:pt x="92317" y="1788318"/>
                    </a:lnTo>
                    <a:cubicBezTo>
                      <a:pt x="45486" y="1755774"/>
                      <a:pt x="-41827" y="1677986"/>
                      <a:pt x="23260" y="1554956"/>
                    </a:cubicBezTo>
                    <a:lnTo>
                      <a:pt x="728110" y="1114425"/>
                    </a:lnTo>
                    <a:cubicBezTo>
                      <a:pt x="732079" y="1055688"/>
                      <a:pt x="774149" y="1063625"/>
                      <a:pt x="825742" y="1059656"/>
                    </a:cubicBezTo>
                    <a:lnTo>
                      <a:pt x="1841808" y="1152629"/>
                    </a:lnTo>
                    <a:lnTo>
                      <a:pt x="711442" y="1047750"/>
                    </a:lnTo>
                    <a:lnTo>
                      <a:pt x="778117" y="52387"/>
                    </a:lnTo>
                    <a:lnTo>
                      <a:pt x="2202104"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nvGrpSpPr>
              <p:cNvPr id="12" name="Group 11"/>
              <p:cNvGrpSpPr/>
              <p:nvPr/>
            </p:nvGrpSpPr>
            <p:grpSpPr>
              <a:xfrm>
                <a:off x="5237913" y="3015011"/>
                <a:ext cx="879332" cy="576513"/>
                <a:chOff x="5702638" y="3159220"/>
                <a:chExt cx="1031198" cy="676082"/>
              </a:xfrm>
              <a:solidFill>
                <a:schemeClr val="tx1"/>
              </a:solidFill>
            </p:grpSpPr>
            <p:grpSp>
              <p:nvGrpSpPr>
                <p:cNvPr id="99" name="Group 98"/>
                <p:cNvGrpSpPr/>
                <p:nvPr/>
              </p:nvGrpSpPr>
              <p:grpSpPr bwMode="black">
                <a:xfrm>
                  <a:off x="5838591" y="3159220"/>
                  <a:ext cx="895245" cy="539115"/>
                  <a:chOff x="863600" y="2393157"/>
                  <a:chExt cx="876300" cy="527844"/>
                </a:xfrm>
                <a:grpFill/>
              </p:grpSpPr>
              <p:sp>
                <p:nvSpPr>
                  <p:cNvPr id="103" name="Freeform 102"/>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23" tIns="45711" rIns="91423" bIns="45711"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740597"/>
                    <a:endParaRPr lang="en-US" spc="-122" dirty="0">
                      <a:solidFill>
                        <a:schemeClr val="tx1">
                          <a:lumMod val="50000"/>
                        </a:schemeClr>
                      </a:solidFill>
                      <a:latin typeface="Segoe UI Light"/>
                      <a:sym typeface="Segoe UI Light"/>
                    </a:endParaRPr>
                  </a:p>
                </p:txBody>
              </p:sp>
              <p:sp>
                <p:nvSpPr>
                  <p:cNvPr id="107" name="Freeform 106"/>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23" tIns="45711" rIns="91423" bIns="45711"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740597"/>
                    <a:endParaRPr lang="en-US" spc="-122" dirty="0">
                      <a:solidFill>
                        <a:schemeClr val="tx1">
                          <a:lumMod val="50000"/>
                        </a:schemeClr>
                      </a:solidFill>
                      <a:latin typeface="Segoe UI Light"/>
                      <a:sym typeface="Segoe UI Light"/>
                    </a:endParaRPr>
                  </a:p>
                </p:txBody>
              </p:sp>
            </p:grpSp>
            <p:grpSp>
              <p:nvGrpSpPr>
                <p:cNvPr id="100" name="Group 99"/>
                <p:cNvGrpSpPr/>
                <p:nvPr/>
              </p:nvGrpSpPr>
              <p:grpSpPr>
                <a:xfrm>
                  <a:off x="5702638" y="3717144"/>
                  <a:ext cx="893882" cy="118158"/>
                  <a:chOff x="2154279" y="4484926"/>
                  <a:chExt cx="4890259" cy="646417"/>
                </a:xfrm>
                <a:grpFill/>
              </p:grpSpPr>
              <p:sp>
                <p:nvSpPr>
                  <p:cNvPr id="101" name="Round Same Side Corner Rectangle 4"/>
                  <p:cNvSpPr/>
                  <p:nvPr/>
                </p:nvSpPr>
                <p:spPr>
                  <a:xfrm flipV="1">
                    <a:off x="2154280" y="5039587"/>
                    <a:ext cx="4890258" cy="91756"/>
                  </a:xfrm>
                  <a:custGeom>
                    <a:avLst/>
                    <a:gdLst/>
                    <a:ahLst/>
                    <a:cxnLst/>
                    <a:rect l="l" t="t" r="r" b="b"/>
                    <a:pathLst>
                      <a:path w="4890258" h="148908">
                        <a:moveTo>
                          <a:pt x="0" y="148908"/>
                        </a:moveTo>
                        <a:lnTo>
                          <a:pt x="4890258" y="148908"/>
                        </a:lnTo>
                        <a:lnTo>
                          <a:pt x="4890258" y="24819"/>
                        </a:lnTo>
                        <a:cubicBezTo>
                          <a:pt x="4890258" y="11112"/>
                          <a:pt x="4872323" y="0"/>
                          <a:pt x="4850200" y="0"/>
                        </a:cubicBezTo>
                        <a:lnTo>
                          <a:pt x="40058" y="0"/>
                        </a:lnTo>
                        <a:cubicBezTo>
                          <a:pt x="17935" y="0"/>
                          <a:pt x="0" y="11112"/>
                          <a:pt x="0" y="24819"/>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02" name="Rectangle 1036"/>
                  <p:cNvSpPr/>
                  <p:nvPr/>
                </p:nvSpPr>
                <p:spPr>
                  <a:xfrm>
                    <a:off x="2154279" y="4484926"/>
                    <a:ext cx="4890120" cy="527688"/>
                  </a:xfrm>
                  <a:custGeom>
                    <a:avLst/>
                    <a:gdLst/>
                    <a:ahLst/>
                    <a:cxnLst/>
                    <a:rect l="l" t="t" r="r" b="b"/>
                    <a:pathLst>
                      <a:path w="4890120" h="527688">
                        <a:moveTo>
                          <a:pt x="442036" y="125175"/>
                        </a:moveTo>
                        <a:lnTo>
                          <a:pt x="117434" y="477600"/>
                        </a:lnTo>
                        <a:lnTo>
                          <a:pt x="3579771" y="477600"/>
                        </a:lnTo>
                        <a:lnTo>
                          <a:pt x="3398796" y="125175"/>
                        </a:lnTo>
                        <a:close/>
                        <a:moveTo>
                          <a:pt x="4367989" y="40478"/>
                        </a:moveTo>
                        <a:lnTo>
                          <a:pt x="3454440" y="42859"/>
                        </a:lnTo>
                        <a:cubicBezTo>
                          <a:pt x="3524148" y="188567"/>
                          <a:pt x="3603379" y="331893"/>
                          <a:pt x="3673087" y="477601"/>
                        </a:cubicBezTo>
                        <a:lnTo>
                          <a:pt x="4591914" y="477601"/>
                        </a:lnTo>
                        <a:lnTo>
                          <a:pt x="4766428" y="473629"/>
                        </a:lnTo>
                        <a:close/>
                        <a:moveTo>
                          <a:pt x="505682" y="39446"/>
                        </a:moveTo>
                        <a:lnTo>
                          <a:pt x="461063" y="89927"/>
                        </a:lnTo>
                        <a:lnTo>
                          <a:pt x="3389350" y="87547"/>
                        </a:lnTo>
                        <a:lnTo>
                          <a:pt x="3361268" y="39446"/>
                        </a:lnTo>
                        <a:close/>
                        <a:moveTo>
                          <a:pt x="487195" y="0"/>
                        </a:moveTo>
                        <a:lnTo>
                          <a:pt x="4402926" y="0"/>
                        </a:lnTo>
                        <a:lnTo>
                          <a:pt x="4890120" y="527688"/>
                        </a:lnTo>
                        <a:lnTo>
                          <a:pt x="90627" y="527688"/>
                        </a:lnTo>
                        <a:lnTo>
                          <a:pt x="0" y="527688"/>
                        </a:ln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23" tIns="45711" rIns="91423" bIns="45711"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740597"/>
                    <a:endParaRPr lang="en-US" spc="-122">
                      <a:solidFill>
                        <a:schemeClr val="tx1">
                          <a:lumMod val="50000"/>
                        </a:schemeClr>
                      </a:solidFill>
                      <a:latin typeface="Segoe UI Light"/>
                      <a:sym typeface="Segoe UI Light"/>
                    </a:endParaRPr>
                  </a:p>
                </p:txBody>
              </p:sp>
            </p:grpSp>
          </p:grpSp>
          <p:sp>
            <p:nvSpPr>
              <p:cNvPr id="127" name="Rectangle 3"/>
              <p:cNvSpPr/>
              <p:nvPr/>
            </p:nvSpPr>
            <p:spPr>
              <a:xfrm>
                <a:off x="2598235" y="1792063"/>
                <a:ext cx="640022" cy="552460"/>
              </a:xfrm>
              <a:custGeom>
                <a:avLst/>
                <a:gdLst/>
                <a:ahLst/>
                <a:cxnLst/>
                <a:rect l="l" t="t" r="r" b="b"/>
                <a:pathLst>
                  <a:path w="905496" h="757586">
                    <a:moveTo>
                      <a:pt x="799299" y="592540"/>
                    </a:moveTo>
                    <a:cubicBezTo>
                      <a:pt x="795471" y="592540"/>
                      <a:pt x="792366" y="595645"/>
                      <a:pt x="792366" y="599474"/>
                    </a:cubicBezTo>
                    <a:lnTo>
                      <a:pt x="792366" y="689541"/>
                    </a:lnTo>
                    <a:cubicBezTo>
                      <a:pt x="781733" y="692189"/>
                      <a:pt x="774046" y="701894"/>
                      <a:pt x="774046" y="713394"/>
                    </a:cubicBezTo>
                    <a:cubicBezTo>
                      <a:pt x="774046" y="727340"/>
                      <a:pt x="785353" y="738646"/>
                      <a:pt x="799299" y="738646"/>
                    </a:cubicBezTo>
                    <a:cubicBezTo>
                      <a:pt x="813247" y="738646"/>
                      <a:pt x="824552" y="727340"/>
                      <a:pt x="824552" y="713394"/>
                    </a:cubicBezTo>
                    <a:cubicBezTo>
                      <a:pt x="824552" y="701894"/>
                      <a:pt x="816866" y="692189"/>
                      <a:pt x="806233" y="689541"/>
                    </a:cubicBezTo>
                    <a:lnTo>
                      <a:pt x="806233" y="599474"/>
                    </a:lnTo>
                    <a:cubicBezTo>
                      <a:pt x="806233" y="595645"/>
                      <a:pt x="803129" y="592540"/>
                      <a:pt x="799299" y="592540"/>
                    </a:cubicBezTo>
                    <a:close/>
                    <a:moveTo>
                      <a:pt x="683783" y="592540"/>
                    </a:moveTo>
                    <a:cubicBezTo>
                      <a:pt x="679954" y="592540"/>
                      <a:pt x="676849" y="595645"/>
                      <a:pt x="676849" y="599474"/>
                    </a:cubicBezTo>
                    <a:lnTo>
                      <a:pt x="676849" y="689541"/>
                    </a:lnTo>
                    <a:cubicBezTo>
                      <a:pt x="666217" y="692189"/>
                      <a:pt x="658530" y="701894"/>
                      <a:pt x="658530" y="713394"/>
                    </a:cubicBezTo>
                    <a:cubicBezTo>
                      <a:pt x="658530" y="727340"/>
                      <a:pt x="669836" y="738646"/>
                      <a:pt x="683782" y="738646"/>
                    </a:cubicBezTo>
                    <a:cubicBezTo>
                      <a:pt x="697730" y="738646"/>
                      <a:pt x="709035" y="727340"/>
                      <a:pt x="709035" y="713394"/>
                    </a:cubicBezTo>
                    <a:cubicBezTo>
                      <a:pt x="709035" y="701894"/>
                      <a:pt x="701349" y="692189"/>
                      <a:pt x="690716" y="689541"/>
                    </a:cubicBezTo>
                    <a:lnTo>
                      <a:pt x="690716" y="599474"/>
                    </a:lnTo>
                    <a:cubicBezTo>
                      <a:pt x="690716" y="595645"/>
                      <a:pt x="687612" y="592540"/>
                      <a:pt x="683783" y="592540"/>
                    </a:cubicBezTo>
                    <a:close/>
                    <a:moveTo>
                      <a:pt x="568266" y="592540"/>
                    </a:moveTo>
                    <a:cubicBezTo>
                      <a:pt x="564437" y="592540"/>
                      <a:pt x="561332" y="595645"/>
                      <a:pt x="561332" y="599474"/>
                    </a:cubicBezTo>
                    <a:lnTo>
                      <a:pt x="561332" y="689541"/>
                    </a:lnTo>
                    <a:cubicBezTo>
                      <a:pt x="550700" y="692189"/>
                      <a:pt x="543013" y="701894"/>
                      <a:pt x="543013" y="713394"/>
                    </a:cubicBezTo>
                    <a:cubicBezTo>
                      <a:pt x="543013" y="727340"/>
                      <a:pt x="554319" y="738646"/>
                      <a:pt x="568265" y="738646"/>
                    </a:cubicBezTo>
                    <a:cubicBezTo>
                      <a:pt x="582212" y="738646"/>
                      <a:pt x="593518" y="727340"/>
                      <a:pt x="593518" y="713394"/>
                    </a:cubicBezTo>
                    <a:cubicBezTo>
                      <a:pt x="593518" y="701894"/>
                      <a:pt x="585831" y="692189"/>
                      <a:pt x="575199" y="689541"/>
                    </a:cubicBezTo>
                    <a:lnTo>
                      <a:pt x="575199" y="599474"/>
                    </a:lnTo>
                    <a:cubicBezTo>
                      <a:pt x="575199" y="595645"/>
                      <a:pt x="572095" y="592540"/>
                      <a:pt x="568266" y="592540"/>
                    </a:cubicBezTo>
                    <a:close/>
                    <a:moveTo>
                      <a:pt x="452749" y="592540"/>
                    </a:moveTo>
                    <a:cubicBezTo>
                      <a:pt x="448920" y="592540"/>
                      <a:pt x="445815" y="595645"/>
                      <a:pt x="445815" y="599474"/>
                    </a:cubicBezTo>
                    <a:lnTo>
                      <a:pt x="445815" y="689541"/>
                    </a:lnTo>
                    <a:cubicBezTo>
                      <a:pt x="435183" y="692189"/>
                      <a:pt x="427496" y="701894"/>
                      <a:pt x="427496" y="713394"/>
                    </a:cubicBezTo>
                    <a:cubicBezTo>
                      <a:pt x="427496" y="727340"/>
                      <a:pt x="438802" y="738646"/>
                      <a:pt x="452748" y="738646"/>
                    </a:cubicBezTo>
                    <a:cubicBezTo>
                      <a:pt x="466695" y="738646"/>
                      <a:pt x="478001" y="727340"/>
                      <a:pt x="478001" y="713394"/>
                    </a:cubicBezTo>
                    <a:cubicBezTo>
                      <a:pt x="478001" y="701894"/>
                      <a:pt x="470314" y="692189"/>
                      <a:pt x="459682" y="689541"/>
                    </a:cubicBezTo>
                    <a:lnTo>
                      <a:pt x="459682" y="599474"/>
                    </a:lnTo>
                    <a:cubicBezTo>
                      <a:pt x="459682" y="595645"/>
                      <a:pt x="456578" y="592540"/>
                      <a:pt x="452749" y="592540"/>
                    </a:cubicBezTo>
                    <a:close/>
                    <a:moveTo>
                      <a:pt x="337232" y="592540"/>
                    </a:moveTo>
                    <a:cubicBezTo>
                      <a:pt x="333403" y="592540"/>
                      <a:pt x="330298" y="595645"/>
                      <a:pt x="330298" y="599474"/>
                    </a:cubicBezTo>
                    <a:lnTo>
                      <a:pt x="330298" y="689541"/>
                    </a:lnTo>
                    <a:cubicBezTo>
                      <a:pt x="319666" y="692189"/>
                      <a:pt x="311979" y="701894"/>
                      <a:pt x="311979" y="713394"/>
                    </a:cubicBezTo>
                    <a:cubicBezTo>
                      <a:pt x="311979" y="727340"/>
                      <a:pt x="323285" y="738646"/>
                      <a:pt x="337231" y="738646"/>
                    </a:cubicBezTo>
                    <a:cubicBezTo>
                      <a:pt x="351178" y="738646"/>
                      <a:pt x="362484" y="727340"/>
                      <a:pt x="362484" y="713394"/>
                    </a:cubicBezTo>
                    <a:cubicBezTo>
                      <a:pt x="362484" y="701894"/>
                      <a:pt x="354797" y="692189"/>
                      <a:pt x="344165" y="689541"/>
                    </a:cubicBezTo>
                    <a:lnTo>
                      <a:pt x="344165" y="599474"/>
                    </a:lnTo>
                    <a:cubicBezTo>
                      <a:pt x="344165" y="595645"/>
                      <a:pt x="341061" y="592540"/>
                      <a:pt x="337232" y="592540"/>
                    </a:cubicBezTo>
                    <a:close/>
                    <a:moveTo>
                      <a:pt x="221715" y="592540"/>
                    </a:moveTo>
                    <a:cubicBezTo>
                      <a:pt x="217885" y="592540"/>
                      <a:pt x="214781" y="595645"/>
                      <a:pt x="214781" y="599474"/>
                    </a:cubicBezTo>
                    <a:lnTo>
                      <a:pt x="214781" y="689541"/>
                    </a:lnTo>
                    <a:cubicBezTo>
                      <a:pt x="204149" y="692189"/>
                      <a:pt x="196462" y="701894"/>
                      <a:pt x="196462" y="713394"/>
                    </a:cubicBezTo>
                    <a:cubicBezTo>
                      <a:pt x="196462" y="727340"/>
                      <a:pt x="207768" y="738646"/>
                      <a:pt x="221715" y="738646"/>
                    </a:cubicBezTo>
                    <a:cubicBezTo>
                      <a:pt x="235661" y="738646"/>
                      <a:pt x="246967" y="727340"/>
                      <a:pt x="246967" y="713394"/>
                    </a:cubicBezTo>
                    <a:cubicBezTo>
                      <a:pt x="246967" y="701894"/>
                      <a:pt x="239280" y="692189"/>
                      <a:pt x="228648" y="689541"/>
                    </a:cubicBezTo>
                    <a:lnTo>
                      <a:pt x="228648" y="599474"/>
                    </a:lnTo>
                    <a:cubicBezTo>
                      <a:pt x="228648" y="595645"/>
                      <a:pt x="225544" y="592540"/>
                      <a:pt x="221715" y="592540"/>
                    </a:cubicBezTo>
                    <a:close/>
                    <a:moveTo>
                      <a:pt x="106198" y="592540"/>
                    </a:moveTo>
                    <a:cubicBezTo>
                      <a:pt x="102368" y="592540"/>
                      <a:pt x="99264" y="595645"/>
                      <a:pt x="99264" y="599474"/>
                    </a:cubicBezTo>
                    <a:lnTo>
                      <a:pt x="99264" y="689541"/>
                    </a:lnTo>
                    <a:cubicBezTo>
                      <a:pt x="88632" y="692189"/>
                      <a:pt x="80945" y="701894"/>
                      <a:pt x="80945" y="713394"/>
                    </a:cubicBezTo>
                    <a:cubicBezTo>
                      <a:pt x="80945" y="727340"/>
                      <a:pt x="92251" y="738646"/>
                      <a:pt x="106198" y="738646"/>
                    </a:cubicBezTo>
                    <a:cubicBezTo>
                      <a:pt x="120144" y="738646"/>
                      <a:pt x="131450" y="727340"/>
                      <a:pt x="131450" y="713394"/>
                    </a:cubicBezTo>
                    <a:cubicBezTo>
                      <a:pt x="131450" y="701894"/>
                      <a:pt x="123763" y="692189"/>
                      <a:pt x="113131" y="689541"/>
                    </a:cubicBezTo>
                    <a:lnTo>
                      <a:pt x="113131" y="599474"/>
                    </a:lnTo>
                    <a:cubicBezTo>
                      <a:pt x="113131" y="595645"/>
                      <a:pt x="110027" y="592540"/>
                      <a:pt x="106198" y="592540"/>
                    </a:cubicBezTo>
                    <a:close/>
                    <a:moveTo>
                      <a:pt x="682053" y="510335"/>
                    </a:moveTo>
                    <a:lnTo>
                      <a:pt x="800515" y="510335"/>
                    </a:lnTo>
                    <a:lnTo>
                      <a:pt x="800515" y="583784"/>
                    </a:lnTo>
                    <a:lnTo>
                      <a:pt x="682053" y="583784"/>
                    </a:lnTo>
                    <a:close/>
                    <a:moveTo>
                      <a:pt x="107775" y="510335"/>
                    </a:moveTo>
                    <a:lnTo>
                      <a:pt x="226237" y="510335"/>
                    </a:lnTo>
                    <a:lnTo>
                      <a:pt x="226237" y="583784"/>
                    </a:lnTo>
                    <a:lnTo>
                      <a:pt x="107775" y="583784"/>
                    </a:lnTo>
                    <a:close/>
                    <a:moveTo>
                      <a:pt x="704376" y="486165"/>
                    </a:moveTo>
                    <a:cubicBezTo>
                      <a:pt x="703439" y="486165"/>
                      <a:pt x="702679" y="486841"/>
                      <a:pt x="702679" y="487677"/>
                    </a:cubicBezTo>
                    <a:lnTo>
                      <a:pt x="702679" y="501700"/>
                    </a:lnTo>
                    <a:lnTo>
                      <a:pt x="673407" y="501700"/>
                    </a:lnTo>
                    <a:lnTo>
                      <a:pt x="673407" y="512662"/>
                    </a:lnTo>
                    <a:lnTo>
                      <a:pt x="658135" y="512662"/>
                    </a:lnTo>
                    <a:cubicBezTo>
                      <a:pt x="657197" y="512662"/>
                      <a:pt x="656438" y="513339"/>
                      <a:pt x="656438" y="514174"/>
                    </a:cubicBezTo>
                    <a:lnTo>
                      <a:pt x="656438" y="520222"/>
                    </a:lnTo>
                    <a:cubicBezTo>
                      <a:pt x="656438" y="521057"/>
                      <a:pt x="657197" y="521734"/>
                      <a:pt x="658135" y="521734"/>
                    </a:cubicBezTo>
                    <a:lnTo>
                      <a:pt x="673407" y="521734"/>
                    </a:lnTo>
                    <a:lnTo>
                      <a:pt x="673407" y="527592"/>
                    </a:lnTo>
                    <a:lnTo>
                      <a:pt x="658135" y="527592"/>
                    </a:lnTo>
                    <a:cubicBezTo>
                      <a:pt x="657197" y="527592"/>
                      <a:pt x="656438" y="528270"/>
                      <a:pt x="656438" y="529105"/>
                    </a:cubicBezTo>
                    <a:lnTo>
                      <a:pt x="656438" y="535153"/>
                    </a:lnTo>
                    <a:cubicBezTo>
                      <a:pt x="656438" y="535988"/>
                      <a:pt x="657197" y="536665"/>
                      <a:pt x="658135" y="536665"/>
                    </a:cubicBezTo>
                    <a:lnTo>
                      <a:pt x="673407" y="536665"/>
                    </a:lnTo>
                    <a:lnTo>
                      <a:pt x="673407" y="542524"/>
                    </a:lnTo>
                    <a:lnTo>
                      <a:pt x="658135" y="542524"/>
                    </a:lnTo>
                    <a:cubicBezTo>
                      <a:pt x="657197" y="542524"/>
                      <a:pt x="656438" y="543201"/>
                      <a:pt x="656438" y="544036"/>
                    </a:cubicBezTo>
                    <a:lnTo>
                      <a:pt x="656438" y="550084"/>
                    </a:lnTo>
                    <a:cubicBezTo>
                      <a:pt x="656438" y="550918"/>
                      <a:pt x="657197" y="551595"/>
                      <a:pt x="658135" y="551595"/>
                    </a:cubicBezTo>
                    <a:lnTo>
                      <a:pt x="673407" y="551595"/>
                    </a:lnTo>
                    <a:lnTo>
                      <a:pt x="673407" y="557454"/>
                    </a:lnTo>
                    <a:lnTo>
                      <a:pt x="658135" y="557454"/>
                    </a:lnTo>
                    <a:cubicBezTo>
                      <a:pt x="657197" y="557454"/>
                      <a:pt x="656438" y="558131"/>
                      <a:pt x="656438" y="558966"/>
                    </a:cubicBezTo>
                    <a:lnTo>
                      <a:pt x="656438" y="565014"/>
                    </a:lnTo>
                    <a:cubicBezTo>
                      <a:pt x="656438" y="565850"/>
                      <a:pt x="657197" y="566527"/>
                      <a:pt x="658135" y="566527"/>
                    </a:cubicBezTo>
                    <a:lnTo>
                      <a:pt x="673407" y="566527"/>
                    </a:lnTo>
                    <a:lnTo>
                      <a:pt x="673407" y="572386"/>
                    </a:lnTo>
                    <a:lnTo>
                      <a:pt x="658135" y="572386"/>
                    </a:lnTo>
                    <a:cubicBezTo>
                      <a:pt x="657197" y="572386"/>
                      <a:pt x="656438" y="573062"/>
                      <a:pt x="656438" y="573897"/>
                    </a:cubicBezTo>
                    <a:lnTo>
                      <a:pt x="656438" y="579945"/>
                    </a:lnTo>
                    <a:cubicBezTo>
                      <a:pt x="656438" y="580780"/>
                      <a:pt x="657197" y="581457"/>
                      <a:pt x="658135" y="581457"/>
                    </a:cubicBezTo>
                    <a:lnTo>
                      <a:pt x="673407" y="581457"/>
                    </a:lnTo>
                    <a:lnTo>
                      <a:pt x="673407" y="592419"/>
                    </a:lnTo>
                    <a:lnTo>
                      <a:pt x="702679" y="592419"/>
                    </a:lnTo>
                    <a:lnTo>
                      <a:pt x="702679" y="607263"/>
                    </a:lnTo>
                    <a:cubicBezTo>
                      <a:pt x="702679" y="608098"/>
                      <a:pt x="703439" y="608775"/>
                      <a:pt x="704376" y="608775"/>
                    </a:cubicBezTo>
                    <a:lnTo>
                      <a:pt x="711164" y="608775"/>
                    </a:lnTo>
                    <a:cubicBezTo>
                      <a:pt x="712101" y="608775"/>
                      <a:pt x="712860" y="608098"/>
                      <a:pt x="712860" y="607263"/>
                    </a:cubicBezTo>
                    <a:lnTo>
                      <a:pt x="712860" y="592419"/>
                    </a:lnTo>
                    <a:lnTo>
                      <a:pt x="719436" y="592419"/>
                    </a:lnTo>
                    <a:lnTo>
                      <a:pt x="719436" y="607263"/>
                    </a:lnTo>
                    <a:cubicBezTo>
                      <a:pt x="719436" y="608098"/>
                      <a:pt x="720196" y="608775"/>
                      <a:pt x="721133" y="608775"/>
                    </a:cubicBezTo>
                    <a:lnTo>
                      <a:pt x="727920" y="608775"/>
                    </a:lnTo>
                    <a:cubicBezTo>
                      <a:pt x="728858" y="608775"/>
                      <a:pt x="729618" y="608098"/>
                      <a:pt x="729618" y="607263"/>
                    </a:cubicBezTo>
                    <a:lnTo>
                      <a:pt x="729618" y="592419"/>
                    </a:lnTo>
                    <a:lnTo>
                      <a:pt x="736193" y="592419"/>
                    </a:lnTo>
                    <a:lnTo>
                      <a:pt x="736193" y="607263"/>
                    </a:lnTo>
                    <a:cubicBezTo>
                      <a:pt x="736193" y="608098"/>
                      <a:pt x="736953" y="608775"/>
                      <a:pt x="737890" y="608775"/>
                    </a:cubicBezTo>
                    <a:lnTo>
                      <a:pt x="744678" y="608775"/>
                    </a:lnTo>
                    <a:cubicBezTo>
                      <a:pt x="745615" y="608775"/>
                      <a:pt x="746374" y="608098"/>
                      <a:pt x="746374" y="607263"/>
                    </a:cubicBezTo>
                    <a:lnTo>
                      <a:pt x="746374" y="592419"/>
                    </a:lnTo>
                    <a:lnTo>
                      <a:pt x="752950" y="592419"/>
                    </a:lnTo>
                    <a:lnTo>
                      <a:pt x="752950" y="607263"/>
                    </a:lnTo>
                    <a:cubicBezTo>
                      <a:pt x="752950" y="608098"/>
                      <a:pt x="753710" y="608775"/>
                      <a:pt x="754647" y="608775"/>
                    </a:cubicBezTo>
                    <a:lnTo>
                      <a:pt x="761435" y="608775"/>
                    </a:lnTo>
                    <a:cubicBezTo>
                      <a:pt x="762372" y="608775"/>
                      <a:pt x="763132" y="608098"/>
                      <a:pt x="763132" y="607263"/>
                    </a:cubicBezTo>
                    <a:lnTo>
                      <a:pt x="763132" y="592419"/>
                    </a:lnTo>
                    <a:lnTo>
                      <a:pt x="769708" y="592419"/>
                    </a:lnTo>
                    <a:lnTo>
                      <a:pt x="769708" y="607263"/>
                    </a:lnTo>
                    <a:cubicBezTo>
                      <a:pt x="769708" y="608098"/>
                      <a:pt x="770467" y="608775"/>
                      <a:pt x="771404" y="608775"/>
                    </a:cubicBezTo>
                    <a:lnTo>
                      <a:pt x="778192" y="608775"/>
                    </a:lnTo>
                    <a:cubicBezTo>
                      <a:pt x="779130" y="608775"/>
                      <a:pt x="779888" y="608098"/>
                      <a:pt x="779888" y="607263"/>
                    </a:cubicBezTo>
                    <a:lnTo>
                      <a:pt x="779888" y="592419"/>
                    </a:lnTo>
                    <a:lnTo>
                      <a:pt x="809161" y="592419"/>
                    </a:lnTo>
                    <a:lnTo>
                      <a:pt x="809161" y="581457"/>
                    </a:lnTo>
                    <a:lnTo>
                      <a:pt x="824434" y="581457"/>
                    </a:lnTo>
                    <a:lnTo>
                      <a:pt x="826130" y="579945"/>
                    </a:lnTo>
                    <a:lnTo>
                      <a:pt x="826130" y="573897"/>
                    </a:lnTo>
                    <a:cubicBezTo>
                      <a:pt x="826130" y="573062"/>
                      <a:pt x="825370" y="572386"/>
                      <a:pt x="824434" y="572386"/>
                    </a:cubicBezTo>
                    <a:lnTo>
                      <a:pt x="809161" y="572386"/>
                    </a:lnTo>
                    <a:lnTo>
                      <a:pt x="809161" y="566527"/>
                    </a:lnTo>
                    <a:lnTo>
                      <a:pt x="824434" y="566527"/>
                    </a:lnTo>
                    <a:lnTo>
                      <a:pt x="826130" y="565014"/>
                    </a:lnTo>
                    <a:lnTo>
                      <a:pt x="826130" y="558966"/>
                    </a:lnTo>
                    <a:cubicBezTo>
                      <a:pt x="826130" y="558131"/>
                      <a:pt x="825370" y="557454"/>
                      <a:pt x="824434" y="557454"/>
                    </a:cubicBezTo>
                    <a:lnTo>
                      <a:pt x="809161" y="557454"/>
                    </a:lnTo>
                    <a:lnTo>
                      <a:pt x="809161" y="551595"/>
                    </a:lnTo>
                    <a:lnTo>
                      <a:pt x="824434" y="551595"/>
                    </a:lnTo>
                    <a:lnTo>
                      <a:pt x="826130" y="550084"/>
                    </a:lnTo>
                    <a:lnTo>
                      <a:pt x="826130" y="544036"/>
                    </a:lnTo>
                    <a:cubicBezTo>
                      <a:pt x="826130" y="543201"/>
                      <a:pt x="825370" y="542524"/>
                      <a:pt x="824434" y="542524"/>
                    </a:cubicBezTo>
                    <a:lnTo>
                      <a:pt x="809161" y="542524"/>
                    </a:lnTo>
                    <a:lnTo>
                      <a:pt x="809161" y="536665"/>
                    </a:lnTo>
                    <a:lnTo>
                      <a:pt x="824434" y="536665"/>
                    </a:lnTo>
                    <a:lnTo>
                      <a:pt x="826130" y="535153"/>
                    </a:lnTo>
                    <a:lnTo>
                      <a:pt x="826130" y="529105"/>
                    </a:lnTo>
                    <a:cubicBezTo>
                      <a:pt x="826130" y="528270"/>
                      <a:pt x="825370" y="527592"/>
                      <a:pt x="824434" y="527592"/>
                    </a:cubicBezTo>
                    <a:lnTo>
                      <a:pt x="809161" y="527592"/>
                    </a:lnTo>
                    <a:lnTo>
                      <a:pt x="809161" y="521734"/>
                    </a:lnTo>
                    <a:lnTo>
                      <a:pt x="824434" y="521734"/>
                    </a:lnTo>
                    <a:lnTo>
                      <a:pt x="826130" y="520222"/>
                    </a:lnTo>
                    <a:lnTo>
                      <a:pt x="826130" y="514174"/>
                    </a:lnTo>
                    <a:lnTo>
                      <a:pt x="824434" y="512662"/>
                    </a:lnTo>
                    <a:lnTo>
                      <a:pt x="809161" y="512662"/>
                    </a:lnTo>
                    <a:lnTo>
                      <a:pt x="809161" y="501700"/>
                    </a:lnTo>
                    <a:lnTo>
                      <a:pt x="779888" y="501700"/>
                    </a:lnTo>
                    <a:lnTo>
                      <a:pt x="779888" y="487677"/>
                    </a:lnTo>
                    <a:cubicBezTo>
                      <a:pt x="779888" y="486841"/>
                      <a:pt x="779130" y="486165"/>
                      <a:pt x="778192" y="486165"/>
                    </a:cubicBezTo>
                    <a:lnTo>
                      <a:pt x="771404" y="486165"/>
                    </a:lnTo>
                    <a:cubicBezTo>
                      <a:pt x="770467" y="486165"/>
                      <a:pt x="769708" y="486841"/>
                      <a:pt x="769708" y="487677"/>
                    </a:cubicBezTo>
                    <a:lnTo>
                      <a:pt x="769708" y="501700"/>
                    </a:lnTo>
                    <a:lnTo>
                      <a:pt x="763132" y="501700"/>
                    </a:lnTo>
                    <a:lnTo>
                      <a:pt x="763132" y="487677"/>
                    </a:lnTo>
                    <a:cubicBezTo>
                      <a:pt x="763132" y="486841"/>
                      <a:pt x="762372" y="486165"/>
                      <a:pt x="761435" y="486165"/>
                    </a:cubicBezTo>
                    <a:lnTo>
                      <a:pt x="754647" y="486165"/>
                    </a:lnTo>
                    <a:cubicBezTo>
                      <a:pt x="753710" y="486165"/>
                      <a:pt x="752950" y="486841"/>
                      <a:pt x="752950" y="487677"/>
                    </a:cubicBezTo>
                    <a:lnTo>
                      <a:pt x="752950" y="501700"/>
                    </a:lnTo>
                    <a:lnTo>
                      <a:pt x="746374" y="501700"/>
                    </a:lnTo>
                    <a:lnTo>
                      <a:pt x="746374" y="487677"/>
                    </a:lnTo>
                    <a:cubicBezTo>
                      <a:pt x="746374" y="486841"/>
                      <a:pt x="745615" y="486165"/>
                      <a:pt x="744678" y="486165"/>
                    </a:cubicBezTo>
                    <a:lnTo>
                      <a:pt x="737890" y="486165"/>
                    </a:lnTo>
                    <a:cubicBezTo>
                      <a:pt x="736953" y="486165"/>
                      <a:pt x="736193" y="486841"/>
                      <a:pt x="736193" y="487677"/>
                    </a:cubicBezTo>
                    <a:lnTo>
                      <a:pt x="736193" y="501700"/>
                    </a:lnTo>
                    <a:lnTo>
                      <a:pt x="729618" y="501700"/>
                    </a:lnTo>
                    <a:lnTo>
                      <a:pt x="729618" y="487677"/>
                    </a:lnTo>
                    <a:cubicBezTo>
                      <a:pt x="729618" y="486841"/>
                      <a:pt x="728858" y="486165"/>
                      <a:pt x="727920" y="486165"/>
                    </a:cubicBezTo>
                    <a:lnTo>
                      <a:pt x="721133" y="486165"/>
                    </a:lnTo>
                    <a:cubicBezTo>
                      <a:pt x="720196" y="486165"/>
                      <a:pt x="719436" y="486841"/>
                      <a:pt x="719436" y="487677"/>
                    </a:cubicBezTo>
                    <a:lnTo>
                      <a:pt x="719436" y="501700"/>
                    </a:lnTo>
                    <a:lnTo>
                      <a:pt x="712860" y="501700"/>
                    </a:lnTo>
                    <a:lnTo>
                      <a:pt x="712860" y="487677"/>
                    </a:lnTo>
                    <a:cubicBezTo>
                      <a:pt x="712860" y="486841"/>
                      <a:pt x="712101" y="486165"/>
                      <a:pt x="711164" y="486165"/>
                    </a:cubicBezTo>
                    <a:close/>
                    <a:moveTo>
                      <a:pt x="130098" y="486165"/>
                    </a:moveTo>
                    <a:cubicBezTo>
                      <a:pt x="129161" y="486165"/>
                      <a:pt x="128402" y="486841"/>
                      <a:pt x="128402" y="487677"/>
                    </a:cubicBezTo>
                    <a:lnTo>
                      <a:pt x="128402" y="501700"/>
                    </a:lnTo>
                    <a:lnTo>
                      <a:pt x="99130" y="501700"/>
                    </a:lnTo>
                    <a:lnTo>
                      <a:pt x="99130" y="512662"/>
                    </a:lnTo>
                    <a:lnTo>
                      <a:pt x="83857" y="512662"/>
                    </a:lnTo>
                    <a:cubicBezTo>
                      <a:pt x="82920" y="512662"/>
                      <a:pt x="82160" y="513339"/>
                      <a:pt x="82160" y="514174"/>
                    </a:cubicBezTo>
                    <a:lnTo>
                      <a:pt x="82160" y="520222"/>
                    </a:lnTo>
                    <a:cubicBezTo>
                      <a:pt x="82160" y="521057"/>
                      <a:pt x="82920" y="521734"/>
                      <a:pt x="83857" y="521734"/>
                    </a:cubicBezTo>
                    <a:lnTo>
                      <a:pt x="99130" y="521734"/>
                    </a:lnTo>
                    <a:lnTo>
                      <a:pt x="99130" y="527592"/>
                    </a:lnTo>
                    <a:lnTo>
                      <a:pt x="83857" y="527592"/>
                    </a:lnTo>
                    <a:cubicBezTo>
                      <a:pt x="82920" y="527592"/>
                      <a:pt x="82160" y="528270"/>
                      <a:pt x="82160" y="529105"/>
                    </a:cubicBezTo>
                    <a:lnTo>
                      <a:pt x="82160" y="535153"/>
                    </a:lnTo>
                    <a:cubicBezTo>
                      <a:pt x="82160" y="535988"/>
                      <a:pt x="82920" y="536665"/>
                      <a:pt x="83857" y="536665"/>
                    </a:cubicBezTo>
                    <a:lnTo>
                      <a:pt x="99130" y="536665"/>
                    </a:lnTo>
                    <a:lnTo>
                      <a:pt x="99130" y="542524"/>
                    </a:lnTo>
                    <a:lnTo>
                      <a:pt x="83857" y="542524"/>
                    </a:lnTo>
                    <a:cubicBezTo>
                      <a:pt x="82920" y="542524"/>
                      <a:pt x="82160" y="543201"/>
                      <a:pt x="82160" y="544036"/>
                    </a:cubicBezTo>
                    <a:lnTo>
                      <a:pt x="82160" y="550084"/>
                    </a:lnTo>
                    <a:cubicBezTo>
                      <a:pt x="82160" y="550918"/>
                      <a:pt x="82920" y="551595"/>
                      <a:pt x="83857" y="551595"/>
                    </a:cubicBezTo>
                    <a:lnTo>
                      <a:pt x="99130" y="551595"/>
                    </a:lnTo>
                    <a:lnTo>
                      <a:pt x="99130" y="557454"/>
                    </a:lnTo>
                    <a:lnTo>
                      <a:pt x="83857" y="557454"/>
                    </a:lnTo>
                    <a:cubicBezTo>
                      <a:pt x="82920" y="557454"/>
                      <a:pt x="82160" y="558131"/>
                      <a:pt x="82160" y="558966"/>
                    </a:cubicBezTo>
                    <a:lnTo>
                      <a:pt x="82160" y="565014"/>
                    </a:lnTo>
                    <a:cubicBezTo>
                      <a:pt x="82160" y="565850"/>
                      <a:pt x="82920" y="566527"/>
                      <a:pt x="83857" y="566527"/>
                    </a:cubicBezTo>
                    <a:lnTo>
                      <a:pt x="99130" y="566527"/>
                    </a:lnTo>
                    <a:lnTo>
                      <a:pt x="99130" y="572386"/>
                    </a:lnTo>
                    <a:lnTo>
                      <a:pt x="83857" y="572386"/>
                    </a:lnTo>
                    <a:cubicBezTo>
                      <a:pt x="82920" y="572386"/>
                      <a:pt x="82160" y="573062"/>
                      <a:pt x="82160" y="573897"/>
                    </a:cubicBezTo>
                    <a:lnTo>
                      <a:pt x="82160" y="579945"/>
                    </a:lnTo>
                    <a:cubicBezTo>
                      <a:pt x="82160" y="580780"/>
                      <a:pt x="82920" y="581457"/>
                      <a:pt x="83857" y="581457"/>
                    </a:cubicBezTo>
                    <a:lnTo>
                      <a:pt x="99130" y="581457"/>
                    </a:lnTo>
                    <a:lnTo>
                      <a:pt x="99130" y="592419"/>
                    </a:lnTo>
                    <a:lnTo>
                      <a:pt x="128402" y="592419"/>
                    </a:lnTo>
                    <a:lnTo>
                      <a:pt x="128402" y="607263"/>
                    </a:lnTo>
                    <a:cubicBezTo>
                      <a:pt x="128402" y="608098"/>
                      <a:pt x="129161" y="608775"/>
                      <a:pt x="130098" y="608775"/>
                    </a:cubicBezTo>
                    <a:lnTo>
                      <a:pt x="136886" y="608775"/>
                    </a:lnTo>
                    <a:cubicBezTo>
                      <a:pt x="137824" y="608775"/>
                      <a:pt x="138583" y="608098"/>
                      <a:pt x="138583" y="607263"/>
                    </a:cubicBezTo>
                    <a:lnTo>
                      <a:pt x="138583" y="592419"/>
                    </a:lnTo>
                    <a:lnTo>
                      <a:pt x="145158" y="592419"/>
                    </a:lnTo>
                    <a:lnTo>
                      <a:pt x="145158" y="607263"/>
                    </a:lnTo>
                    <a:cubicBezTo>
                      <a:pt x="145158" y="608098"/>
                      <a:pt x="145918" y="608775"/>
                      <a:pt x="146855" y="608775"/>
                    </a:cubicBezTo>
                    <a:lnTo>
                      <a:pt x="153644" y="608775"/>
                    </a:lnTo>
                    <a:cubicBezTo>
                      <a:pt x="154580" y="608775"/>
                      <a:pt x="155340" y="608098"/>
                      <a:pt x="155340" y="607263"/>
                    </a:cubicBezTo>
                    <a:lnTo>
                      <a:pt x="155340" y="592419"/>
                    </a:lnTo>
                    <a:lnTo>
                      <a:pt x="161916" y="592419"/>
                    </a:lnTo>
                    <a:lnTo>
                      <a:pt x="161916" y="607263"/>
                    </a:lnTo>
                    <a:cubicBezTo>
                      <a:pt x="161916" y="608098"/>
                      <a:pt x="162675" y="608775"/>
                      <a:pt x="163613" y="608775"/>
                    </a:cubicBezTo>
                    <a:lnTo>
                      <a:pt x="170400" y="608775"/>
                    </a:lnTo>
                    <a:cubicBezTo>
                      <a:pt x="171337" y="608775"/>
                      <a:pt x="172097" y="608098"/>
                      <a:pt x="172097" y="607263"/>
                    </a:cubicBezTo>
                    <a:lnTo>
                      <a:pt x="172097" y="592419"/>
                    </a:lnTo>
                    <a:lnTo>
                      <a:pt x="178672" y="592419"/>
                    </a:lnTo>
                    <a:lnTo>
                      <a:pt x="178672" y="607263"/>
                    </a:lnTo>
                    <a:cubicBezTo>
                      <a:pt x="178672" y="608098"/>
                      <a:pt x="179433" y="608775"/>
                      <a:pt x="180369" y="608775"/>
                    </a:cubicBezTo>
                    <a:lnTo>
                      <a:pt x="187157" y="608775"/>
                    </a:lnTo>
                    <a:cubicBezTo>
                      <a:pt x="188094" y="608775"/>
                      <a:pt x="188854" y="608098"/>
                      <a:pt x="188854" y="607263"/>
                    </a:cubicBezTo>
                    <a:lnTo>
                      <a:pt x="188854" y="592419"/>
                    </a:lnTo>
                    <a:lnTo>
                      <a:pt x="195430" y="592419"/>
                    </a:lnTo>
                    <a:lnTo>
                      <a:pt x="195430" y="607263"/>
                    </a:lnTo>
                    <a:cubicBezTo>
                      <a:pt x="195430" y="608098"/>
                      <a:pt x="196189" y="608775"/>
                      <a:pt x="197127" y="608775"/>
                    </a:cubicBezTo>
                    <a:lnTo>
                      <a:pt x="203914" y="608775"/>
                    </a:lnTo>
                    <a:cubicBezTo>
                      <a:pt x="204852" y="608775"/>
                      <a:pt x="205611" y="608098"/>
                      <a:pt x="205611" y="607263"/>
                    </a:cubicBezTo>
                    <a:lnTo>
                      <a:pt x="205611" y="592419"/>
                    </a:lnTo>
                    <a:lnTo>
                      <a:pt x="234883" y="592419"/>
                    </a:lnTo>
                    <a:lnTo>
                      <a:pt x="234883" y="581457"/>
                    </a:lnTo>
                    <a:lnTo>
                      <a:pt x="250156" y="581457"/>
                    </a:lnTo>
                    <a:lnTo>
                      <a:pt x="251852" y="579945"/>
                    </a:lnTo>
                    <a:lnTo>
                      <a:pt x="251852" y="573897"/>
                    </a:lnTo>
                    <a:cubicBezTo>
                      <a:pt x="251852" y="573062"/>
                      <a:pt x="251093" y="572386"/>
                      <a:pt x="250156" y="572386"/>
                    </a:cubicBezTo>
                    <a:lnTo>
                      <a:pt x="234883" y="572386"/>
                    </a:lnTo>
                    <a:lnTo>
                      <a:pt x="234883" y="566527"/>
                    </a:lnTo>
                    <a:lnTo>
                      <a:pt x="250156" y="566527"/>
                    </a:lnTo>
                    <a:lnTo>
                      <a:pt x="251852" y="565014"/>
                    </a:lnTo>
                    <a:lnTo>
                      <a:pt x="251852" y="558966"/>
                    </a:lnTo>
                    <a:cubicBezTo>
                      <a:pt x="251852" y="558131"/>
                      <a:pt x="251093" y="557454"/>
                      <a:pt x="250156" y="557454"/>
                    </a:cubicBezTo>
                    <a:lnTo>
                      <a:pt x="234883" y="557454"/>
                    </a:lnTo>
                    <a:lnTo>
                      <a:pt x="234883" y="551595"/>
                    </a:lnTo>
                    <a:lnTo>
                      <a:pt x="250156" y="551595"/>
                    </a:lnTo>
                    <a:lnTo>
                      <a:pt x="251852" y="550084"/>
                    </a:lnTo>
                    <a:lnTo>
                      <a:pt x="251852" y="544036"/>
                    </a:lnTo>
                    <a:cubicBezTo>
                      <a:pt x="251852" y="543201"/>
                      <a:pt x="251093" y="542524"/>
                      <a:pt x="250156" y="542524"/>
                    </a:cubicBezTo>
                    <a:lnTo>
                      <a:pt x="234883" y="542524"/>
                    </a:lnTo>
                    <a:lnTo>
                      <a:pt x="234883" y="536665"/>
                    </a:lnTo>
                    <a:lnTo>
                      <a:pt x="250156" y="536665"/>
                    </a:lnTo>
                    <a:lnTo>
                      <a:pt x="251852" y="535153"/>
                    </a:lnTo>
                    <a:lnTo>
                      <a:pt x="251852" y="529105"/>
                    </a:lnTo>
                    <a:cubicBezTo>
                      <a:pt x="251852" y="528270"/>
                      <a:pt x="251093" y="527592"/>
                      <a:pt x="250156" y="527592"/>
                    </a:cubicBezTo>
                    <a:lnTo>
                      <a:pt x="234883" y="527592"/>
                    </a:lnTo>
                    <a:lnTo>
                      <a:pt x="234883" y="521734"/>
                    </a:lnTo>
                    <a:lnTo>
                      <a:pt x="250156" y="521734"/>
                    </a:lnTo>
                    <a:lnTo>
                      <a:pt x="251852" y="520222"/>
                    </a:lnTo>
                    <a:lnTo>
                      <a:pt x="251852" y="514174"/>
                    </a:lnTo>
                    <a:lnTo>
                      <a:pt x="250156" y="512662"/>
                    </a:lnTo>
                    <a:lnTo>
                      <a:pt x="234883" y="512662"/>
                    </a:lnTo>
                    <a:lnTo>
                      <a:pt x="234883" y="501700"/>
                    </a:lnTo>
                    <a:lnTo>
                      <a:pt x="205611" y="501700"/>
                    </a:lnTo>
                    <a:lnTo>
                      <a:pt x="205611" y="487677"/>
                    </a:lnTo>
                    <a:cubicBezTo>
                      <a:pt x="205611" y="486841"/>
                      <a:pt x="204852" y="486165"/>
                      <a:pt x="203914" y="486165"/>
                    </a:cubicBezTo>
                    <a:lnTo>
                      <a:pt x="197127" y="486165"/>
                    </a:lnTo>
                    <a:cubicBezTo>
                      <a:pt x="196189" y="486165"/>
                      <a:pt x="195430" y="486841"/>
                      <a:pt x="195430" y="487677"/>
                    </a:cubicBezTo>
                    <a:lnTo>
                      <a:pt x="195430" y="501700"/>
                    </a:lnTo>
                    <a:lnTo>
                      <a:pt x="188854" y="501700"/>
                    </a:lnTo>
                    <a:lnTo>
                      <a:pt x="188854" y="487677"/>
                    </a:lnTo>
                    <a:cubicBezTo>
                      <a:pt x="188854" y="486841"/>
                      <a:pt x="188094" y="486165"/>
                      <a:pt x="187157" y="486165"/>
                    </a:cubicBezTo>
                    <a:lnTo>
                      <a:pt x="180369" y="486165"/>
                    </a:lnTo>
                    <a:cubicBezTo>
                      <a:pt x="179433" y="486165"/>
                      <a:pt x="178672" y="486841"/>
                      <a:pt x="178672" y="487677"/>
                    </a:cubicBezTo>
                    <a:lnTo>
                      <a:pt x="178672" y="501700"/>
                    </a:lnTo>
                    <a:lnTo>
                      <a:pt x="172097" y="501700"/>
                    </a:lnTo>
                    <a:lnTo>
                      <a:pt x="172097" y="487677"/>
                    </a:lnTo>
                    <a:cubicBezTo>
                      <a:pt x="172097" y="486841"/>
                      <a:pt x="171337" y="486165"/>
                      <a:pt x="170400" y="486165"/>
                    </a:cubicBezTo>
                    <a:lnTo>
                      <a:pt x="163613" y="486165"/>
                    </a:lnTo>
                    <a:cubicBezTo>
                      <a:pt x="162675" y="486165"/>
                      <a:pt x="161916" y="486841"/>
                      <a:pt x="161916" y="487677"/>
                    </a:cubicBezTo>
                    <a:lnTo>
                      <a:pt x="161916" y="501700"/>
                    </a:lnTo>
                    <a:lnTo>
                      <a:pt x="155340" y="501700"/>
                    </a:lnTo>
                    <a:lnTo>
                      <a:pt x="155340" y="487677"/>
                    </a:lnTo>
                    <a:cubicBezTo>
                      <a:pt x="155340" y="486841"/>
                      <a:pt x="154580" y="486165"/>
                      <a:pt x="153644" y="486165"/>
                    </a:cubicBezTo>
                    <a:lnTo>
                      <a:pt x="146855" y="486165"/>
                    </a:lnTo>
                    <a:cubicBezTo>
                      <a:pt x="145918" y="486165"/>
                      <a:pt x="145158" y="486841"/>
                      <a:pt x="145158" y="487677"/>
                    </a:cubicBezTo>
                    <a:lnTo>
                      <a:pt x="145158" y="501700"/>
                    </a:lnTo>
                    <a:lnTo>
                      <a:pt x="138583" y="501700"/>
                    </a:lnTo>
                    <a:lnTo>
                      <a:pt x="138583" y="487677"/>
                    </a:lnTo>
                    <a:cubicBezTo>
                      <a:pt x="138583" y="486841"/>
                      <a:pt x="137824" y="486165"/>
                      <a:pt x="136886" y="486165"/>
                    </a:cubicBezTo>
                    <a:close/>
                    <a:moveTo>
                      <a:pt x="566570" y="407292"/>
                    </a:moveTo>
                    <a:cubicBezTo>
                      <a:pt x="584504" y="407292"/>
                      <a:pt x="599042" y="421830"/>
                      <a:pt x="599042" y="439764"/>
                    </a:cubicBezTo>
                    <a:cubicBezTo>
                      <a:pt x="599042" y="457698"/>
                      <a:pt x="584504" y="472236"/>
                      <a:pt x="566570" y="472236"/>
                    </a:cubicBezTo>
                    <a:cubicBezTo>
                      <a:pt x="548636" y="472236"/>
                      <a:pt x="534098" y="457698"/>
                      <a:pt x="534098" y="439764"/>
                    </a:cubicBezTo>
                    <a:cubicBezTo>
                      <a:pt x="534098" y="421830"/>
                      <a:pt x="548636" y="407292"/>
                      <a:pt x="566570" y="407292"/>
                    </a:cubicBezTo>
                    <a:close/>
                    <a:moveTo>
                      <a:pt x="277003" y="407292"/>
                    </a:moveTo>
                    <a:cubicBezTo>
                      <a:pt x="294937" y="407292"/>
                      <a:pt x="309475" y="421830"/>
                      <a:pt x="309475" y="439764"/>
                    </a:cubicBezTo>
                    <a:cubicBezTo>
                      <a:pt x="309475" y="457698"/>
                      <a:pt x="294937" y="472236"/>
                      <a:pt x="277003" y="472236"/>
                    </a:cubicBezTo>
                    <a:cubicBezTo>
                      <a:pt x="259069" y="472236"/>
                      <a:pt x="244531" y="457698"/>
                      <a:pt x="244531" y="439764"/>
                    </a:cubicBezTo>
                    <a:cubicBezTo>
                      <a:pt x="244531" y="421830"/>
                      <a:pt x="259069" y="407292"/>
                      <a:pt x="277003" y="407292"/>
                    </a:cubicBezTo>
                    <a:close/>
                    <a:moveTo>
                      <a:pt x="566570" y="394044"/>
                    </a:moveTo>
                    <a:cubicBezTo>
                      <a:pt x="541320" y="394044"/>
                      <a:pt x="520850" y="414514"/>
                      <a:pt x="520850" y="439764"/>
                    </a:cubicBezTo>
                    <a:cubicBezTo>
                      <a:pt x="520850" y="465014"/>
                      <a:pt x="541320" y="485484"/>
                      <a:pt x="566570" y="485484"/>
                    </a:cubicBezTo>
                    <a:cubicBezTo>
                      <a:pt x="591820" y="485484"/>
                      <a:pt x="612290" y="465014"/>
                      <a:pt x="612290" y="439764"/>
                    </a:cubicBezTo>
                    <a:cubicBezTo>
                      <a:pt x="612290" y="414514"/>
                      <a:pt x="591820" y="394044"/>
                      <a:pt x="566570" y="394044"/>
                    </a:cubicBezTo>
                    <a:close/>
                    <a:moveTo>
                      <a:pt x="277003" y="394044"/>
                    </a:moveTo>
                    <a:cubicBezTo>
                      <a:pt x="251753" y="394044"/>
                      <a:pt x="231283" y="414514"/>
                      <a:pt x="231283" y="439764"/>
                    </a:cubicBezTo>
                    <a:cubicBezTo>
                      <a:pt x="231283" y="465014"/>
                      <a:pt x="251753" y="485484"/>
                      <a:pt x="277003" y="485484"/>
                    </a:cubicBezTo>
                    <a:cubicBezTo>
                      <a:pt x="302253" y="485484"/>
                      <a:pt x="322723" y="465014"/>
                      <a:pt x="322723" y="439764"/>
                    </a:cubicBezTo>
                    <a:cubicBezTo>
                      <a:pt x="322723" y="414514"/>
                      <a:pt x="302253" y="394044"/>
                      <a:pt x="277003" y="394044"/>
                    </a:cubicBezTo>
                    <a:close/>
                    <a:moveTo>
                      <a:pt x="816309" y="358275"/>
                    </a:moveTo>
                    <a:cubicBezTo>
                      <a:pt x="813897" y="358275"/>
                      <a:pt x="811941" y="360231"/>
                      <a:pt x="811941" y="362644"/>
                    </a:cubicBezTo>
                    <a:lnTo>
                      <a:pt x="811941" y="380118"/>
                    </a:lnTo>
                    <a:cubicBezTo>
                      <a:pt x="811941" y="382530"/>
                      <a:pt x="813897" y="384486"/>
                      <a:pt x="816309" y="384486"/>
                    </a:cubicBezTo>
                    <a:lnTo>
                      <a:pt x="859995" y="384486"/>
                    </a:lnTo>
                    <a:cubicBezTo>
                      <a:pt x="862407" y="384486"/>
                      <a:pt x="864363" y="382530"/>
                      <a:pt x="864363" y="380118"/>
                    </a:cubicBezTo>
                    <a:lnTo>
                      <a:pt x="864363" y="362644"/>
                    </a:lnTo>
                    <a:cubicBezTo>
                      <a:pt x="864363" y="360231"/>
                      <a:pt x="862407" y="358275"/>
                      <a:pt x="859995" y="358275"/>
                    </a:cubicBezTo>
                    <a:close/>
                    <a:moveTo>
                      <a:pt x="45502" y="358275"/>
                    </a:moveTo>
                    <a:cubicBezTo>
                      <a:pt x="43089" y="358275"/>
                      <a:pt x="41133" y="360231"/>
                      <a:pt x="41133" y="362644"/>
                    </a:cubicBezTo>
                    <a:lnTo>
                      <a:pt x="41133" y="380118"/>
                    </a:lnTo>
                    <a:cubicBezTo>
                      <a:pt x="41133" y="382530"/>
                      <a:pt x="43089" y="384486"/>
                      <a:pt x="45502" y="384486"/>
                    </a:cubicBezTo>
                    <a:lnTo>
                      <a:pt x="89187" y="384486"/>
                    </a:lnTo>
                    <a:cubicBezTo>
                      <a:pt x="91600" y="384486"/>
                      <a:pt x="93556" y="382530"/>
                      <a:pt x="93556" y="380118"/>
                    </a:cubicBezTo>
                    <a:lnTo>
                      <a:pt x="93556" y="362644"/>
                    </a:lnTo>
                    <a:cubicBezTo>
                      <a:pt x="93556" y="360231"/>
                      <a:pt x="91600" y="358275"/>
                      <a:pt x="89187" y="358275"/>
                    </a:cubicBezTo>
                    <a:close/>
                    <a:moveTo>
                      <a:pt x="816309" y="315136"/>
                    </a:moveTo>
                    <a:cubicBezTo>
                      <a:pt x="813897" y="315136"/>
                      <a:pt x="811941" y="317091"/>
                      <a:pt x="811941" y="319505"/>
                    </a:cubicBezTo>
                    <a:lnTo>
                      <a:pt x="811941" y="336978"/>
                    </a:lnTo>
                    <a:cubicBezTo>
                      <a:pt x="811941" y="339391"/>
                      <a:pt x="813897" y="341347"/>
                      <a:pt x="816309" y="341347"/>
                    </a:cubicBezTo>
                    <a:lnTo>
                      <a:pt x="859995" y="341347"/>
                    </a:lnTo>
                    <a:cubicBezTo>
                      <a:pt x="862407" y="341347"/>
                      <a:pt x="864363" y="339391"/>
                      <a:pt x="864363" y="336978"/>
                    </a:cubicBezTo>
                    <a:lnTo>
                      <a:pt x="864363" y="319505"/>
                    </a:lnTo>
                    <a:cubicBezTo>
                      <a:pt x="864363" y="317091"/>
                      <a:pt x="862407" y="315136"/>
                      <a:pt x="859995" y="315136"/>
                    </a:cubicBezTo>
                    <a:close/>
                    <a:moveTo>
                      <a:pt x="45502" y="315136"/>
                    </a:moveTo>
                    <a:cubicBezTo>
                      <a:pt x="43089" y="315136"/>
                      <a:pt x="41133" y="317091"/>
                      <a:pt x="41133" y="319505"/>
                    </a:cubicBezTo>
                    <a:lnTo>
                      <a:pt x="41133" y="336978"/>
                    </a:lnTo>
                    <a:cubicBezTo>
                      <a:pt x="41133" y="339391"/>
                      <a:pt x="43089" y="341347"/>
                      <a:pt x="45502" y="341347"/>
                    </a:cubicBezTo>
                    <a:lnTo>
                      <a:pt x="89187" y="341347"/>
                    </a:lnTo>
                    <a:cubicBezTo>
                      <a:pt x="91600" y="341347"/>
                      <a:pt x="93556" y="339391"/>
                      <a:pt x="93556" y="336978"/>
                    </a:cubicBezTo>
                    <a:lnTo>
                      <a:pt x="93556" y="319505"/>
                    </a:lnTo>
                    <a:cubicBezTo>
                      <a:pt x="93556" y="317091"/>
                      <a:pt x="91600" y="315136"/>
                      <a:pt x="89187" y="315136"/>
                    </a:cubicBezTo>
                    <a:close/>
                    <a:moveTo>
                      <a:pt x="816309" y="271997"/>
                    </a:moveTo>
                    <a:cubicBezTo>
                      <a:pt x="813897" y="271997"/>
                      <a:pt x="811941" y="273953"/>
                      <a:pt x="811941" y="276366"/>
                    </a:cubicBezTo>
                    <a:lnTo>
                      <a:pt x="811941" y="293840"/>
                    </a:lnTo>
                    <a:cubicBezTo>
                      <a:pt x="811941" y="296252"/>
                      <a:pt x="813897" y="298208"/>
                      <a:pt x="816309" y="298208"/>
                    </a:cubicBezTo>
                    <a:lnTo>
                      <a:pt x="859995" y="298208"/>
                    </a:lnTo>
                    <a:cubicBezTo>
                      <a:pt x="862407" y="298208"/>
                      <a:pt x="864363" y="296252"/>
                      <a:pt x="864363" y="293840"/>
                    </a:cubicBezTo>
                    <a:lnTo>
                      <a:pt x="864363" y="276366"/>
                    </a:lnTo>
                    <a:cubicBezTo>
                      <a:pt x="864363" y="273953"/>
                      <a:pt x="862407" y="271997"/>
                      <a:pt x="859995" y="271997"/>
                    </a:cubicBezTo>
                    <a:close/>
                    <a:moveTo>
                      <a:pt x="45502" y="271997"/>
                    </a:moveTo>
                    <a:cubicBezTo>
                      <a:pt x="43089" y="271997"/>
                      <a:pt x="41133" y="273953"/>
                      <a:pt x="41133" y="276366"/>
                    </a:cubicBezTo>
                    <a:lnTo>
                      <a:pt x="41133" y="293840"/>
                    </a:lnTo>
                    <a:cubicBezTo>
                      <a:pt x="41133" y="296252"/>
                      <a:pt x="43089" y="298208"/>
                      <a:pt x="45502" y="298208"/>
                    </a:cubicBezTo>
                    <a:lnTo>
                      <a:pt x="89187" y="298208"/>
                    </a:lnTo>
                    <a:cubicBezTo>
                      <a:pt x="91600" y="298208"/>
                      <a:pt x="93556" y="296252"/>
                      <a:pt x="93556" y="293840"/>
                    </a:cubicBezTo>
                    <a:lnTo>
                      <a:pt x="93556" y="276366"/>
                    </a:lnTo>
                    <a:cubicBezTo>
                      <a:pt x="93556" y="273953"/>
                      <a:pt x="91600" y="271997"/>
                      <a:pt x="89187" y="271997"/>
                    </a:cubicBezTo>
                    <a:close/>
                    <a:moveTo>
                      <a:pt x="816309" y="228859"/>
                    </a:moveTo>
                    <a:cubicBezTo>
                      <a:pt x="813897" y="228859"/>
                      <a:pt x="811941" y="230815"/>
                      <a:pt x="811941" y="233227"/>
                    </a:cubicBezTo>
                    <a:lnTo>
                      <a:pt x="811941" y="250701"/>
                    </a:lnTo>
                    <a:cubicBezTo>
                      <a:pt x="811941" y="253114"/>
                      <a:pt x="813897" y="255070"/>
                      <a:pt x="816309" y="255070"/>
                    </a:cubicBezTo>
                    <a:lnTo>
                      <a:pt x="859995" y="255070"/>
                    </a:lnTo>
                    <a:cubicBezTo>
                      <a:pt x="862407" y="255070"/>
                      <a:pt x="864363" y="253114"/>
                      <a:pt x="864363" y="250701"/>
                    </a:cubicBezTo>
                    <a:lnTo>
                      <a:pt x="864363" y="233227"/>
                    </a:lnTo>
                    <a:cubicBezTo>
                      <a:pt x="864363" y="230815"/>
                      <a:pt x="862407" y="228859"/>
                      <a:pt x="859995" y="228859"/>
                    </a:cubicBezTo>
                    <a:close/>
                    <a:moveTo>
                      <a:pt x="45502" y="228859"/>
                    </a:moveTo>
                    <a:cubicBezTo>
                      <a:pt x="43089" y="228859"/>
                      <a:pt x="41133" y="230815"/>
                      <a:pt x="41133" y="233227"/>
                    </a:cubicBezTo>
                    <a:lnTo>
                      <a:pt x="41133" y="250701"/>
                    </a:lnTo>
                    <a:cubicBezTo>
                      <a:pt x="41133" y="253114"/>
                      <a:pt x="43089" y="255070"/>
                      <a:pt x="45502" y="255070"/>
                    </a:cubicBezTo>
                    <a:lnTo>
                      <a:pt x="89187" y="255070"/>
                    </a:lnTo>
                    <a:cubicBezTo>
                      <a:pt x="91600" y="255070"/>
                      <a:pt x="93556" y="253114"/>
                      <a:pt x="93556" y="250701"/>
                    </a:cubicBezTo>
                    <a:lnTo>
                      <a:pt x="93556" y="233227"/>
                    </a:lnTo>
                    <a:cubicBezTo>
                      <a:pt x="93556" y="230815"/>
                      <a:pt x="91600" y="228859"/>
                      <a:pt x="89187" y="228859"/>
                    </a:cubicBezTo>
                    <a:close/>
                    <a:moveTo>
                      <a:pt x="816309" y="185720"/>
                    </a:moveTo>
                    <a:cubicBezTo>
                      <a:pt x="813897" y="185720"/>
                      <a:pt x="811941" y="187676"/>
                      <a:pt x="811941" y="190089"/>
                    </a:cubicBezTo>
                    <a:lnTo>
                      <a:pt x="811941" y="207563"/>
                    </a:lnTo>
                    <a:cubicBezTo>
                      <a:pt x="811941" y="209975"/>
                      <a:pt x="813897" y="211931"/>
                      <a:pt x="816309" y="211931"/>
                    </a:cubicBezTo>
                    <a:lnTo>
                      <a:pt x="859995" y="211931"/>
                    </a:lnTo>
                    <a:cubicBezTo>
                      <a:pt x="862407" y="211931"/>
                      <a:pt x="864363" y="209975"/>
                      <a:pt x="864363" y="207563"/>
                    </a:cubicBezTo>
                    <a:lnTo>
                      <a:pt x="864363" y="190089"/>
                    </a:lnTo>
                    <a:cubicBezTo>
                      <a:pt x="864363" y="187676"/>
                      <a:pt x="862407" y="185720"/>
                      <a:pt x="859995" y="185720"/>
                    </a:cubicBezTo>
                    <a:close/>
                    <a:moveTo>
                      <a:pt x="45502" y="185720"/>
                    </a:moveTo>
                    <a:cubicBezTo>
                      <a:pt x="43089" y="185720"/>
                      <a:pt x="41133" y="187676"/>
                      <a:pt x="41133" y="190089"/>
                    </a:cubicBezTo>
                    <a:lnTo>
                      <a:pt x="41133" y="207563"/>
                    </a:lnTo>
                    <a:cubicBezTo>
                      <a:pt x="41133" y="209975"/>
                      <a:pt x="43089" y="211931"/>
                      <a:pt x="45502" y="211931"/>
                    </a:cubicBezTo>
                    <a:lnTo>
                      <a:pt x="89187" y="211931"/>
                    </a:lnTo>
                    <a:cubicBezTo>
                      <a:pt x="91600" y="211931"/>
                      <a:pt x="93556" y="209975"/>
                      <a:pt x="93556" y="207563"/>
                    </a:cubicBezTo>
                    <a:lnTo>
                      <a:pt x="93556" y="190089"/>
                    </a:lnTo>
                    <a:cubicBezTo>
                      <a:pt x="93556" y="187676"/>
                      <a:pt x="91600" y="185720"/>
                      <a:pt x="89187" y="185720"/>
                    </a:cubicBezTo>
                    <a:close/>
                    <a:moveTo>
                      <a:pt x="346701" y="179250"/>
                    </a:moveTo>
                    <a:lnTo>
                      <a:pt x="500773" y="179250"/>
                    </a:lnTo>
                    <a:lnTo>
                      <a:pt x="500773" y="400665"/>
                    </a:lnTo>
                    <a:lnTo>
                      <a:pt x="346701" y="400665"/>
                    </a:lnTo>
                    <a:close/>
                    <a:moveTo>
                      <a:pt x="354755" y="131375"/>
                    </a:moveTo>
                    <a:cubicBezTo>
                      <a:pt x="353003" y="131375"/>
                      <a:pt x="351583" y="132795"/>
                      <a:pt x="351583" y="134547"/>
                    </a:cubicBezTo>
                    <a:lnTo>
                      <a:pt x="351583" y="163092"/>
                    </a:lnTo>
                    <a:lnTo>
                      <a:pt x="328588" y="163092"/>
                    </a:lnTo>
                    <a:lnTo>
                      <a:pt x="328588" y="217802"/>
                    </a:lnTo>
                    <a:lnTo>
                      <a:pt x="299172" y="217802"/>
                    </a:lnTo>
                    <a:cubicBezTo>
                      <a:pt x="297420" y="217802"/>
                      <a:pt x="296001" y="219222"/>
                      <a:pt x="296001" y="220974"/>
                    </a:cubicBezTo>
                    <a:lnTo>
                      <a:pt x="296001" y="233661"/>
                    </a:lnTo>
                    <a:cubicBezTo>
                      <a:pt x="296001" y="235412"/>
                      <a:pt x="297420" y="236832"/>
                      <a:pt x="299172" y="236832"/>
                    </a:cubicBezTo>
                    <a:lnTo>
                      <a:pt x="328588" y="236832"/>
                    </a:lnTo>
                    <a:lnTo>
                      <a:pt x="328588" y="249123"/>
                    </a:lnTo>
                    <a:lnTo>
                      <a:pt x="299172" y="249123"/>
                    </a:lnTo>
                    <a:cubicBezTo>
                      <a:pt x="297420" y="249123"/>
                      <a:pt x="296001" y="250543"/>
                      <a:pt x="296001" y="252295"/>
                    </a:cubicBezTo>
                    <a:lnTo>
                      <a:pt x="296001" y="264981"/>
                    </a:lnTo>
                    <a:cubicBezTo>
                      <a:pt x="296001" y="266733"/>
                      <a:pt x="297420" y="268153"/>
                      <a:pt x="299172" y="268153"/>
                    </a:cubicBezTo>
                    <a:lnTo>
                      <a:pt x="328588" y="268153"/>
                    </a:lnTo>
                    <a:lnTo>
                      <a:pt x="328588" y="280443"/>
                    </a:lnTo>
                    <a:lnTo>
                      <a:pt x="299172" y="280443"/>
                    </a:lnTo>
                    <a:cubicBezTo>
                      <a:pt x="297420" y="280443"/>
                      <a:pt x="296001" y="281862"/>
                      <a:pt x="296001" y="283614"/>
                    </a:cubicBezTo>
                    <a:lnTo>
                      <a:pt x="296001" y="296300"/>
                    </a:lnTo>
                    <a:cubicBezTo>
                      <a:pt x="296001" y="298052"/>
                      <a:pt x="297420" y="299472"/>
                      <a:pt x="299172" y="299472"/>
                    </a:cubicBezTo>
                    <a:lnTo>
                      <a:pt x="328588" y="299472"/>
                    </a:lnTo>
                    <a:lnTo>
                      <a:pt x="328588" y="311762"/>
                    </a:lnTo>
                    <a:lnTo>
                      <a:pt x="299172" y="311762"/>
                    </a:lnTo>
                    <a:cubicBezTo>
                      <a:pt x="297420" y="311762"/>
                      <a:pt x="296001" y="313182"/>
                      <a:pt x="296001" y="314934"/>
                    </a:cubicBezTo>
                    <a:lnTo>
                      <a:pt x="296001" y="327620"/>
                    </a:lnTo>
                    <a:cubicBezTo>
                      <a:pt x="296001" y="329372"/>
                      <a:pt x="297420" y="330792"/>
                      <a:pt x="299172" y="330792"/>
                    </a:cubicBezTo>
                    <a:lnTo>
                      <a:pt x="328588" y="330792"/>
                    </a:lnTo>
                    <a:lnTo>
                      <a:pt x="328588" y="343082"/>
                    </a:lnTo>
                    <a:lnTo>
                      <a:pt x="299172" y="343082"/>
                    </a:lnTo>
                    <a:cubicBezTo>
                      <a:pt x="297420" y="343082"/>
                      <a:pt x="296001" y="344502"/>
                      <a:pt x="296001" y="346254"/>
                    </a:cubicBezTo>
                    <a:lnTo>
                      <a:pt x="296001" y="358940"/>
                    </a:lnTo>
                    <a:cubicBezTo>
                      <a:pt x="296001" y="360692"/>
                      <a:pt x="297420" y="362112"/>
                      <a:pt x="299172" y="362112"/>
                    </a:cubicBezTo>
                    <a:lnTo>
                      <a:pt x="328588" y="362112"/>
                    </a:lnTo>
                    <a:lnTo>
                      <a:pt x="328588" y="416823"/>
                    </a:lnTo>
                    <a:lnTo>
                      <a:pt x="351583" y="416823"/>
                    </a:lnTo>
                    <a:lnTo>
                      <a:pt x="351583" y="445368"/>
                    </a:lnTo>
                    <a:cubicBezTo>
                      <a:pt x="351583" y="447119"/>
                      <a:pt x="353003" y="448539"/>
                      <a:pt x="354755" y="448539"/>
                    </a:cubicBezTo>
                    <a:lnTo>
                      <a:pt x="367441" y="448539"/>
                    </a:lnTo>
                    <a:cubicBezTo>
                      <a:pt x="369193" y="448539"/>
                      <a:pt x="370613" y="447119"/>
                      <a:pt x="370613" y="445368"/>
                    </a:cubicBezTo>
                    <a:lnTo>
                      <a:pt x="370613" y="416823"/>
                    </a:lnTo>
                    <a:lnTo>
                      <a:pt x="382903" y="416823"/>
                    </a:lnTo>
                    <a:lnTo>
                      <a:pt x="382903" y="445368"/>
                    </a:lnTo>
                    <a:cubicBezTo>
                      <a:pt x="382903" y="447119"/>
                      <a:pt x="384323" y="448539"/>
                      <a:pt x="386074" y="448539"/>
                    </a:cubicBezTo>
                    <a:lnTo>
                      <a:pt x="398761" y="448539"/>
                    </a:lnTo>
                    <a:cubicBezTo>
                      <a:pt x="400513" y="448539"/>
                      <a:pt x="401933" y="447119"/>
                      <a:pt x="401933" y="445368"/>
                    </a:cubicBezTo>
                    <a:lnTo>
                      <a:pt x="401933" y="416823"/>
                    </a:lnTo>
                    <a:lnTo>
                      <a:pt x="414223" y="416823"/>
                    </a:lnTo>
                    <a:lnTo>
                      <a:pt x="414223" y="445368"/>
                    </a:lnTo>
                    <a:cubicBezTo>
                      <a:pt x="414223" y="447119"/>
                      <a:pt x="415643" y="448539"/>
                      <a:pt x="417395" y="448539"/>
                    </a:cubicBezTo>
                    <a:lnTo>
                      <a:pt x="430081" y="448539"/>
                    </a:lnTo>
                    <a:cubicBezTo>
                      <a:pt x="431833" y="448539"/>
                      <a:pt x="433253" y="447119"/>
                      <a:pt x="433253" y="445368"/>
                    </a:cubicBezTo>
                    <a:lnTo>
                      <a:pt x="433253" y="416823"/>
                    </a:lnTo>
                    <a:lnTo>
                      <a:pt x="445543" y="416823"/>
                    </a:lnTo>
                    <a:lnTo>
                      <a:pt x="445543" y="445368"/>
                    </a:lnTo>
                    <a:cubicBezTo>
                      <a:pt x="445543" y="447119"/>
                      <a:pt x="446963" y="448539"/>
                      <a:pt x="448715" y="448539"/>
                    </a:cubicBezTo>
                    <a:lnTo>
                      <a:pt x="461400" y="448539"/>
                    </a:lnTo>
                    <a:cubicBezTo>
                      <a:pt x="463152" y="448539"/>
                      <a:pt x="464572" y="447119"/>
                      <a:pt x="464572" y="445368"/>
                    </a:cubicBezTo>
                    <a:lnTo>
                      <a:pt x="464572" y="416823"/>
                    </a:lnTo>
                    <a:lnTo>
                      <a:pt x="476862" y="416823"/>
                    </a:lnTo>
                    <a:lnTo>
                      <a:pt x="476862" y="445368"/>
                    </a:lnTo>
                    <a:cubicBezTo>
                      <a:pt x="476862" y="447119"/>
                      <a:pt x="478282" y="448539"/>
                      <a:pt x="480034" y="448539"/>
                    </a:cubicBezTo>
                    <a:lnTo>
                      <a:pt x="492720" y="448539"/>
                    </a:lnTo>
                    <a:cubicBezTo>
                      <a:pt x="494472" y="448539"/>
                      <a:pt x="495892" y="447119"/>
                      <a:pt x="495892" y="445368"/>
                    </a:cubicBezTo>
                    <a:lnTo>
                      <a:pt x="495892" y="416823"/>
                    </a:lnTo>
                    <a:lnTo>
                      <a:pt x="518887" y="416823"/>
                    </a:lnTo>
                    <a:lnTo>
                      <a:pt x="518887" y="362112"/>
                    </a:lnTo>
                    <a:lnTo>
                      <a:pt x="550025" y="362112"/>
                    </a:lnTo>
                    <a:cubicBezTo>
                      <a:pt x="551777" y="362112"/>
                      <a:pt x="553197" y="360692"/>
                      <a:pt x="553197" y="358940"/>
                    </a:cubicBezTo>
                    <a:lnTo>
                      <a:pt x="553197" y="346254"/>
                    </a:lnTo>
                    <a:cubicBezTo>
                      <a:pt x="553197" y="344502"/>
                      <a:pt x="551777" y="343082"/>
                      <a:pt x="550025" y="343082"/>
                    </a:cubicBezTo>
                    <a:lnTo>
                      <a:pt x="518887" y="343082"/>
                    </a:lnTo>
                    <a:lnTo>
                      <a:pt x="518887" y="330792"/>
                    </a:lnTo>
                    <a:lnTo>
                      <a:pt x="550025" y="330792"/>
                    </a:lnTo>
                    <a:cubicBezTo>
                      <a:pt x="551777" y="330792"/>
                      <a:pt x="553197" y="329372"/>
                      <a:pt x="553197" y="327620"/>
                    </a:cubicBezTo>
                    <a:lnTo>
                      <a:pt x="553197" y="314934"/>
                    </a:lnTo>
                    <a:cubicBezTo>
                      <a:pt x="553197" y="313182"/>
                      <a:pt x="551777" y="311762"/>
                      <a:pt x="550025" y="311762"/>
                    </a:cubicBezTo>
                    <a:lnTo>
                      <a:pt x="518887" y="311762"/>
                    </a:lnTo>
                    <a:lnTo>
                      <a:pt x="518887" y="299472"/>
                    </a:lnTo>
                    <a:lnTo>
                      <a:pt x="550025" y="299472"/>
                    </a:lnTo>
                    <a:cubicBezTo>
                      <a:pt x="551777" y="299472"/>
                      <a:pt x="553197" y="298052"/>
                      <a:pt x="553197" y="296300"/>
                    </a:cubicBezTo>
                    <a:lnTo>
                      <a:pt x="553197" y="283614"/>
                    </a:lnTo>
                    <a:cubicBezTo>
                      <a:pt x="553197" y="281862"/>
                      <a:pt x="551777" y="280443"/>
                      <a:pt x="550025" y="280443"/>
                    </a:cubicBezTo>
                    <a:lnTo>
                      <a:pt x="518887" y="280443"/>
                    </a:lnTo>
                    <a:lnTo>
                      <a:pt x="518887" y="268153"/>
                    </a:lnTo>
                    <a:lnTo>
                      <a:pt x="550025" y="268153"/>
                    </a:lnTo>
                    <a:cubicBezTo>
                      <a:pt x="551777" y="268153"/>
                      <a:pt x="553197" y="266733"/>
                      <a:pt x="553197" y="264981"/>
                    </a:cubicBezTo>
                    <a:lnTo>
                      <a:pt x="553197" y="252295"/>
                    </a:lnTo>
                    <a:cubicBezTo>
                      <a:pt x="553197" y="250543"/>
                      <a:pt x="551777" y="249123"/>
                      <a:pt x="550025" y="249123"/>
                    </a:cubicBezTo>
                    <a:lnTo>
                      <a:pt x="518887" y="249123"/>
                    </a:lnTo>
                    <a:lnTo>
                      <a:pt x="518887" y="236832"/>
                    </a:lnTo>
                    <a:lnTo>
                      <a:pt x="550025" y="236832"/>
                    </a:lnTo>
                    <a:cubicBezTo>
                      <a:pt x="551777" y="236832"/>
                      <a:pt x="553197" y="235412"/>
                      <a:pt x="553197" y="233661"/>
                    </a:cubicBezTo>
                    <a:lnTo>
                      <a:pt x="553197" y="220974"/>
                    </a:lnTo>
                    <a:cubicBezTo>
                      <a:pt x="553197" y="219222"/>
                      <a:pt x="551777" y="217802"/>
                      <a:pt x="550025" y="217802"/>
                    </a:cubicBezTo>
                    <a:lnTo>
                      <a:pt x="518887" y="217802"/>
                    </a:lnTo>
                    <a:lnTo>
                      <a:pt x="518887" y="163092"/>
                    </a:lnTo>
                    <a:lnTo>
                      <a:pt x="495892" y="163092"/>
                    </a:lnTo>
                    <a:lnTo>
                      <a:pt x="495892" y="134547"/>
                    </a:lnTo>
                    <a:lnTo>
                      <a:pt x="492720" y="131375"/>
                    </a:lnTo>
                    <a:lnTo>
                      <a:pt x="480034" y="131375"/>
                    </a:lnTo>
                    <a:cubicBezTo>
                      <a:pt x="478282" y="131375"/>
                      <a:pt x="476862" y="132795"/>
                      <a:pt x="476862" y="134547"/>
                    </a:cubicBezTo>
                    <a:lnTo>
                      <a:pt x="476862" y="163092"/>
                    </a:lnTo>
                    <a:lnTo>
                      <a:pt x="464572" y="163092"/>
                    </a:lnTo>
                    <a:lnTo>
                      <a:pt x="464572" y="134547"/>
                    </a:lnTo>
                    <a:lnTo>
                      <a:pt x="461400" y="131375"/>
                    </a:lnTo>
                    <a:lnTo>
                      <a:pt x="448715" y="131375"/>
                    </a:lnTo>
                    <a:cubicBezTo>
                      <a:pt x="446963" y="131375"/>
                      <a:pt x="445543" y="132795"/>
                      <a:pt x="445543" y="134547"/>
                    </a:cubicBezTo>
                    <a:lnTo>
                      <a:pt x="445543" y="163092"/>
                    </a:lnTo>
                    <a:lnTo>
                      <a:pt x="433253" y="163092"/>
                    </a:lnTo>
                    <a:lnTo>
                      <a:pt x="433253" y="134547"/>
                    </a:lnTo>
                    <a:lnTo>
                      <a:pt x="430081" y="131375"/>
                    </a:lnTo>
                    <a:lnTo>
                      <a:pt x="417395" y="131375"/>
                    </a:lnTo>
                    <a:cubicBezTo>
                      <a:pt x="415643" y="131375"/>
                      <a:pt x="414223" y="132795"/>
                      <a:pt x="414223" y="134547"/>
                    </a:cubicBezTo>
                    <a:lnTo>
                      <a:pt x="414223" y="163092"/>
                    </a:lnTo>
                    <a:lnTo>
                      <a:pt x="401933" y="163092"/>
                    </a:lnTo>
                    <a:lnTo>
                      <a:pt x="401933" y="134547"/>
                    </a:lnTo>
                    <a:lnTo>
                      <a:pt x="398761" y="131375"/>
                    </a:lnTo>
                    <a:lnTo>
                      <a:pt x="386074" y="131375"/>
                    </a:lnTo>
                    <a:cubicBezTo>
                      <a:pt x="384323" y="131375"/>
                      <a:pt x="382903" y="132795"/>
                      <a:pt x="382903" y="134547"/>
                    </a:cubicBezTo>
                    <a:lnTo>
                      <a:pt x="382903" y="163092"/>
                    </a:lnTo>
                    <a:lnTo>
                      <a:pt x="370613" y="163092"/>
                    </a:lnTo>
                    <a:lnTo>
                      <a:pt x="370613" y="134547"/>
                    </a:lnTo>
                    <a:lnTo>
                      <a:pt x="367441" y="131375"/>
                    </a:lnTo>
                    <a:close/>
                    <a:moveTo>
                      <a:pt x="566570" y="128625"/>
                    </a:moveTo>
                    <a:cubicBezTo>
                      <a:pt x="584504" y="128625"/>
                      <a:pt x="599042" y="143163"/>
                      <a:pt x="599042" y="161097"/>
                    </a:cubicBezTo>
                    <a:cubicBezTo>
                      <a:pt x="599042" y="179031"/>
                      <a:pt x="584504" y="193569"/>
                      <a:pt x="566570" y="193569"/>
                    </a:cubicBezTo>
                    <a:cubicBezTo>
                      <a:pt x="548636" y="193569"/>
                      <a:pt x="534098" y="179031"/>
                      <a:pt x="534098" y="161097"/>
                    </a:cubicBezTo>
                    <a:cubicBezTo>
                      <a:pt x="534098" y="143163"/>
                      <a:pt x="548636" y="128625"/>
                      <a:pt x="566570" y="128625"/>
                    </a:cubicBezTo>
                    <a:close/>
                    <a:moveTo>
                      <a:pt x="277003" y="128625"/>
                    </a:moveTo>
                    <a:cubicBezTo>
                      <a:pt x="294937" y="128625"/>
                      <a:pt x="309475" y="143163"/>
                      <a:pt x="309475" y="161097"/>
                    </a:cubicBezTo>
                    <a:cubicBezTo>
                      <a:pt x="309475" y="179031"/>
                      <a:pt x="294937" y="193569"/>
                      <a:pt x="277003" y="193569"/>
                    </a:cubicBezTo>
                    <a:cubicBezTo>
                      <a:pt x="259069" y="193569"/>
                      <a:pt x="244531" y="179031"/>
                      <a:pt x="244531" y="161097"/>
                    </a:cubicBezTo>
                    <a:cubicBezTo>
                      <a:pt x="244531" y="143163"/>
                      <a:pt x="259069" y="128625"/>
                      <a:pt x="277003" y="128625"/>
                    </a:cubicBezTo>
                    <a:close/>
                    <a:moveTo>
                      <a:pt x="566570" y="115377"/>
                    </a:moveTo>
                    <a:cubicBezTo>
                      <a:pt x="541320" y="115377"/>
                      <a:pt x="520850" y="135847"/>
                      <a:pt x="520850" y="161097"/>
                    </a:cubicBezTo>
                    <a:cubicBezTo>
                      <a:pt x="520850" y="186347"/>
                      <a:pt x="541320" y="206817"/>
                      <a:pt x="566570" y="206817"/>
                    </a:cubicBezTo>
                    <a:cubicBezTo>
                      <a:pt x="591820" y="206817"/>
                      <a:pt x="612290" y="186347"/>
                      <a:pt x="612290" y="161097"/>
                    </a:cubicBezTo>
                    <a:cubicBezTo>
                      <a:pt x="612290" y="135847"/>
                      <a:pt x="591820" y="115377"/>
                      <a:pt x="566570" y="115377"/>
                    </a:cubicBezTo>
                    <a:close/>
                    <a:moveTo>
                      <a:pt x="277003" y="115377"/>
                    </a:moveTo>
                    <a:cubicBezTo>
                      <a:pt x="251753" y="115377"/>
                      <a:pt x="231283" y="135847"/>
                      <a:pt x="231283" y="161097"/>
                    </a:cubicBezTo>
                    <a:cubicBezTo>
                      <a:pt x="231283" y="186347"/>
                      <a:pt x="251753" y="206817"/>
                      <a:pt x="277003" y="206817"/>
                    </a:cubicBezTo>
                    <a:cubicBezTo>
                      <a:pt x="302253" y="206817"/>
                      <a:pt x="322723" y="186347"/>
                      <a:pt x="322723" y="161097"/>
                    </a:cubicBezTo>
                    <a:cubicBezTo>
                      <a:pt x="322723" y="135847"/>
                      <a:pt x="302253" y="115377"/>
                      <a:pt x="277003" y="115377"/>
                    </a:cubicBezTo>
                    <a:close/>
                    <a:moveTo>
                      <a:pt x="698138" y="37874"/>
                    </a:moveTo>
                    <a:lnTo>
                      <a:pt x="693769" y="42243"/>
                    </a:lnTo>
                    <a:lnTo>
                      <a:pt x="693769" y="85928"/>
                    </a:lnTo>
                    <a:cubicBezTo>
                      <a:pt x="693769" y="88341"/>
                      <a:pt x="695724" y="90297"/>
                      <a:pt x="698138" y="90297"/>
                    </a:cubicBezTo>
                    <a:lnTo>
                      <a:pt x="715611" y="90297"/>
                    </a:lnTo>
                    <a:cubicBezTo>
                      <a:pt x="718023" y="90297"/>
                      <a:pt x="719979" y="88341"/>
                      <a:pt x="719979" y="85928"/>
                    </a:cubicBezTo>
                    <a:lnTo>
                      <a:pt x="719979" y="42243"/>
                    </a:lnTo>
                    <a:cubicBezTo>
                      <a:pt x="719979" y="39830"/>
                      <a:pt x="718023" y="37874"/>
                      <a:pt x="715611" y="37874"/>
                    </a:cubicBezTo>
                    <a:close/>
                    <a:moveTo>
                      <a:pt x="654998" y="37874"/>
                    </a:moveTo>
                    <a:lnTo>
                      <a:pt x="650630" y="42243"/>
                    </a:lnTo>
                    <a:lnTo>
                      <a:pt x="650630" y="85928"/>
                    </a:lnTo>
                    <a:cubicBezTo>
                      <a:pt x="650630" y="88341"/>
                      <a:pt x="652585" y="90297"/>
                      <a:pt x="654998" y="90297"/>
                    </a:cubicBezTo>
                    <a:lnTo>
                      <a:pt x="672472" y="90297"/>
                    </a:lnTo>
                    <a:cubicBezTo>
                      <a:pt x="674885" y="90297"/>
                      <a:pt x="676840" y="88341"/>
                      <a:pt x="676840" y="85928"/>
                    </a:cubicBezTo>
                    <a:lnTo>
                      <a:pt x="676840" y="42243"/>
                    </a:lnTo>
                    <a:cubicBezTo>
                      <a:pt x="676840" y="39830"/>
                      <a:pt x="674885" y="37874"/>
                      <a:pt x="672472" y="37874"/>
                    </a:cubicBezTo>
                    <a:close/>
                    <a:moveTo>
                      <a:pt x="611860" y="37874"/>
                    </a:moveTo>
                    <a:lnTo>
                      <a:pt x="607491" y="42243"/>
                    </a:lnTo>
                    <a:lnTo>
                      <a:pt x="607491" y="85928"/>
                    </a:lnTo>
                    <a:cubicBezTo>
                      <a:pt x="607491" y="88341"/>
                      <a:pt x="609447" y="90297"/>
                      <a:pt x="611860" y="90297"/>
                    </a:cubicBezTo>
                    <a:lnTo>
                      <a:pt x="629333" y="90297"/>
                    </a:lnTo>
                    <a:cubicBezTo>
                      <a:pt x="631746" y="90297"/>
                      <a:pt x="633702" y="88341"/>
                      <a:pt x="633702" y="85928"/>
                    </a:cubicBezTo>
                    <a:lnTo>
                      <a:pt x="633702" y="42243"/>
                    </a:lnTo>
                    <a:cubicBezTo>
                      <a:pt x="633702" y="39830"/>
                      <a:pt x="631746" y="37874"/>
                      <a:pt x="629333" y="37874"/>
                    </a:cubicBezTo>
                    <a:close/>
                    <a:moveTo>
                      <a:pt x="568721" y="37874"/>
                    </a:moveTo>
                    <a:lnTo>
                      <a:pt x="564352" y="42243"/>
                    </a:lnTo>
                    <a:lnTo>
                      <a:pt x="564352" y="85928"/>
                    </a:lnTo>
                    <a:cubicBezTo>
                      <a:pt x="564352" y="88341"/>
                      <a:pt x="566308" y="90297"/>
                      <a:pt x="568721" y="90297"/>
                    </a:cubicBezTo>
                    <a:lnTo>
                      <a:pt x="586195" y="90297"/>
                    </a:lnTo>
                    <a:cubicBezTo>
                      <a:pt x="588607" y="90297"/>
                      <a:pt x="590563" y="88341"/>
                      <a:pt x="590563" y="85928"/>
                    </a:cubicBezTo>
                    <a:lnTo>
                      <a:pt x="590563" y="42243"/>
                    </a:lnTo>
                    <a:cubicBezTo>
                      <a:pt x="590563" y="39830"/>
                      <a:pt x="588607" y="37874"/>
                      <a:pt x="586195" y="37874"/>
                    </a:cubicBezTo>
                    <a:close/>
                    <a:moveTo>
                      <a:pt x="525582" y="37874"/>
                    </a:moveTo>
                    <a:lnTo>
                      <a:pt x="521214" y="42243"/>
                    </a:lnTo>
                    <a:lnTo>
                      <a:pt x="521214" y="85928"/>
                    </a:lnTo>
                    <a:cubicBezTo>
                      <a:pt x="521214" y="88341"/>
                      <a:pt x="523170" y="90297"/>
                      <a:pt x="525582" y="90297"/>
                    </a:cubicBezTo>
                    <a:lnTo>
                      <a:pt x="543057" y="90297"/>
                    </a:lnTo>
                    <a:cubicBezTo>
                      <a:pt x="545469" y="90297"/>
                      <a:pt x="547425" y="88341"/>
                      <a:pt x="547425" y="85928"/>
                    </a:cubicBezTo>
                    <a:lnTo>
                      <a:pt x="547425" y="42243"/>
                    </a:lnTo>
                    <a:cubicBezTo>
                      <a:pt x="547425" y="39830"/>
                      <a:pt x="545469" y="37874"/>
                      <a:pt x="543057" y="37874"/>
                    </a:cubicBezTo>
                    <a:close/>
                    <a:moveTo>
                      <a:pt x="362441" y="37874"/>
                    </a:moveTo>
                    <a:lnTo>
                      <a:pt x="358071" y="42243"/>
                    </a:lnTo>
                    <a:lnTo>
                      <a:pt x="358071" y="85928"/>
                    </a:lnTo>
                    <a:cubicBezTo>
                      <a:pt x="358071" y="88341"/>
                      <a:pt x="360027" y="90297"/>
                      <a:pt x="362441" y="90297"/>
                    </a:cubicBezTo>
                    <a:lnTo>
                      <a:pt x="379914" y="90297"/>
                    </a:lnTo>
                    <a:cubicBezTo>
                      <a:pt x="382326" y="90297"/>
                      <a:pt x="384282" y="88341"/>
                      <a:pt x="384282" y="85928"/>
                    </a:cubicBezTo>
                    <a:lnTo>
                      <a:pt x="384282" y="42243"/>
                    </a:lnTo>
                    <a:cubicBezTo>
                      <a:pt x="384282" y="39830"/>
                      <a:pt x="382326" y="37874"/>
                      <a:pt x="379914" y="37874"/>
                    </a:cubicBezTo>
                    <a:close/>
                    <a:moveTo>
                      <a:pt x="319301" y="37874"/>
                    </a:moveTo>
                    <a:lnTo>
                      <a:pt x="314933" y="42243"/>
                    </a:lnTo>
                    <a:lnTo>
                      <a:pt x="314933" y="85928"/>
                    </a:lnTo>
                    <a:cubicBezTo>
                      <a:pt x="314933" y="88341"/>
                      <a:pt x="316888" y="90297"/>
                      <a:pt x="319301" y="90297"/>
                    </a:cubicBezTo>
                    <a:lnTo>
                      <a:pt x="336775" y="90297"/>
                    </a:lnTo>
                    <a:cubicBezTo>
                      <a:pt x="339187" y="90297"/>
                      <a:pt x="341143" y="88341"/>
                      <a:pt x="341143" y="85928"/>
                    </a:cubicBezTo>
                    <a:lnTo>
                      <a:pt x="341143" y="42243"/>
                    </a:lnTo>
                    <a:cubicBezTo>
                      <a:pt x="341143" y="39830"/>
                      <a:pt x="339187" y="37874"/>
                      <a:pt x="336775" y="37874"/>
                    </a:cubicBezTo>
                    <a:close/>
                    <a:moveTo>
                      <a:pt x="276163" y="37874"/>
                    </a:moveTo>
                    <a:lnTo>
                      <a:pt x="271794" y="42243"/>
                    </a:lnTo>
                    <a:lnTo>
                      <a:pt x="271794" y="85928"/>
                    </a:lnTo>
                    <a:cubicBezTo>
                      <a:pt x="271794" y="88341"/>
                      <a:pt x="273750" y="90297"/>
                      <a:pt x="276163" y="90297"/>
                    </a:cubicBezTo>
                    <a:lnTo>
                      <a:pt x="293636" y="90297"/>
                    </a:lnTo>
                    <a:cubicBezTo>
                      <a:pt x="296049" y="90297"/>
                      <a:pt x="298005" y="88341"/>
                      <a:pt x="298005" y="85928"/>
                    </a:cubicBezTo>
                    <a:lnTo>
                      <a:pt x="298005" y="42243"/>
                    </a:lnTo>
                    <a:cubicBezTo>
                      <a:pt x="298005" y="39830"/>
                      <a:pt x="296049" y="37874"/>
                      <a:pt x="293636" y="37874"/>
                    </a:cubicBezTo>
                    <a:close/>
                    <a:moveTo>
                      <a:pt x="233024" y="37874"/>
                    </a:moveTo>
                    <a:lnTo>
                      <a:pt x="228655" y="42243"/>
                    </a:lnTo>
                    <a:lnTo>
                      <a:pt x="228655" y="85928"/>
                    </a:lnTo>
                    <a:cubicBezTo>
                      <a:pt x="228655" y="88341"/>
                      <a:pt x="230611" y="90297"/>
                      <a:pt x="233024" y="90297"/>
                    </a:cubicBezTo>
                    <a:lnTo>
                      <a:pt x="250498" y="90297"/>
                    </a:lnTo>
                    <a:cubicBezTo>
                      <a:pt x="252910" y="90297"/>
                      <a:pt x="254866" y="88341"/>
                      <a:pt x="254866" y="85928"/>
                    </a:cubicBezTo>
                    <a:lnTo>
                      <a:pt x="254866" y="42243"/>
                    </a:lnTo>
                    <a:cubicBezTo>
                      <a:pt x="254866" y="39830"/>
                      <a:pt x="252910" y="37874"/>
                      <a:pt x="250498" y="37874"/>
                    </a:cubicBezTo>
                    <a:close/>
                    <a:moveTo>
                      <a:pt x="189885" y="37874"/>
                    </a:moveTo>
                    <a:lnTo>
                      <a:pt x="185517" y="42243"/>
                    </a:lnTo>
                    <a:lnTo>
                      <a:pt x="185517" y="85928"/>
                    </a:lnTo>
                    <a:cubicBezTo>
                      <a:pt x="185517" y="88341"/>
                      <a:pt x="187473" y="90297"/>
                      <a:pt x="189885" y="90297"/>
                    </a:cubicBezTo>
                    <a:lnTo>
                      <a:pt x="207360" y="90297"/>
                    </a:lnTo>
                    <a:cubicBezTo>
                      <a:pt x="209772" y="90297"/>
                      <a:pt x="211728" y="88341"/>
                      <a:pt x="211728" y="85928"/>
                    </a:cubicBezTo>
                    <a:lnTo>
                      <a:pt x="211728" y="42243"/>
                    </a:lnTo>
                    <a:cubicBezTo>
                      <a:pt x="211728" y="39830"/>
                      <a:pt x="209772" y="37874"/>
                      <a:pt x="207360" y="37874"/>
                    </a:cubicBezTo>
                    <a:close/>
                    <a:moveTo>
                      <a:pt x="844168" y="36076"/>
                    </a:moveTo>
                    <a:cubicBezTo>
                      <a:pt x="826237" y="36076"/>
                      <a:pt x="811700" y="50612"/>
                      <a:pt x="811700" y="68544"/>
                    </a:cubicBezTo>
                    <a:cubicBezTo>
                      <a:pt x="811700" y="86475"/>
                      <a:pt x="826237" y="101012"/>
                      <a:pt x="844168" y="101012"/>
                    </a:cubicBezTo>
                    <a:cubicBezTo>
                      <a:pt x="862099" y="101012"/>
                      <a:pt x="876636" y="86475"/>
                      <a:pt x="876636" y="68544"/>
                    </a:cubicBezTo>
                    <a:cubicBezTo>
                      <a:pt x="876636" y="50612"/>
                      <a:pt x="862099" y="36076"/>
                      <a:pt x="844168" y="36076"/>
                    </a:cubicBezTo>
                    <a:close/>
                    <a:moveTo>
                      <a:pt x="61329" y="36076"/>
                    </a:moveTo>
                    <a:cubicBezTo>
                      <a:pt x="43397" y="36076"/>
                      <a:pt x="28861" y="50612"/>
                      <a:pt x="28861" y="68544"/>
                    </a:cubicBezTo>
                    <a:cubicBezTo>
                      <a:pt x="28861" y="86475"/>
                      <a:pt x="43397" y="101012"/>
                      <a:pt x="61329" y="101012"/>
                    </a:cubicBezTo>
                    <a:cubicBezTo>
                      <a:pt x="79261" y="101012"/>
                      <a:pt x="93797" y="86475"/>
                      <a:pt x="93797" y="68544"/>
                    </a:cubicBezTo>
                    <a:cubicBezTo>
                      <a:pt x="93797" y="50612"/>
                      <a:pt x="79261" y="36076"/>
                      <a:pt x="61329" y="36076"/>
                    </a:cubicBezTo>
                    <a:close/>
                    <a:moveTo>
                      <a:pt x="0" y="0"/>
                    </a:moveTo>
                    <a:lnTo>
                      <a:pt x="905496" y="0"/>
                    </a:lnTo>
                    <a:lnTo>
                      <a:pt x="905496" y="757586"/>
                    </a:lnTo>
                    <a:lnTo>
                      <a:pt x="0" y="757586"/>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99"/>
              </a:p>
            </p:txBody>
          </p:sp>
          <p:sp>
            <p:nvSpPr>
              <p:cNvPr id="128" name="Trapezoid 11"/>
              <p:cNvSpPr/>
              <p:nvPr/>
            </p:nvSpPr>
            <p:spPr>
              <a:xfrm>
                <a:off x="5846790" y="1685207"/>
                <a:ext cx="250018" cy="659316"/>
              </a:xfrm>
              <a:custGeom>
                <a:avLst/>
                <a:gdLst/>
                <a:ahLst/>
                <a:cxnLst/>
                <a:rect l="l" t="t" r="r" b="b"/>
                <a:pathLst>
                  <a:path w="679937" h="1737920">
                    <a:moveTo>
                      <a:pt x="531465" y="863698"/>
                    </a:moveTo>
                    <a:lnTo>
                      <a:pt x="607656" y="863698"/>
                    </a:lnTo>
                    <a:lnTo>
                      <a:pt x="607656" y="874223"/>
                    </a:lnTo>
                    <a:lnTo>
                      <a:pt x="531465" y="874223"/>
                    </a:lnTo>
                    <a:close/>
                    <a:moveTo>
                      <a:pt x="334707" y="1050891"/>
                    </a:moveTo>
                    <a:lnTo>
                      <a:pt x="345233" y="1050891"/>
                    </a:lnTo>
                    <a:lnTo>
                      <a:pt x="345233" y="1127083"/>
                    </a:lnTo>
                    <a:lnTo>
                      <a:pt x="334707" y="1127083"/>
                    </a:lnTo>
                    <a:close/>
                    <a:moveTo>
                      <a:pt x="334707" y="610365"/>
                    </a:moveTo>
                    <a:lnTo>
                      <a:pt x="345233" y="610365"/>
                    </a:lnTo>
                    <a:lnTo>
                      <a:pt x="345233" y="686557"/>
                    </a:lnTo>
                    <a:lnTo>
                      <a:pt x="334707" y="686557"/>
                    </a:lnTo>
                    <a:close/>
                    <a:moveTo>
                      <a:pt x="201467" y="1090007"/>
                    </a:moveTo>
                    <a:lnTo>
                      <a:pt x="209861" y="1053632"/>
                    </a:lnTo>
                    <a:lnTo>
                      <a:pt x="323453" y="869951"/>
                    </a:lnTo>
                    <a:cubicBezTo>
                      <a:pt x="318658" y="861561"/>
                      <a:pt x="319091" y="851622"/>
                      <a:pt x="323460" y="842980"/>
                    </a:cubicBezTo>
                    <a:cubicBezTo>
                      <a:pt x="334372" y="828589"/>
                      <a:pt x="356197" y="821394"/>
                      <a:pt x="370746" y="832187"/>
                    </a:cubicBezTo>
                    <a:cubicBezTo>
                      <a:pt x="379664" y="838803"/>
                      <a:pt x="384482" y="848121"/>
                      <a:pt x="383753" y="857649"/>
                    </a:cubicBezTo>
                    <a:lnTo>
                      <a:pt x="498056" y="952903"/>
                    </a:lnTo>
                    <a:lnTo>
                      <a:pt x="503652" y="983682"/>
                    </a:lnTo>
                    <a:lnTo>
                      <a:pt x="475672" y="978086"/>
                    </a:lnTo>
                    <a:lnTo>
                      <a:pt x="366006" y="886695"/>
                    </a:lnTo>
                    <a:cubicBezTo>
                      <a:pt x="360567" y="890373"/>
                      <a:pt x="353784" y="891909"/>
                      <a:pt x="347236" y="890978"/>
                    </a:cubicBezTo>
                    <a:lnTo>
                      <a:pt x="235044" y="1067623"/>
                    </a:lnTo>
                    <a:close/>
                    <a:moveTo>
                      <a:pt x="84490" y="863698"/>
                    </a:moveTo>
                    <a:lnTo>
                      <a:pt x="160682" y="863698"/>
                    </a:lnTo>
                    <a:lnTo>
                      <a:pt x="160682" y="874223"/>
                    </a:lnTo>
                    <a:lnTo>
                      <a:pt x="84490" y="874223"/>
                    </a:lnTo>
                    <a:close/>
                    <a:moveTo>
                      <a:pt x="39183" y="868961"/>
                    </a:moveTo>
                    <a:cubicBezTo>
                      <a:pt x="39183" y="1034309"/>
                      <a:pt x="173850" y="1168350"/>
                      <a:pt x="339969" y="1168350"/>
                    </a:cubicBezTo>
                    <a:cubicBezTo>
                      <a:pt x="506089" y="1168350"/>
                      <a:pt x="640755" y="1034309"/>
                      <a:pt x="640755" y="868961"/>
                    </a:cubicBezTo>
                    <a:cubicBezTo>
                      <a:pt x="640755" y="703613"/>
                      <a:pt x="506089" y="569572"/>
                      <a:pt x="339969" y="569572"/>
                    </a:cubicBezTo>
                    <a:cubicBezTo>
                      <a:pt x="173850" y="569572"/>
                      <a:pt x="39183" y="703613"/>
                      <a:pt x="39183" y="868961"/>
                    </a:cubicBezTo>
                    <a:close/>
                    <a:moveTo>
                      <a:pt x="23465" y="868961"/>
                    </a:moveTo>
                    <a:cubicBezTo>
                      <a:pt x="23465" y="694160"/>
                      <a:pt x="165168" y="552457"/>
                      <a:pt x="339969" y="552457"/>
                    </a:cubicBezTo>
                    <a:cubicBezTo>
                      <a:pt x="514769" y="552457"/>
                      <a:pt x="656472" y="694160"/>
                      <a:pt x="656472" y="868961"/>
                    </a:cubicBezTo>
                    <a:cubicBezTo>
                      <a:pt x="656472" y="1043761"/>
                      <a:pt x="514769" y="1185464"/>
                      <a:pt x="339969" y="1185464"/>
                    </a:cubicBezTo>
                    <a:cubicBezTo>
                      <a:pt x="165168" y="1185464"/>
                      <a:pt x="23465" y="1043761"/>
                      <a:pt x="23465" y="868961"/>
                    </a:cubicBezTo>
                    <a:close/>
                    <a:moveTo>
                      <a:pt x="19160" y="711597"/>
                    </a:moveTo>
                    <a:cubicBezTo>
                      <a:pt x="226685" y="340122"/>
                      <a:pt x="634237" y="561579"/>
                      <a:pt x="658397" y="723504"/>
                    </a:cubicBezTo>
                    <a:lnTo>
                      <a:pt x="511914" y="0"/>
                    </a:lnTo>
                    <a:lnTo>
                      <a:pt x="168024" y="0"/>
                    </a:lnTo>
                    <a:close/>
                    <a:moveTo>
                      <a:pt x="19159" y="1026323"/>
                    </a:moveTo>
                    <a:lnTo>
                      <a:pt x="168023" y="1737920"/>
                    </a:lnTo>
                    <a:lnTo>
                      <a:pt x="511913" y="1737920"/>
                    </a:lnTo>
                    <a:lnTo>
                      <a:pt x="658396" y="1014416"/>
                    </a:lnTo>
                    <a:cubicBezTo>
                      <a:pt x="634236" y="1176341"/>
                      <a:pt x="226684" y="1397798"/>
                      <a:pt x="19159" y="1026323"/>
                    </a:cubicBezTo>
                    <a:close/>
                    <a:moveTo>
                      <a:pt x="0" y="868961"/>
                    </a:moveTo>
                    <a:cubicBezTo>
                      <a:pt x="0" y="1056720"/>
                      <a:pt x="152209" y="1208929"/>
                      <a:pt x="339969" y="1208929"/>
                    </a:cubicBezTo>
                    <a:cubicBezTo>
                      <a:pt x="527728" y="1208929"/>
                      <a:pt x="679937" y="1056720"/>
                      <a:pt x="679937" y="868961"/>
                    </a:cubicBezTo>
                    <a:cubicBezTo>
                      <a:pt x="679937" y="681201"/>
                      <a:pt x="527728" y="528993"/>
                      <a:pt x="339969" y="528993"/>
                    </a:cubicBezTo>
                    <a:cubicBezTo>
                      <a:pt x="152209" y="528993"/>
                      <a:pt x="0" y="681201"/>
                      <a:pt x="0" y="868961"/>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a:endParaRPr lang="en-US" sz="1599"/>
              </a:p>
            </p:txBody>
          </p:sp>
          <p:sp>
            <p:nvSpPr>
              <p:cNvPr id="129" name="Rounded Rectangle 19"/>
              <p:cNvSpPr/>
              <p:nvPr/>
            </p:nvSpPr>
            <p:spPr>
              <a:xfrm>
                <a:off x="8559432" y="1666989"/>
                <a:ext cx="413502" cy="659316"/>
              </a:xfrm>
              <a:custGeom>
                <a:avLst/>
                <a:gdLst/>
                <a:ahLst/>
                <a:cxnLst/>
                <a:rect l="l" t="t" r="r" b="b"/>
                <a:pathLst>
                  <a:path w="2011680" h="3108960">
                    <a:moveTo>
                      <a:pt x="1005840" y="2924272"/>
                    </a:moveTo>
                    <a:cubicBezTo>
                      <a:pt x="1031090" y="2924272"/>
                      <a:pt x="1051560" y="2944173"/>
                      <a:pt x="1051560" y="2968722"/>
                    </a:cubicBezTo>
                    <a:cubicBezTo>
                      <a:pt x="1051560" y="2993271"/>
                      <a:pt x="1031090" y="3013172"/>
                      <a:pt x="1005840" y="3013172"/>
                    </a:cubicBezTo>
                    <a:cubicBezTo>
                      <a:pt x="980590" y="3013172"/>
                      <a:pt x="960120" y="2993271"/>
                      <a:pt x="960120" y="2968722"/>
                    </a:cubicBezTo>
                    <a:cubicBezTo>
                      <a:pt x="960120" y="2944173"/>
                      <a:pt x="980590" y="2924272"/>
                      <a:pt x="1005840" y="2924272"/>
                    </a:cubicBezTo>
                    <a:close/>
                    <a:moveTo>
                      <a:pt x="329983" y="228600"/>
                    </a:moveTo>
                    <a:lnTo>
                      <a:pt x="1681697" y="228600"/>
                    </a:lnTo>
                    <a:cubicBezTo>
                      <a:pt x="1737689" y="228600"/>
                      <a:pt x="1783080" y="273991"/>
                      <a:pt x="1783080" y="329983"/>
                    </a:cubicBezTo>
                    <a:lnTo>
                      <a:pt x="1783080" y="2778977"/>
                    </a:lnTo>
                    <a:cubicBezTo>
                      <a:pt x="1783080" y="2834969"/>
                      <a:pt x="1737689" y="2880360"/>
                      <a:pt x="1681697" y="2880360"/>
                    </a:cubicBezTo>
                    <a:lnTo>
                      <a:pt x="329983" y="2880360"/>
                    </a:lnTo>
                    <a:cubicBezTo>
                      <a:pt x="273991" y="2880360"/>
                      <a:pt x="228600" y="2834969"/>
                      <a:pt x="228600" y="2778977"/>
                    </a:cubicBezTo>
                    <a:lnTo>
                      <a:pt x="228600" y="329983"/>
                    </a:lnTo>
                    <a:cubicBezTo>
                      <a:pt x="228600" y="273991"/>
                      <a:pt x="273991" y="228600"/>
                      <a:pt x="329983" y="228600"/>
                    </a:cubicBezTo>
                    <a:close/>
                    <a:moveTo>
                      <a:pt x="170958" y="45720"/>
                    </a:moveTo>
                    <a:cubicBezTo>
                      <a:pt x="101791" y="45720"/>
                      <a:pt x="45720" y="101791"/>
                      <a:pt x="45720" y="170958"/>
                    </a:cubicBezTo>
                    <a:lnTo>
                      <a:pt x="45720" y="2938002"/>
                    </a:lnTo>
                    <a:cubicBezTo>
                      <a:pt x="45720" y="3007169"/>
                      <a:pt x="101791" y="3063240"/>
                      <a:pt x="170958" y="3063240"/>
                    </a:cubicBezTo>
                    <a:lnTo>
                      <a:pt x="1840722" y="3063240"/>
                    </a:lnTo>
                    <a:cubicBezTo>
                      <a:pt x="1909889" y="3063240"/>
                      <a:pt x="1965960" y="3007169"/>
                      <a:pt x="1965960" y="2938002"/>
                    </a:cubicBezTo>
                    <a:lnTo>
                      <a:pt x="1965960" y="170958"/>
                    </a:lnTo>
                    <a:cubicBezTo>
                      <a:pt x="1965960" y="101791"/>
                      <a:pt x="1909889" y="45720"/>
                      <a:pt x="1840722" y="45720"/>
                    </a:cubicBezTo>
                    <a:close/>
                    <a:moveTo>
                      <a:pt x="131202" y="0"/>
                    </a:moveTo>
                    <a:lnTo>
                      <a:pt x="1880478" y="0"/>
                    </a:lnTo>
                    <a:cubicBezTo>
                      <a:pt x="1952939" y="0"/>
                      <a:pt x="2011680" y="58741"/>
                      <a:pt x="2011680" y="131202"/>
                    </a:cubicBezTo>
                    <a:lnTo>
                      <a:pt x="2011680" y="2977758"/>
                    </a:lnTo>
                    <a:cubicBezTo>
                      <a:pt x="2011680" y="3050219"/>
                      <a:pt x="1952939" y="3108960"/>
                      <a:pt x="1880478" y="3108960"/>
                    </a:cubicBezTo>
                    <a:lnTo>
                      <a:pt x="131202" y="3108960"/>
                    </a:lnTo>
                    <a:cubicBezTo>
                      <a:pt x="58741" y="3108960"/>
                      <a:pt x="0" y="3050219"/>
                      <a:pt x="0" y="2977758"/>
                    </a:cubicBezTo>
                    <a:lnTo>
                      <a:pt x="0" y="131202"/>
                    </a:lnTo>
                    <a:cubicBezTo>
                      <a:pt x="0" y="58741"/>
                      <a:pt x="58741" y="0"/>
                      <a:pt x="131202"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a:endParaRPr lang="en-US" sz="1599"/>
              </a:p>
            </p:txBody>
          </p:sp>
          <p:sp>
            <p:nvSpPr>
              <p:cNvPr id="130" name="Rounded Rectangle 6"/>
              <p:cNvSpPr/>
              <p:nvPr/>
            </p:nvSpPr>
            <p:spPr bwMode="black">
              <a:xfrm rot="16200000">
                <a:off x="8388983" y="2988820"/>
                <a:ext cx="491939" cy="675963"/>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90" tIns="41145" rIns="82290" bIns="41145" numCol="1" rtlCol="0" anchor="ctr" anchorCtr="0" compatLnSpc="1">
                <a:prstTxWarp prst="textNoShape">
                  <a:avLst/>
                </a:prstTxWarp>
              </a:bodyPr>
              <a:lstStyle/>
              <a:p>
                <a:pPr defTabSz="740597"/>
                <a:endParaRPr lang="en-US" sz="1599" spc="-122" dirty="0">
                  <a:solidFill>
                    <a:schemeClr val="tx1">
                      <a:lumMod val="50000"/>
                    </a:schemeClr>
                  </a:solidFill>
                </a:endParaRPr>
              </a:p>
            </p:txBody>
          </p:sp>
        </p:grpSp>
      </p:grpSp>
      <p:grpSp>
        <p:nvGrpSpPr>
          <p:cNvPr id="4" name="Group 3"/>
          <p:cNvGrpSpPr/>
          <p:nvPr/>
        </p:nvGrpSpPr>
        <p:grpSpPr>
          <a:xfrm>
            <a:off x="4803686" y="3744391"/>
            <a:ext cx="5727351" cy="2486352"/>
            <a:chOff x="4803485" y="3744426"/>
            <a:chExt cx="5728164" cy="2486704"/>
          </a:xfrm>
        </p:grpSpPr>
        <p:sp>
          <p:nvSpPr>
            <p:cNvPr id="42" name="Rectangle 41"/>
            <p:cNvSpPr/>
            <p:nvPr/>
          </p:nvSpPr>
          <p:spPr>
            <a:xfrm>
              <a:off x="4803485" y="3744426"/>
              <a:ext cx="1380744" cy="1216152"/>
            </a:xfrm>
            <a:prstGeom prst="rect">
              <a:avLst/>
            </a:prstGeom>
            <a:solidFill>
              <a:schemeClr val="accent3"/>
            </a:solidFill>
            <a:ln w="25400" cap="flat" cmpd="sng" algn="ctr">
              <a:noFill/>
              <a:prstDash val="solid"/>
            </a:ln>
            <a:effectLst/>
          </p:spPr>
          <p:txBody>
            <a:bodyPr lIns="91427" tIns="91427" rIns="91427" bIns="91427"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4224">
                <a:defRPr/>
              </a:pPr>
              <a:r>
                <a:rPr lang="en-US" sz="1399" dirty="0">
                  <a:ln>
                    <a:solidFill>
                      <a:schemeClr val="tx1">
                        <a:alpha val="0"/>
                      </a:schemeClr>
                    </a:solidFill>
                  </a:ln>
                  <a:solidFill>
                    <a:prstClr val="white"/>
                  </a:solidFill>
                </a:rPr>
                <a:t>Camera</a:t>
              </a:r>
            </a:p>
          </p:txBody>
        </p:sp>
        <p:sp>
          <p:nvSpPr>
            <p:cNvPr id="43" name="Rectangle 42"/>
            <p:cNvSpPr/>
            <p:nvPr/>
          </p:nvSpPr>
          <p:spPr>
            <a:xfrm>
              <a:off x="6252247" y="3744426"/>
              <a:ext cx="1380744" cy="1216152"/>
            </a:xfrm>
            <a:prstGeom prst="rect">
              <a:avLst/>
            </a:prstGeom>
            <a:solidFill>
              <a:schemeClr val="accent3"/>
            </a:solidFill>
            <a:ln w="25400" cap="flat" cmpd="sng" algn="ctr">
              <a:noFill/>
              <a:prstDash val="solid"/>
            </a:ln>
            <a:effectLst/>
          </p:spPr>
          <p:txBody>
            <a:bodyPr lIns="91427" tIns="91427" rIns="91427" bIns="91427"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4224">
                <a:spcBef>
                  <a:spcPts val="300"/>
                </a:spcBef>
                <a:defRPr/>
              </a:pPr>
              <a:r>
                <a:rPr lang="en-US" sz="1399" dirty="0">
                  <a:ln>
                    <a:solidFill>
                      <a:schemeClr val="tx1">
                        <a:alpha val="0"/>
                      </a:schemeClr>
                    </a:solidFill>
                  </a:ln>
                  <a:solidFill>
                    <a:prstClr val="white"/>
                  </a:solidFill>
                </a:rPr>
                <a:t>GPS</a:t>
              </a:r>
            </a:p>
          </p:txBody>
        </p:sp>
        <p:sp>
          <p:nvSpPr>
            <p:cNvPr id="44" name="Rectangle 43"/>
            <p:cNvSpPr/>
            <p:nvPr/>
          </p:nvSpPr>
          <p:spPr>
            <a:xfrm>
              <a:off x="7701009" y="3744426"/>
              <a:ext cx="1380744" cy="1216152"/>
            </a:xfrm>
            <a:prstGeom prst="rect">
              <a:avLst/>
            </a:prstGeom>
            <a:solidFill>
              <a:schemeClr val="accent3"/>
            </a:solidFill>
            <a:ln w="25400" cap="flat" cmpd="sng" algn="ctr">
              <a:noFill/>
              <a:prstDash val="solid"/>
            </a:ln>
            <a:effectLst/>
          </p:spPr>
          <p:txBody>
            <a:bodyPr lIns="91427" tIns="91427" rIns="91427" bIns="91427"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4224">
                <a:defRPr/>
              </a:pPr>
              <a:r>
                <a:rPr lang="en-US" sz="1399" dirty="0">
                  <a:ln>
                    <a:solidFill>
                      <a:schemeClr val="tx1">
                        <a:alpha val="0"/>
                      </a:schemeClr>
                    </a:solidFill>
                  </a:ln>
                  <a:solidFill>
                    <a:prstClr val="white"/>
                  </a:solidFill>
                </a:rPr>
                <a:t>Accelerometer</a:t>
              </a:r>
            </a:p>
          </p:txBody>
        </p:sp>
        <p:sp>
          <p:nvSpPr>
            <p:cNvPr id="45" name="Rectangle 44"/>
            <p:cNvSpPr/>
            <p:nvPr/>
          </p:nvSpPr>
          <p:spPr>
            <a:xfrm>
              <a:off x="9149771" y="3753173"/>
              <a:ext cx="1380744" cy="1216152"/>
            </a:xfrm>
            <a:prstGeom prst="rect">
              <a:avLst/>
            </a:prstGeom>
            <a:solidFill>
              <a:schemeClr val="accent3"/>
            </a:solidFill>
            <a:ln w="25400" cap="flat" cmpd="sng" algn="ctr">
              <a:noFill/>
              <a:prstDash val="solid"/>
            </a:ln>
            <a:effectLst/>
          </p:spPr>
          <p:txBody>
            <a:bodyPr lIns="91427" tIns="91427" rIns="91427" bIns="91427"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4224">
                <a:defRPr/>
              </a:pPr>
              <a:r>
                <a:rPr lang="en-US" sz="1399" dirty="0">
                  <a:ln>
                    <a:solidFill>
                      <a:schemeClr val="tx1">
                        <a:alpha val="0"/>
                      </a:schemeClr>
                    </a:solidFill>
                  </a:ln>
                  <a:solidFill>
                    <a:prstClr val="white"/>
                  </a:solidFill>
                </a:rPr>
                <a:t>Altimeter</a:t>
              </a:r>
            </a:p>
          </p:txBody>
        </p:sp>
        <p:sp>
          <p:nvSpPr>
            <p:cNvPr id="46" name="Rectangle 45"/>
            <p:cNvSpPr/>
            <p:nvPr/>
          </p:nvSpPr>
          <p:spPr>
            <a:xfrm>
              <a:off x="4803485" y="5014978"/>
              <a:ext cx="1380744" cy="1216152"/>
            </a:xfrm>
            <a:prstGeom prst="rect">
              <a:avLst/>
            </a:prstGeom>
            <a:solidFill>
              <a:schemeClr val="accent3"/>
            </a:solidFill>
            <a:ln w="25400" cap="flat" cmpd="sng" algn="ctr">
              <a:noFill/>
              <a:prstDash val="solid"/>
            </a:ln>
            <a:effectLst/>
          </p:spPr>
          <p:txBody>
            <a:bodyPr lIns="91427" tIns="91427" rIns="91427" bIns="91427"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4224">
                <a:defRPr/>
              </a:pPr>
              <a:r>
                <a:rPr lang="en-US" sz="1399" dirty="0">
                  <a:ln>
                    <a:solidFill>
                      <a:schemeClr val="tx1">
                        <a:alpha val="0"/>
                      </a:schemeClr>
                    </a:solidFill>
                  </a:ln>
                  <a:solidFill>
                    <a:prstClr val="white"/>
                  </a:solidFill>
                </a:rPr>
                <a:t>Motion</a:t>
              </a:r>
            </a:p>
          </p:txBody>
        </p:sp>
        <p:sp>
          <p:nvSpPr>
            <p:cNvPr id="47" name="Rectangle 46"/>
            <p:cNvSpPr/>
            <p:nvPr/>
          </p:nvSpPr>
          <p:spPr>
            <a:xfrm>
              <a:off x="6252247" y="5014978"/>
              <a:ext cx="1380744" cy="1216152"/>
            </a:xfrm>
            <a:prstGeom prst="rect">
              <a:avLst/>
            </a:prstGeom>
            <a:solidFill>
              <a:schemeClr val="accent3"/>
            </a:solidFill>
            <a:ln w="25400" cap="flat" cmpd="sng" algn="ctr">
              <a:noFill/>
              <a:prstDash val="solid"/>
            </a:ln>
            <a:effectLst/>
          </p:spPr>
          <p:txBody>
            <a:bodyPr lIns="91427" tIns="91427" rIns="91427" bIns="91427"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4224">
                <a:defRPr/>
              </a:pPr>
              <a:r>
                <a:rPr lang="en-US" sz="1399" dirty="0">
                  <a:ln>
                    <a:solidFill>
                      <a:schemeClr val="tx1">
                        <a:alpha val="0"/>
                      </a:schemeClr>
                    </a:solidFill>
                  </a:ln>
                  <a:solidFill>
                    <a:prstClr val="white"/>
                  </a:solidFill>
                </a:rPr>
                <a:t>Light</a:t>
              </a:r>
            </a:p>
          </p:txBody>
        </p:sp>
        <p:sp>
          <p:nvSpPr>
            <p:cNvPr id="48" name="Rectangle 47"/>
            <p:cNvSpPr/>
            <p:nvPr/>
          </p:nvSpPr>
          <p:spPr>
            <a:xfrm>
              <a:off x="7701009" y="5014978"/>
              <a:ext cx="1380744" cy="1216152"/>
            </a:xfrm>
            <a:prstGeom prst="rect">
              <a:avLst/>
            </a:prstGeom>
            <a:solidFill>
              <a:schemeClr val="accent3"/>
            </a:solidFill>
            <a:ln w="25400" cap="flat" cmpd="sng" algn="ctr">
              <a:noFill/>
              <a:prstDash val="solid"/>
            </a:ln>
            <a:effectLst/>
          </p:spPr>
          <p:txBody>
            <a:bodyPr lIns="91427" tIns="91427" rIns="91427" bIns="91427"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4224">
                <a:defRPr/>
              </a:pPr>
              <a:r>
                <a:rPr lang="en-US" sz="1399" dirty="0">
                  <a:ln>
                    <a:solidFill>
                      <a:schemeClr val="tx1">
                        <a:alpha val="0"/>
                      </a:schemeClr>
                    </a:solidFill>
                  </a:ln>
                  <a:solidFill>
                    <a:prstClr val="white"/>
                  </a:solidFill>
                </a:rPr>
                <a:t>Connectivity</a:t>
              </a:r>
            </a:p>
          </p:txBody>
        </p:sp>
        <p:sp>
          <p:nvSpPr>
            <p:cNvPr id="49" name="Rectangle 48"/>
            <p:cNvSpPr/>
            <p:nvPr/>
          </p:nvSpPr>
          <p:spPr>
            <a:xfrm>
              <a:off x="9150905" y="5014978"/>
              <a:ext cx="1380744" cy="1216152"/>
            </a:xfrm>
            <a:prstGeom prst="rect">
              <a:avLst/>
            </a:prstGeom>
            <a:solidFill>
              <a:schemeClr val="accent3"/>
            </a:solidFill>
            <a:ln w="25400" cap="flat" cmpd="sng" algn="ctr">
              <a:noFill/>
              <a:prstDash val="solid"/>
            </a:ln>
            <a:effectLst/>
          </p:spPr>
          <p:txBody>
            <a:bodyPr lIns="91427" tIns="91427" rIns="91427" bIns="91427"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4224">
                <a:defRPr/>
              </a:pPr>
              <a:r>
                <a:rPr lang="en-US" sz="1399" dirty="0">
                  <a:ln>
                    <a:solidFill>
                      <a:schemeClr val="tx1">
                        <a:alpha val="0"/>
                      </a:schemeClr>
                    </a:solidFill>
                  </a:ln>
                  <a:solidFill>
                    <a:prstClr val="white"/>
                  </a:solidFill>
                </a:rPr>
                <a:t>Power</a:t>
              </a:r>
            </a:p>
          </p:txBody>
        </p:sp>
        <p:grpSp>
          <p:nvGrpSpPr>
            <p:cNvPr id="65" name="Group 64"/>
            <p:cNvGrpSpPr/>
            <p:nvPr/>
          </p:nvGrpSpPr>
          <p:grpSpPr>
            <a:xfrm>
              <a:off x="9749534" y="5468067"/>
              <a:ext cx="648120" cy="583068"/>
              <a:chOff x="3619237" y="3560063"/>
              <a:chExt cx="1927638" cy="1734159"/>
            </a:xfrm>
            <a:solidFill>
              <a:schemeClr val="tx1"/>
            </a:solidFill>
          </p:grpSpPr>
          <p:sp>
            <p:nvSpPr>
              <p:cNvPr id="66" name="Oval 92"/>
              <p:cNvSpPr/>
              <p:nvPr/>
            </p:nvSpPr>
            <p:spPr>
              <a:xfrm>
                <a:off x="3619237" y="3560063"/>
                <a:ext cx="704864" cy="1734159"/>
              </a:xfrm>
              <a:custGeom>
                <a:avLst/>
                <a:gdLst/>
                <a:ahLst/>
                <a:cxnLst/>
                <a:rect l="l" t="t" r="r" b="b"/>
                <a:pathLst>
                  <a:path w="704863" h="1734159">
                    <a:moveTo>
                      <a:pt x="695588" y="1266730"/>
                    </a:moveTo>
                    <a:lnTo>
                      <a:pt x="704863" y="1266885"/>
                    </a:lnTo>
                    <a:lnTo>
                      <a:pt x="704863" y="1353351"/>
                    </a:lnTo>
                    <a:cubicBezTo>
                      <a:pt x="675917" y="1337354"/>
                      <a:pt x="652691" y="1323986"/>
                      <a:pt x="638438" y="1314355"/>
                    </a:cubicBezTo>
                    <a:cubicBezTo>
                      <a:pt x="623754" y="1304433"/>
                      <a:pt x="619388" y="1301258"/>
                      <a:pt x="619388" y="1295305"/>
                    </a:cubicBezTo>
                    <a:cubicBezTo>
                      <a:pt x="619388" y="1289352"/>
                      <a:pt x="625738" y="1283399"/>
                      <a:pt x="638438" y="1278636"/>
                    </a:cubicBezTo>
                    <a:cubicBezTo>
                      <a:pt x="651138" y="1273873"/>
                      <a:pt x="676141" y="1269508"/>
                      <a:pt x="695588" y="1266730"/>
                    </a:cubicBezTo>
                    <a:close/>
                    <a:moveTo>
                      <a:pt x="411274" y="345186"/>
                    </a:moveTo>
                    <a:lnTo>
                      <a:pt x="209603" y="663178"/>
                    </a:lnTo>
                    <a:lnTo>
                      <a:pt x="365906" y="776362"/>
                    </a:lnTo>
                    <a:lnTo>
                      <a:pt x="274280" y="1126692"/>
                    </a:lnTo>
                    <a:lnTo>
                      <a:pt x="495259" y="760193"/>
                    </a:lnTo>
                    <a:lnTo>
                      <a:pt x="333567" y="647009"/>
                    </a:lnTo>
                    <a:close/>
                    <a:moveTo>
                      <a:pt x="1" y="136648"/>
                    </a:moveTo>
                    <a:lnTo>
                      <a:pt x="1902" y="136648"/>
                    </a:lnTo>
                    <a:cubicBezTo>
                      <a:pt x="5653" y="185960"/>
                      <a:pt x="161157" y="225525"/>
                      <a:pt x="352333" y="225525"/>
                    </a:cubicBezTo>
                    <a:cubicBezTo>
                      <a:pt x="543509" y="225525"/>
                      <a:pt x="699013" y="185960"/>
                      <a:pt x="702764" y="136648"/>
                    </a:cubicBezTo>
                    <a:lnTo>
                      <a:pt x="704863" y="136648"/>
                    </a:lnTo>
                    <a:lnTo>
                      <a:pt x="704863" y="1199085"/>
                    </a:lnTo>
                    <a:cubicBezTo>
                      <a:pt x="668731" y="1199232"/>
                      <a:pt x="611501" y="1211747"/>
                      <a:pt x="583669" y="1219105"/>
                    </a:cubicBezTo>
                    <a:cubicBezTo>
                      <a:pt x="549141" y="1228233"/>
                      <a:pt x="528901" y="1241330"/>
                      <a:pt x="519376" y="1254824"/>
                    </a:cubicBezTo>
                    <a:cubicBezTo>
                      <a:pt x="509851" y="1268318"/>
                      <a:pt x="517788" y="1284986"/>
                      <a:pt x="526519" y="1300067"/>
                    </a:cubicBezTo>
                    <a:cubicBezTo>
                      <a:pt x="535250" y="1315148"/>
                      <a:pt x="552713" y="1330230"/>
                      <a:pt x="571763" y="1345311"/>
                    </a:cubicBezTo>
                    <a:cubicBezTo>
                      <a:pt x="590813" y="1360392"/>
                      <a:pt x="614625" y="1375871"/>
                      <a:pt x="640819" y="1390555"/>
                    </a:cubicBezTo>
                    <a:cubicBezTo>
                      <a:pt x="660045" y="1401333"/>
                      <a:pt x="682478" y="1417242"/>
                      <a:pt x="704863" y="1426416"/>
                    </a:cubicBezTo>
                    <a:cubicBezTo>
                      <a:pt x="704863" y="1498416"/>
                      <a:pt x="704863" y="1570416"/>
                      <a:pt x="704863" y="1642415"/>
                    </a:cubicBezTo>
                    <a:cubicBezTo>
                      <a:pt x="704863" y="1693084"/>
                      <a:pt x="547073" y="1734159"/>
                      <a:pt x="352431" y="1734159"/>
                    </a:cubicBezTo>
                    <a:cubicBezTo>
                      <a:pt x="157789" y="1734159"/>
                      <a:pt x="0" y="1693084"/>
                      <a:pt x="0" y="1642415"/>
                    </a:cubicBezTo>
                    <a:close/>
                    <a:moveTo>
                      <a:pt x="220298" y="62850"/>
                    </a:moveTo>
                    <a:lnTo>
                      <a:pt x="220298" y="130380"/>
                    </a:lnTo>
                    <a:cubicBezTo>
                      <a:pt x="220298" y="146285"/>
                      <a:pt x="283255" y="159178"/>
                      <a:pt x="360918" y="159178"/>
                    </a:cubicBezTo>
                    <a:cubicBezTo>
                      <a:pt x="438580" y="159178"/>
                      <a:pt x="501537" y="146285"/>
                      <a:pt x="501537" y="130380"/>
                    </a:cubicBezTo>
                    <a:cubicBezTo>
                      <a:pt x="501537" y="108530"/>
                      <a:pt x="501538" y="86680"/>
                      <a:pt x="501538" y="64830"/>
                    </a:cubicBezTo>
                    <a:cubicBezTo>
                      <a:pt x="606502" y="76426"/>
                      <a:pt x="678256" y="100625"/>
                      <a:pt x="678256" y="128531"/>
                    </a:cubicBezTo>
                    <a:cubicBezTo>
                      <a:pt x="678256" y="168307"/>
                      <a:pt x="532487" y="200550"/>
                      <a:pt x="352671" y="200550"/>
                    </a:cubicBezTo>
                    <a:cubicBezTo>
                      <a:pt x="172856" y="200550"/>
                      <a:pt x="27087" y="168307"/>
                      <a:pt x="27087" y="128531"/>
                    </a:cubicBezTo>
                    <a:cubicBezTo>
                      <a:pt x="27087" y="99184"/>
                      <a:pt x="106446" y="73936"/>
                      <a:pt x="220298" y="62850"/>
                    </a:cubicBezTo>
                    <a:close/>
                    <a:moveTo>
                      <a:pt x="246711" y="27853"/>
                    </a:moveTo>
                    <a:cubicBezTo>
                      <a:pt x="257621" y="38544"/>
                      <a:pt x="304608" y="46580"/>
                      <a:pt x="360918" y="46580"/>
                    </a:cubicBezTo>
                    <a:cubicBezTo>
                      <a:pt x="417228" y="46580"/>
                      <a:pt x="464216" y="38544"/>
                      <a:pt x="475126" y="27853"/>
                    </a:cubicBezTo>
                    <a:cubicBezTo>
                      <a:pt x="476699" y="29410"/>
                      <a:pt x="477522" y="31027"/>
                      <a:pt x="477522" y="32683"/>
                    </a:cubicBezTo>
                    <a:cubicBezTo>
                      <a:pt x="477522" y="62802"/>
                      <a:pt x="477522" y="92919"/>
                      <a:pt x="477522" y="123037"/>
                    </a:cubicBezTo>
                    <a:cubicBezTo>
                      <a:pt x="477522" y="136226"/>
                      <a:pt x="425316" y="146917"/>
                      <a:pt x="360918" y="146917"/>
                    </a:cubicBezTo>
                    <a:cubicBezTo>
                      <a:pt x="296519" y="146917"/>
                      <a:pt x="244314" y="136226"/>
                      <a:pt x="244314" y="123037"/>
                    </a:cubicBezTo>
                    <a:cubicBezTo>
                      <a:pt x="244314" y="92919"/>
                      <a:pt x="244314" y="62802"/>
                      <a:pt x="244314" y="32683"/>
                    </a:cubicBezTo>
                    <a:cubicBezTo>
                      <a:pt x="244314" y="31027"/>
                      <a:pt x="245138" y="29410"/>
                      <a:pt x="246711" y="27853"/>
                    </a:cubicBezTo>
                    <a:close/>
                    <a:moveTo>
                      <a:pt x="360918" y="0"/>
                    </a:moveTo>
                    <a:cubicBezTo>
                      <a:pt x="421475" y="0"/>
                      <a:pt x="470566" y="8708"/>
                      <a:pt x="470566" y="19450"/>
                    </a:cubicBezTo>
                    <a:cubicBezTo>
                      <a:pt x="470566" y="30192"/>
                      <a:pt x="421475" y="38899"/>
                      <a:pt x="360918" y="38899"/>
                    </a:cubicBezTo>
                    <a:cubicBezTo>
                      <a:pt x="300362" y="38899"/>
                      <a:pt x="251271" y="30192"/>
                      <a:pt x="251271" y="19450"/>
                    </a:cubicBezTo>
                    <a:cubicBezTo>
                      <a:pt x="251271" y="8708"/>
                      <a:pt x="300362" y="0"/>
                      <a:pt x="360918"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2" name="Group 71"/>
              <p:cNvGrpSpPr/>
              <p:nvPr/>
            </p:nvGrpSpPr>
            <p:grpSpPr>
              <a:xfrm flipH="1">
                <a:off x="4153308" y="4427146"/>
                <a:ext cx="1393567" cy="860700"/>
                <a:chOff x="5361976" y="4946691"/>
                <a:chExt cx="799233" cy="493624"/>
              </a:xfrm>
              <a:grpFill/>
            </p:grpSpPr>
            <p:sp>
              <p:nvSpPr>
                <p:cNvPr id="74" name="Freeform 73"/>
                <p:cNvSpPr/>
                <p:nvPr/>
              </p:nvSpPr>
              <p:spPr>
                <a:xfrm>
                  <a:off x="5829339" y="5147630"/>
                  <a:ext cx="331870" cy="292685"/>
                </a:xfrm>
                <a:custGeom>
                  <a:avLst/>
                  <a:gdLst/>
                  <a:ahLst/>
                  <a:cxnLst/>
                  <a:rect l="l" t="t" r="r" b="b"/>
                  <a:pathLst>
                    <a:path w="331870" h="292685">
                      <a:moveTo>
                        <a:pt x="79002" y="171534"/>
                      </a:moveTo>
                      <a:cubicBezTo>
                        <a:pt x="53133" y="189253"/>
                        <a:pt x="3876" y="205908"/>
                        <a:pt x="10963" y="240637"/>
                      </a:cubicBezTo>
                      <a:cubicBezTo>
                        <a:pt x="31871" y="266151"/>
                        <a:pt x="58094" y="271467"/>
                        <a:pt x="114084" y="276782"/>
                      </a:cubicBezTo>
                      <a:cubicBezTo>
                        <a:pt x="55613" y="266860"/>
                        <a:pt x="23720" y="250559"/>
                        <a:pt x="18405" y="236384"/>
                      </a:cubicBezTo>
                      <a:cubicBezTo>
                        <a:pt x="21240" y="203073"/>
                        <a:pt x="65536" y="186772"/>
                        <a:pt x="79002" y="171534"/>
                      </a:cubicBezTo>
                      <a:close/>
                      <a:moveTo>
                        <a:pt x="310349" y="20734"/>
                      </a:moveTo>
                      <a:cubicBezTo>
                        <a:pt x="311981" y="23805"/>
                        <a:pt x="314764" y="26301"/>
                        <a:pt x="315244" y="29948"/>
                      </a:cubicBezTo>
                      <a:cubicBezTo>
                        <a:pt x="316684" y="33915"/>
                        <a:pt x="318124" y="34139"/>
                        <a:pt x="316396" y="39546"/>
                      </a:cubicBezTo>
                      <a:cubicBezTo>
                        <a:pt x="315340" y="43928"/>
                        <a:pt x="310829" y="46584"/>
                        <a:pt x="308046" y="50103"/>
                      </a:cubicBezTo>
                      <a:lnTo>
                        <a:pt x="287603" y="65555"/>
                      </a:lnTo>
                      <a:lnTo>
                        <a:pt x="248925" y="92908"/>
                      </a:lnTo>
                      <a:cubicBezTo>
                        <a:pt x="281685" y="73969"/>
                        <a:pt x="303503" y="63859"/>
                        <a:pt x="319563" y="47608"/>
                      </a:cubicBezTo>
                      <a:cubicBezTo>
                        <a:pt x="331336" y="33275"/>
                        <a:pt x="318539" y="25085"/>
                        <a:pt x="310349" y="20734"/>
                      </a:cubicBezTo>
                      <a:close/>
                      <a:moveTo>
                        <a:pt x="210097" y="188"/>
                      </a:moveTo>
                      <a:cubicBezTo>
                        <a:pt x="250944" y="-1655"/>
                        <a:pt x="319432" y="10323"/>
                        <a:pt x="329874" y="25065"/>
                      </a:cubicBezTo>
                      <a:cubicBezTo>
                        <a:pt x="362122" y="85568"/>
                        <a:pt x="-7345" y="188454"/>
                        <a:pt x="25825" y="239743"/>
                      </a:cubicBezTo>
                      <a:cubicBezTo>
                        <a:pt x="60222" y="270148"/>
                        <a:pt x="197813" y="282126"/>
                        <a:pt x="236817" y="270148"/>
                      </a:cubicBezTo>
                      <a:lnTo>
                        <a:pt x="245109" y="286733"/>
                      </a:lnTo>
                      <a:cubicBezTo>
                        <a:pt x="211019" y="299018"/>
                        <a:pt x="-2738" y="298403"/>
                        <a:pt x="27" y="224080"/>
                      </a:cubicBezTo>
                      <a:cubicBezTo>
                        <a:pt x="4941" y="168184"/>
                        <a:pt x="328646" y="67140"/>
                        <a:pt x="294863" y="34278"/>
                      </a:cubicBezTo>
                      <a:cubicBezTo>
                        <a:pt x="284113" y="21379"/>
                        <a:pt x="224532" y="19537"/>
                        <a:pt x="208255" y="17694"/>
                      </a:cubicBezTo>
                      <a:close/>
                    </a:path>
                  </a:pathLst>
                </a:custGeom>
                <a:grpFill/>
                <a:ln w="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Freeform 74"/>
                <p:cNvSpPr/>
                <p:nvPr/>
              </p:nvSpPr>
              <p:spPr>
                <a:xfrm>
                  <a:off x="5931171" y="5103592"/>
                  <a:ext cx="97462" cy="93077"/>
                </a:xfrm>
                <a:custGeom>
                  <a:avLst/>
                  <a:gdLst/>
                  <a:ahLst/>
                  <a:cxnLst/>
                  <a:rect l="l" t="t" r="r" b="b"/>
                  <a:pathLst>
                    <a:path w="97462" h="93077">
                      <a:moveTo>
                        <a:pt x="26486" y="46373"/>
                      </a:moveTo>
                      <a:lnTo>
                        <a:pt x="18826" y="71941"/>
                      </a:lnTo>
                      <a:lnTo>
                        <a:pt x="14475" y="84117"/>
                      </a:lnTo>
                      <a:lnTo>
                        <a:pt x="14213" y="87508"/>
                      </a:lnTo>
                      <a:lnTo>
                        <a:pt x="57091" y="91954"/>
                      </a:lnTo>
                      <a:lnTo>
                        <a:pt x="77617" y="91262"/>
                      </a:lnTo>
                      <a:lnTo>
                        <a:pt x="81620" y="83609"/>
                      </a:lnTo>
                      <a:lnTo>
                        <a:pt x="87363" y="68129"/>
                      </a:lnTo>
                      <a:lnTo>
                        <a:pt x="88410" y="54562"/>
                      </a:lnTo>
                      <a:lnTo>
                        <a:pt x="80495" y="53951"/>
                      </a:lnTo>
                      <a:lnTo>
                        <a:pt x="76231" y="64996"/>
                      </a:lnTo>
                      <a:lnTo>
                        <a:pt x="74228" y="76215"/>
                      </a:lnTo>
                      <a:lnTo>
                        <a:pt x="71356" y="83955"/>
                      </a:lnTo>
                      <a:lnTo>
                        <a:pt x="66485" y="88129"/>
                      </a:lnTo>
                      <a:lnTo>
                        <a:pt x="66575" y="72213"/>
                      </a:lnTo>
                      <a:lnTo>
                        <a:pt x="67535" y="59775"/>
                      </a:lnTo>
                      <a:lnTo>
                        <a:pt x="66927" y="52904"/>
                      </a:lnTo>
                      <a:lnTo>
                        <a:pt x="58057" y="49945"/>
                      </a:lnTo>
                      <a:lnTo>
                        <a:pt x="50142" y="49335"/>
                      </a:lnTo>
                      <a:lnTo>
                        <a:pt x="49183" y="61772"/>
                      </a:lnTo>
                      <a:lnTo>
                        <a:pt x="45700" y="77426"/>
                      </a:lnTo>
                      <a:lnTo>
                        <a:pt x="41611" y="86210"/>
                      </a:lnTo>
                      <a:lnTo>
                        <a:pt x="34914" y="84556"/>
                      </a:lnTo>
                      <a:lnTo>
                        <a:pt x="38309" y="70032"/>
                      </a:lnTo>
                      <a:lnTo>
                        <a:pt x="41530" y="57769"/>
                      </a:lnTo>
                      <a:lnTo>
                        <a:pt x="40053" y="47419"/>
                      </a:lnTo>
                      <a:close/>
                      <a:moveTo>
                        <a:pt x="9214" y="0"/>
                      </a:moveTo>
                      <a:lnTo>
                        <a:pt x="76473" y="7371"/>
                      </a:lnTo>
                      <a:cubicBezTo>
                        <a:pt x="109949" y="17506"/>
                        <a:pt x="97357" y="78316"/>
                        <a:pt x="80159" y="93058"/>
                      </a:cubicBezTo>
                      <a:cubicBezTo>
                        <a:pt x="44226" y="93365"/>
                        <a:pt x="12899" y="89986"/>
                        <a:pt x="0" y="88451"/>
                      </a:cubicBezTo>
                      <a:close/>
                    </a:path>
                  </a:pathLst>
                </a:custGeom>
                <a:grpFill/>
                <a:ln>
                  <a:noFill/>
                </a:ln>
                <a:effectLst/>
                <a:scene3d>
                  <a:camera prst="orthographicFront">
                    <a:rot lat="0" lon="0" rev="0"/>
                  </a:camera>
                  <a:lightRig rig="threePt" dir="t">
                    <a:rot lat="0" lon="0" rev="0"/>
                  </a:lightRig>
                </a:scene3d>
                <a:sp3d extrusionH="438150" prstMaterial="flat">
                  <a:bevelB w="393700" prst="angle"/>
                </a:sp3d>
              </p:spPr>
              <p:txBody>
                <a:bodyPr rtlCol="0" anchor="ctr"/>
                <a:lstStyle/>
                <a:p>
                  <a:pPr algn="ctr"/>
                  <a:endParaRPr lang="en-US" kern="0" dirty="0">
                    <a:solidFill>
                      <a:sysClr val="window" lastClr="FFFFFF"/>
                    </a:solidFill>
                    <a:latin typeface="Segoe UI"/>
                    <a:sym typeface="Segoe UI"/>
                  </a:endParaRPr>
                </a:p>
              </p:txBody>
            </p:sp>
            <p:sp>
              <p:nvSpPr>
                <p:cNvPr id="76" name="Freeform 75"/>
                <p:cNvSpPr/>
                <p:nvPr/>
              </p:nvSpPr>
              <p:spPr>
                <a:xfrm>
                  <a:off x="5611459" y="4946691"/>
                  <a:ext cx="339274" cy="350307"/>
                </a:xfrm>
                <a:custGeom>
                  <a:avLst/>
                  <a:gdLst/>
                  <a:ahLst/>
                  <a:cxnLst/>
                  <a:rect l="l" t="t" r="r" b="b"/>
                  <a:pathLst>
                    <a:path w="339274" h="350307">
                      <a:moveTo>
                        <a:pt x="111485" y="190991"/>
                      </a:moveTo>
                      <a:cubicBezTo>
                        <a:pt x="114249" y="231224"/>
                        <a:pt x="101350" y="276985"/>
                        <a:pt x="83844" y="303398"/>
                      </a:cubicBezTo>
                      <a:cubicBezTo>
                        <a:pt x="91215" y="303398"/>
                        <a:pt x="92137" y="309847"/>
                        <a:pt x="105957" y="303398"/>
                      </a:cubicBezTo>
                      <a:cubicBezTo>
                        <a:pt x="157860" y="250880"/>
                        <a:pt x="224506" y="249037"/>
                        <a:pt x="294836" y="245352"/>
                      </a:cubicBezTo>
                      <a:lnTo>
                        <a:pt x="290229" y="239824"/>
                      </a:lnTo>
                      <a:cubicBezTo>
                        <a:pt x="213756" y="238288"/>
                        <a:pt x="152025" y="252416"/>
                        <a:pt x="118856" y="271150"/>
                      </a:cubicBezTo>
                      <a:cubicBezTo>
                        <a:pt x="132062" y="231531"/>
                        <a:pt x="121313" y="198362"/>
                        <a:pt x="111485" y="190991"/>
                      </a:cubicBezTo>
                      <a:close/>
                      <a:moveTo>
                        <a:pt x="29758" y="2655"/>
                      </a:moveTo>
                      <a:lnTo>
                        <a:pt x="20113" y="5716"/>
                      </a:lnTo>
                      <a:lnTo>
                        <a:pt x="20270" y="3032"/>
                      </a:lnTo>
                      <a:close/>
                      <a:moveTo>
                        <a:pt x="63689" y="1305"/>
                      </a:moveTo>
                      <a:cubicBezTo>
                        <a:pt x="77932" y="3954"/>
                        <a:pt x="90447" y="9482"/>
                        <a:pt x="96743" y="16853"/>
                      </a:cubicBezTo>
                      <a:cubicBezTo>
                        <a:pt x="144040" y="107761"/>
                        <a:pt x="296372" y="137859"/>
                        <a:pt x="324320" y="140316"/>
                      </a:cubicBezTo>
                      <a:cubicBezTo>
                        <a:pt x="355953" y="171950"/>
                        <a:pt x="330462" y="250573"/>
                        <a:pt x="311421" y="265622"/>
                      </a:cubicBezTo>
                      <a:cubicBezTo>
                        <a:pt x="221742" y="248730"/>
                        <a:pt x="111792" y="290806"/>
                        <a:pt x="74631" y="341174"/>
                      </a:cubicBezTo>
                      <a:cubicBezTo>
                        <a:pt x="62346" y="348852"/>
                        <a:pt x="16892" y="352844"/>
                        <a:pt x="0" y="348545"/>
                      </a:cubicBezTo>
                      <a:lnTo>
                        <a:pt x="34" y="347966"/>
                      </a:lnTo>
                      <a:cubicBezTo>
                        <a:pt x="43963" y="351348"/>
                        <a:pt x="87169" y="277947"/>
                        <a:pt x="96970" y="183165"/>
                      </a:cubicBezTo>
                      <a:cubicBezTo>
                        <a:pt x="106717" y="88902"/>
                        <a:pt x="79796" y="8577"/>
                        <a:pt x="36467" y="2388"/>
                      </a:cubicBezTo>
                      <a:cubicBezTo>
                        <a:pt x="45344" y="-874"/>
                        <a:pt x="54850" y="-339"/>
                        <a:pt x="63689" y="1305"/>
                      </a:cubicBezTo>
                      <a:close/>
                    </a:path>
                  </a:pathLst>
                </a:custGeom>
                <a:grpFill/>
                <a:ln w="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Oval 265"/>
                <p:cNvSpPr/>
                <p:nvPr/>
              </p:nvSpPr>
              <p:spPr>
                <a:xfrm rot="354222">
                  <a:off x="5534709" y="4952805"/>
                  <a:ext cx="156578" cy="337440"/>
                </a:xfrm>
                <a:custGeom>
                  <a:avLst/>
                  <a:gdLst/>
                  <a:ahLst/>
                  <a:cxnLst/>
                  <a:rect l="l" t="t" r="r" b="b"/>
                  <a:pathLst>
                    <a:path w="156578" h="337440">
                      <a:moveTo>
                        <a:pt x="78289" y="0"/>
                      </a:moveTo>
                      <a:cubicBezTo>
                        <a:pt x="121527" y="0"/>
                        <a:pt x="156578" y="75539"/>
                        <a:pt x="156578" y="168721"/>
                      </a:cubicBezTo>
                      <a:cubicBezTo>
                        <a:pt x="156578" y="261901"/>
                        <a:pt x="121527" y="337440"/>
                        <a:pt x="78289" y="337440"/>
                      </a:cubicBezTo>
                      <a:cubicBezTo>
                        <a:pt x="52665" y="337441"/>
                        <a:pt x="29917" y="310911"/>
                        <a:pt x="17102" y="269392"/>
                      </a:cubicBezTo>
                      <a:lnTo>
                        <a:pt x="68197" y="269700"/>
                      </a:lnTo>
                      <a:cubicBezTo>
                        <a:pt x="85623" y="269804"/>
                        <a:pt x="99835" y="255763"/>
                        <a:pt x="99940" y="238337"/>
                      </a:cubicBezTo>
                      <a:lnTo>
                        <a:pt x="99941" y="238337"/>
                      </a:lnTo>
                      <a:cubicBezTo>
                        <a:pt x="100045" y="220912"/>
                        <a:pt x="86004" y="206700"/>
                        <a:pt x="68578" y="206595"/>
                      </a:cubicBezTo>
                      <a:lnTo>
                        <a:pt x="3512" y="206203"/>
                      </a:lnTo>
                      <a:cubicBezTo>
                        <a:pt x="676" y="194262"/>
                        <a:pt x="0" y="181661"/>
                        <a:pt x="0" y="168720"/>
                      </a:cubicBezTo>
                      <a:lnTo>
                        <a:pt x="3367" y="132782"/>
                      </a:lnTo>
                      <a:lnTo>
                        <a:pt x="54071" y="133088"/>
                      </a:lnTo>
                      <a:cubicBezTo>
                        <a:pt x="71497" y="133193"/>
                        <a:pt x="85708" y="119152"/>
                        <a:pt x="85813" y="101726"/>
                      </a:cubicBezTo>
                      <a:lnTo>
                        <a:pt x="85814" y="101726"/>
                      </a:lnTo>
                      <a:cubicBezTo>
                        <a:pt x="85919" y="84300"/>
                        <a:pt x="71878" y="70088"/>
                        <a:pt x="54452" y="69983"/>
                      </a:cubicBezTo>
                      <a:lnTo>
                        <a:pt x="16568" y="69755"/>
                      </a:lnTo>
                      <a:cubicBezTo>
                        <a:pt x="29291" y="27265"/>
                        <a:pt x="52313" y="0"/>
                        <a:pt x="78289" y="0"/>
                      </a:cubicBezTo>
                      <a:close/>
                    </a:path>
                  </a:pathLst>
                </a:custGeom>
                <a:grpFill/>
                <a:ln w="0">
                  <a:noFill/>
                </a:ln>
                <a:effectLst/>
                <a:scene3d>
                  <a:camera prst="orthographicFront">
                    <a:rot lat="0" lon="0" rev="0"/>
                  </a:camera>
                  <a:lightRig rig="threePt" dir="t">
                    <a:rot lat="0" lon="0" rev="0"/>
                  </a:lightRig>
                </a:scene3d>
                <a:sp3d extrusionH="438150" prstMaterial="flat">
                  <a:bevelB w="393700" prst="angle"/>
                </a:sp3d>
              </p:spPr>
              <p:txBody>
                <a:bodyPr rtlCol="0" anchor="ctr"/>
                <a:lstStyle/>
                <a:p>
                  <a:pPr algn="ctr"/>
                  <a:endParaRPr lang="en-US" kern="0" dirty="0">
                    <a:solidFill>
                      <a:sysClr val="window" lastClr="FFFFFF"/>
                    </a:solidFill>
                    <a:latin typeface="Segoe UI"/>
                    <a:sym typeface="Segoe UI"/>
                  </a:endParaRPr>
                </a:p>
              </p:txBody>
            </p:sp>
            <p:sp>
              <p:nvSpPr>
                <p:cNvPr id="78" name="Rounded Rectangle 77"/>
                <p:cNvSpPr/>
                <p:nvPr/>
              </p:nvSpPr>
              <p:spPr>
                <a:xfrm rot="374933">
                  <a:off x="5361977" y="5015637"/>
                  <a:ext cx="256173" cy="4846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Rounded Rectangle 78"/>
                <p:cNvSpPr/>
                <p:nvPr/>
              </p:nvSpPr>
              <p:spPr>
                <a:xfrm rot="374933">
                  <a:off x="5361976" y="5153980"/>
                  <a:ext cx="256173" cy="4846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09" name="Rectangle 107548"/>
            <p:cNvSpPr/>
            <p:nvPr/>
          </p:nvSpPr>
          <p:spPr bwMode="auto">
            <a:xfrm rot="755747">
              <a:off x="8400840" y="5454925"/>
              <a:ext cx="551586" cy="597860"/>
            </a:xfrm>
            <a:custGeom>
              <a:avLst/>
              <a:gdLst/>
              <a:ahLst/>
              <a:cxnLst/>
              <a:rect l="l" t="t" r="r" b="b"/>
              <a:pathLst>
                <a:path w="8212826" h="8901817">
                  <a:moveTo>
                    <a:pt x="4497681" y="7201125"/>
                  </a:moveTo>
                  <a:lnTo>
                    <a:pt x="4497681" y="8491711"/>
                  </a:lnTo>
                  <a:lnTo>
                    <a:pt x="5081600" y="7571751"/>
                  </a:lnTo>
                  <a:close/>
                  <a:moveTo>
                    <a:pt x="5836176" y="6890495"/>
                  </a:moveTo>
                  <a:lnTo>
                    <a:pt x="5457014" y="7487862"/>
                  </a:lnTo>
                  <a:lnTo>
                    <a:pt x="6398161" y="8085230"/>
                  </a:lnTo>
                  <a:close/>
                  <a:moveTo>
                    <a:pt x="4895788" y="5994363"/>
                  </a:moveTo>
                  <a:lnTo>
                    <a:pt x="4497681" y="6621578"/>
                  </a:lnTo>
                  <a:lnTo>
                    <a:pt x="4497681" y="6902697"/>
                  </a:lnTo>
                  <a:lnTo>
                    <a:pt x="5198089" y="7347261"/>
                  </a:lnTo>
                  <a:lnTo>
                    <a:pt x="5687980" y="6575442"/>
                  </a:lnTo>
                  <a:lnTo>
                    <a:pt x="5635501" y="6463876"/>
                  </a:lnTo>
                  <a:close/>
                  <a:moveTo>
                    <a:pt x="4497681" y="5715678"/>
                  </a:moveTo>
                  <a:lnTo>
                    <a:pt x="4497681" y="6151406"/>
                  </a:lnTo>
                  <a:lnTo>
                    <a:pt x="4694824" y="5840809"/>
                  </a:lnTo>
                  <a:close/>
                  <a:moveTo>
                    <a:pt x="5203902" y="5546330"/>
                  </a:moveTo>
                  <a:lnTo>
                    <a:pt x="5070235" y="5756921"/>
                  </a:lnTo>
                  <a:lnTo>
                    <a:pt x="5402019" y="5967512"/>
                  </a:lnTo>
                  <a:close/>
                  <a:moveTo>
                    <a:pt x="5193775" y="4574281"/>
                  </a:moveTo>
                  <a:lnTo>
                    <a:pt x="6931089" y="8267670"/>
                  </a:lnTo>
                  <a:lnTo>
                    <a:pt x="6343807" y="8398898"/>
                  </a:lnTo>
                  <a:lnTo>
                    <a:pt x="5282566" y="7725304"/>
                  </a:lnTo>
                  <a:lnTo>
                    <a:pt x="4608974" y="8786545"/>
                  </a:lnTo>
                  <a:lnTo>
                    <a:pt x="4093096" y="8901817"/>
                  </a:lnTo>
                  <a:lnTo>
                    <a:pt x="4093096" y="4820228"/>
                  </a:lnTo>
                  <a:lnTo>
                    <a:pt x="4497681" y="4820228"/>
                  </a:lnTo>
                  <a:lnTo>
                    <a:pt x="4497681" y="5417250"/>
                  </a:lnTo>
                  <a:lnTo>
                    <a:pt x="4811312" y="5616319"/>
                  </a:lnTo>
                  <a:lnTo>
                    <a:pt x="5055706" y="5231277"/>
                  </a:lnTo>
                  <a:lnTo>
                    <a:pt x="4827670" y="4746491"/>
                  </a:lnTo>
                  <a:close/>
                  <a:moveTo>
                    <a:pt x="5064" y="5190605"/>
                  </a:moveTo>
                  <a:lnTo>
                    <a:pt x="696552" y="5276114"/>
                  </a:lnTo>
                  <a:cubicBezTo>
                    <a:pt x="673849" y="5830665"/>
                    <a:pt x="905790" y="6387729"/>
                    <a:pt x="1329298" y="6795803"/>
                  </a:cubicBezTo>
                  <a:cubicBezTo>
                    <a:pt x="1742308" y="7193763"/>
                    <a:pt x="2296214" y="7410173"/>
                    <a:pt x="2847106" y="7388810"/>
                  </a:cubicBezTo>
                  <a:lnTo>
                    <a:pt x="2935322" y="8080183"/>
                  </a:lnTo>
                  <a:cubicBezTo>
                    <a:pt x="2171520" y="8127883"/>
                    <a:pt x="1404010" y="7838139"/>
                    <a:pt x="838426" y="7288578"/>
                  </a:cubicBezTo>
                  <a:cubicBezTo>
                    <a:pt x="262300" y="6728776"/>
                    <a:pt x="-43753" y="5958291"/>
                    <a:pt x="5064" y="5190605"/>
                  </a:cubicBezTo>
                  <a:close/>
                  <a:moveTo>
                    <a:pt x="2315372" y="4553207"/>
                  </a:moveTo>
                  <a:lnTo>
                    <a:pt x="2576079" y="4585445"/>
                  </a:lnTo>
                  <a:cubicBezTo>
                    <a:pt x="2567519" y="4794524"/>
                    <a:pt x="2654967" y="5004551"/>
                    <a:pt x="2814640" y="5158404"/>
                  </a:cubicBezTo>
                  <a:cubicBezTo>
                    <a:pt x="2970355" y="5308445"/>
                    <a:pt x="3179191" y="5390036"/>
                    <a:pt x="3386890" y="5381982"/>
                  </a:cubicBezTo>
                  <a:lnTo>
                    <a:pt x="3420150" y="5642648"/>
                  </a:lnTo>
                  <a:cubicBezTo>
                    <a:pt x="3132179" y="5660631"/>
                    <a:pt x="2842809" y="5551391"/>
                    <a:pt x="2629569" y="5344193"/>
                  </a:cubicBezTo>
                  <a:cubicBezTo>
                    <a:pt x="2412356" y="5133135"/>
                    <a:pt x="2296967" y="4842643"/>
                    <a:pt x="2315372" y="4553207"/>
                  </a:cubicBezTo>
                  <a:close/>
                  <a:moveTo>
                    <a:pt x="1314524" y="4639948"/>
                  </a:moveTo>
                  <a:lnTo>
                    <a:pt x="1800223" y="4700010"/>
                  </a:lnTo>
                  <a:cubicBezTo>
                    <a:pt x="1784276" y="5089524"/>
                    <a:pt x="1947192" y="5480804"/>
                    <a:pt x="2244663" y="5767434"/>
                  </a:cubicBezTo>
                  <a:cubicBezTo>
                    <a:pt x="2534761" y="6046959"/>
                    <a:pt x="2923822" y="6198966"/>
                    <a:pt x="3310767" y="6183961"/>
                  </a:cubicBezTo>
                  <a:lnTo>
                    <a:pt x="3372729" y="6669578"/>
                  </a:lnTo>
                  <a:cubicBezTo>
                    <a:pt x="2836237" y="6703081"/>
                    <a:pt x="2297141" y="6499566"/>
                    <a:pt x="1899876" y="6113557"/>
                  </a:cubicBezTo>
                  <a:cubicBezTo>
                    <a:pt x="1495207" y="5720353"/>
                    <a:pt x="1280237" y="5179167"/>
                    <a:pt x="1314524" y="4639948"/>
                  </a:cubicBezTo>
                  <a:close/>
                  <a:moveTo>
                    <a:pt x="4245423" y="3138341"/>
                  </a:moveTo>
                  <a:cubicBezTo>
                    <a:pt x="4678825" y="3041496"/>
                    <a:pt x="5108673" y="3314331"/>
                    <a:pt x="5205517" y="3747734"/>
                  </a:cubicBezTo>
                  <a:cubicBezTo>
                    <a:pt x="5302360" y="4181136"/>
                    <a:pt x="5029526" y="4610985"/>
                    <a:pt x="4596124" y="4707827"/>
                  </a:cubicBezTo>
                  <a:cubicBezTo>
                    <a:pt x="4162721" y="4804671"/>
                    <a:pt x="3732873" y="4531836"/>
                    <a:pt x="3636029" y="4098434"/>
                  </a:cubicBezTo>
                  <a:cubicBezTo>
                    <a:pt x="3539186" y="3665032"/>
                    <a:pt x="3812021" y="3235183"/>
                    <a:pt x="4245423" y="3138341"/>
                  </a:cubicBezTo>
                  <a:close/>
                  <a:moveTo>
                    <a:pt x="4646799" y="2381722"/>
                  </a:moveTo>
                  <a:cubicBezTo>
                    <a:pt x="4933740" y="2339564"/>
                    <a:pt x="5232740" y="2430660"/>
                    <a:pt x="5460957" y="2629771"/>
                  </a:cubicBezTo>
                  <a:cubicBezTo>
                    <a:pt x="5684997" y="2825239"/>
                    <a:pt x="5817677" y="3104639"/>
                    <a:pt x="5823449" y="3393113"/>
                  </a:cubicBezTo>
                  <a:lnTo>
                    <a:pt x="5560931" y="3381413"/>
                  </a:lnTo>
                  <a:cubicBezTo>
                    <a:pt x="5551868" y="3173757"/>
                    <a:pt x="5453371" y="2972341"/>
                    <a:pt x="5291025" y="2829500"/>
                  </a:cubicBezTo>
                  <a:cubicBezTo>
                    <a:pt x="5124555" y="2683029"/>
                    <a:pt x="4908046" y="2613158"/>
                    <a:pt x="4700380" y="2638892"/>
                  </a:cubicBezTo>
                  <a:close/>
                  <a:moveTo>
                    <a:pt x="4650897" y="1377131"/>
                  </a:moveTo>
                  <a:cubicBezTo>
                    <a:pt x="5185468" y="1298593"/>
                    <a:pt x="5742506" y="1468305"/>
                    <a:pt x="6167673" y="1839250"/>
                  </a:cubicBezTo>
                  <a:cubicBezTo>
                    <a:pt x="6585061" y="2203406"/>
                    <a:pt x="6832243" y="2723929"/>
                    <a:pt x="6842996" y="3261358"/>
                  </a:cubicBezTo>
                  <a:lnTo>
                    <a:pt x="6353927" y="3239563"/>
                  </a:lnTo>
                  <a:cubicBezTo>
                    <a:pt x="6337043" y="2852696"/>
                    <a:pt x="6153539" y="2477460"/>
                    <a:pt x="5851092" y="2211346"/>
                  </a:cubicBezTo>
                  <a:cubicBezTo>
                    <a:pt x="5540958" y="1938467"/>
                    <a:pt x="5137601" y="1808299"/>
                    <a:pt x="4750719" y="1856241"/>
                  </a:cubicBezTo>
                  <a:close/>
                  <a:moveTo>
                    <a:pt x="5091943" y="26803"/>
                  </a:moveTo>
                  <a:cubicBezTo>
                    <a:pt x="5853010" y="-85015"/>
                    <a:pt x="6646064" y="156605"/>
                    <a:pt x="7251373" y="684716"/>
                  </a:cubicBezTo>
                  <a:cubicBezTo>
                    <a:pt x="7845607" y="1203164"/>
                    <a:pt x="8197519" y="1944231"/>
                    <a:pt x="8212826" y="2709368"/>
                  </a:cubicBezTo>
                  <a:lnTo>
                    <a:pt x="7516540" y="2678338"/>
                  </a:lnTo>
                  <a:cubicBezTo>
                    <a:pt x="7492502" y="2127556"/>
                    <a:pt x="7231249" y="1593336"/>
                    <a:pt x="6800657" y="1214470"/>
                  </a:cubicBezTo>
                  <a:cubicBezTo>
                    <a:pt x="6359121" y="825975"/>
                    <a:pt x="5784862" y="640655"/>
                    <a:pt x="5234059" y="708911"/>
                  </a:cubicBezTo>
                  <a:close/>
                </a:path>
              </a:pathLst>
            </a:custGeom>
            <a:solidFill>
              <a:schemeClr val="tx1"/>
            </a:solidFill>
            <a:ln w="10795"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224">
                <a:defRPr/>
              </a:pPr>
              <a:endParaRPr lang="en-US" kern="0" dirty="0" err="1">
                <a:solidFill>
                  <a:srgbClr val="FFFFFF"/>
                </a:solidFill>
                <a:latin typeface="Segoe UI"/>
              </a:endParaRPr>
            </a:p>
          </p:txBody>
        </p:sp>
        <p:sp>
          <p:nvSpPr>
            <p:cNvPr id="112" name="Freeform 111"/>
            <p:cNvSpPr/>
            <p:nvPr/>
          </p:nvSpPr>
          <p:spPr>
            <a:xfrm>
              <a:off x="5476024" y="5391092"/>
              <a:ext cx="656131" cy="705763"/>
            </a:xfrm>
            <a:custGeom>
              <a:avLst/>
              <a:gdLst>
                <a:gd name="connsiteX0" fmla="*/ 0 w 4660485"/>
                <a:gd name="connsiteY0" fmla="*/ 3266770 h 5013020"/>
                <a:gd name="connsiteX1" fmla="*/ 476250 w 4660485"/>
                <a:gd name="connsiteY1" fmla="*/ 3266770 h 5013020"/>
                <a:gd name="connsiteX2" fmla="*/ 2256338 w 4660485"/>
                <a:gd name="connsiteY2" fmla="*/ 4426045 h 5013020"/>
                <a:gd name="connsiteX3" fmla="*/ 2256338 w 4660485"/>
                <a:gd name="connsiteY3" fmla="*/ 3653517 h 5013020"/>
                <a:gd name="connsiteX4" fmla="*/ 2567255 w 4660485"/>
                <a:gd name="connsiteY4" fmla="*/ 3653517 h 5013020"/>
                <a:gd name="connsiteX5" fmla="*/ 2576512 w 4660485"/>
                <a:gd name="connsiteY5" fmla="*/ 3653517 h 5013020"/>
                <a:gd name="connsiteX6" fmla="*/ 4558712 w 4660485"/>
                <a:gd name="connsiteY6" fmla="*/ 3653517 h 5013020"/>
                <a:gd name="connsiteX7" fmla="*/ 4648578 w 4660485"/>
                <a:gd name="connsiteY7" fmla="*/ 3743383 h 5013020"/>
                <a:gd name="connsiteX8" fmla="*/ 4648578 w 4660485"/>
                <a:gd name="connsiteY8" fmla="*/ 3845662 h 5013020"/>
                <a:gd name="connsiteX9" fmla="*/ 4558712 w 4660485"/>
                <a:gd name="connsiteY9" fmla="*/ 3935528 h 5013020"/>
                <a:gd name="connsiteX10" fmla="*/ 2576512 w 4660485"/>
                <a:gd name="connsiteY10" fmla="*/ 3935528 h 5013020"/>
                <a:gd name="connsiteX11" fmla="*/ 2576512 w 4660485"/>
                <a:gd name="connsiteY11" fmla="*/ 4567917 h 5013020"/>
                <a:gd name="connsiteX12" fmla="*/ 2571750 w 4660485"/>
                <a:gd name="connsiteY12" fmla="*/ 5013020 h 5013020"/>
                <a:gd name="connsiteX13" fmla="*/ 0 w 4660485"/>
                <a:gd name="connsiteY13" fmla="*/ 3266770 h 5013020"/>
                <a:gd name="connsiteX14" fmla="*/ 2267661 w 4660485"/>
                <a:gd name="connsiteY14" fmla="*/ 0 h 5013020"/>
                <a:gd name="connsiteX15" fmla="*/ 4660485 w 4660485"/>
                <a:gd name="connsiteY15" fmla="*/ 1662414 h 5013020"/>
                <a:gd name="connsiteX16" fmla="*/ 2267661 w 4660485"/>
                <a:gd name="connsiteY16" fmla="*/ 3324828 h 5013020"/>
                <a:gd name="connsiteX17" fmla="*/ 2256339 w 4660485"/>
                <a:gd name="connsiteY17" fmla="*/ 1765080 h 5013020"/>
                <a:gd name="connsiteX18" fmla="*/ 1483061 w 4660485"/>
                <a:gd name="connsiteY18" fmla="*/ 2281984 h 5013020"/>
                <a:gd name="connsiteX19" fmla="*/ 29964 w 4660485"/>
                <a:gd name="connsiteY19" fmla="*/ 2281984 h 5013020"/>
                <a:gd name="connsiteX20" fmla="*/ 29964 w 4660485"/>
                <a:gd name="connsiteY20" fmla="*/ 1042845 h 5013020"/>
                <a:gd name="connsiteX21" fmla="*/ 2267661 w 4660485"/>
                <a:gd name="connsiteY21" fmla="*/ 1042845 h 5013020"/>
                <a:gd name="connsiteX22" fmla="*/ 2267661 w 4660485"/>
                <a:gd name="connsiteY22" fmla="*/ 0 h 5013020"/>
                <a:gd name="connsiteX0" fmla="*/ 0 w 4660485"/>
                <a:gd name="connsiteY0" fmla="*/ 3266770 h 5013020"/>
                <a:gd name="connsiteX1" fmla="*/ 476250 w 4660485"/>
                <a:gd name="connsiteY1" fmla="*/ 3266770 h 5013020"/>
                <a:gd name="connsiteX2" fmla="*/ 2256338 w 4660485"/>
                <a:gd name="connsiteY2" fmla="*/ 4426045 h 5013020"/>
                <a:gd name="connsiteX3" fmla="*/ 2256338 w 4660485"/>
                <a:gd name="connsiteY3" fmla="*/ 3653517 h 5013020"/>
                <a:gd name="connsiteX4" fmla="*/ 2567255 w 4660485"/>
                <a:gd name="connsiteY4" fmla="*/ 3653517 h 5013020"/>
                <a:gd name="connsiteX5" fmla="*/ 2576512 w 4660485"/>
                <a:gd name="connsiteY5" fmla="*/ 3653517 h 5013020"/>
                <a:gd name="connsiteX6" fmla="*/ 4558712 w 4660485"/>
                <a:gd name="connsiteY6" fmla="*/ 3653517 h 5013020"/>
                <a:gd name="connsiteX7" fmla="*/ 4648578 w 4660485"/>
                <a:gd name="connsiteY7" fmla="*/ 3743383 h 5013020"/>
                <a:gd name="connsiteX8" fmla="*/ 4648578 w 4660485"/>
                <a:gd name="connsiteY8" fmla="*/ 3845662 h 5013020"/>
                <a:gd name="connsiteX9" fmla="*/ 4558712 w 4660485"/>
                <a:gd name="connsiteY9" fmla="*/ 3935528 h 5013020"/>
                <a:gd name="connsiteX10" fmla="*/ 2576512 w 4660485"/>
                <a:gd name="connsiteY10" fmla="*/ 3935528 h 5013020"/>
                <a:gd name="connsiteX11" fmla="*/ 2571750 w 4660485"/>
                <a:gd name="connsiteY11" fmla="*/ 5013020 h 5013020"/>
                <a:gd name="connsiteX12" fmla="*/ 0 w 4660485"/>
                <a:gd name="connsiteY12" fmla="*/ 3266770 h 5013020"/>
                <a:gd name="connsiteX13" fmla="*/ 2267661 w 4660485"/>
                <a:gd name="connsiteY13" fmla="*/ 0 h 5013020"/>
                <a:gd name="connsiteX14" fmla="*/ 4660485 w 4660485"/>
                <a:gd name="connsiteY14" fmla="*/ 1662414 h 5013020"/>
                <a:gd name="connsiteX15" fmla="*/ 2267661 w 4660485"/>
                <a:gd name="connsiteY15" fmla="*/ 3324828 h 5013020"/>
                <a:gd name="connsiteX16" fmla="*/ 2256339 w 4660485"/>
                <a:gd name="connsiteY16" fmla="*/ 1765080 h 5013020"/>
                <a:gd name="connsiteX17" fmla="*/ 1483061 w 4660485"/>
                <a:gd name="connsiteY17" fmla="*/ 2281984 h 5013020"/>
                <a:gd name="connsiteX18" fmla="*/ 29964 w 4660485"/>
                <a:gd name="connsiteY18" fmla="*/ 2281984 h 5013020"/>
                <a:gd name="connsiteX19" fmla="*/ 29964 w 4660485"/>
                <a:gd name="connsiteY19" fmla="*/ 1042845 h 5013020"/>
                <a:gd name="connsiteX20" fmla="*/ 2267661 w 4660485"/>
                <a:gd name="connsiteY20" fmla="*/ 1042845 h 5013020"/>
                <a:gd name="connsiteX21" fmla="*/ 2267661 w 4660485"/>
                <a:gd name="connsiteY21" fmla="*/ 0 h 5013020"/>
                <a:gd name="connsiteX0" fmla="*/ 0 w 4660485"/>
                <a:gd name="connsiteY0" fmla="*/ 3266770 h 5013020"/>
                <a:gd name="connsiteX1" fmla="*/ 476250 w 4660485"/>
                <a:gd name="connsiteY1" fmla="*/ 3266770 h 5013020"/>
                <a:gd name="connsiteX2" fmla="*/ 2256338 w 4660485"/>
                <a:gd name="connsiteY2" fmla="*/ 4426045 h 5013020"/>
                <a:gd name="connsiteX3" fmla="*/ 2256338 w 4660485"/>
                <a:gd name="connsiteY3" fmla="*/ 3653517 h 5013020"/>
                <a:gd name="connsiteX4" fmla="*/ 2567255 w 4660485"/>
                <a:gd name="connsiteY4" fmla="*/ 3653517 h 5013020"/>
                <a:gd name="connsiteX5" fmla="*/ 4558712 w 4660485"/>
                <a:gd name="connsiteY5" fmla="*/ 3653517 h 5013020"/>
                <a:gd name="connsiteX6" fmla="*/ 4648578 w 4660485"/>
                <a:gd name="connsiteY6" fmla="*/ 3743383 h 5013020"/>
                <a:gd name="connsiteX7" fmla="*/ 4648578 w 4660485"/>
                <a:gd name="connsiteY7" fmla="*/ 3845662 h 5013020"/>
                <a:gd name="connsiteX8" fmla="*/ 4558712 w 4660485"/>
                <a:gd name="connsiteY8" fmla="*/ 3935528 h 5013020"/>
                <a:gd name="connsiteX9" fmla="*/ 2576512 w 4660485"/>
                <a:gd name="connsiteY9" fmla="*/ 3935528 h 5013020"/>
                <a:gd name="connsiteX10" fmla="*/ 2571750 w 4660485"/>
                <a:gd name="connsiteY10" fmla="*/ 5013020 h 5013020"/>
                <a:gd name="connsiteX11" fmla="*/ 0 w 4660485"/>
                <a:gd name="connsiteY11" fmla="*/ 3266770 h 5013020"/>
                <a:gd name="connsiteX12" fmla="*/ 2267661 w 4660485"/>
                <a:gd name="connsiteY12" fmla="*/ 0 h 5013020"/>
                <a:gd name="connsiteX13" fmla="*/ 4660485 w 4660485"/>
                <a:gd name="connsiteY13" fmla="*/ 1662414 h 5013020"/>
                <a:gd name="connsiteX14" fmla="*/ 2267661 w 4660485"/>
                <a:gd name="connsiteY14" fmla="*/ 3324828 h 5013020"/>
                <a:gd name="connsiteX15" fmla="*/ 2256339 w 4660485"/>
                <a:gd name="connsiteY15" fmla="*/ 1765080 h 5013020"/>
                <a:gd name="connsiteX16" fmla="*/ 1483061 w 4660485"/>
                <a:gd name="connsiteY16" fmla="*/ 2281984 h 5013020"/>
                <a:gd name="connsiteX17" fmla="*/ 29964 w 4660485"/>
                <a:gd name="connsiteY17" fmla="*/ 2281984 h 5013020"/>
                <a:gd name="connsiteX18" fmla="*/ 29964 w 4660485"/>
                <a:gd name="connsiteY18" fmla="*/ 1042845 h 5013020"/>
                <a:gd name="connsiteX19" fmla="*/ 2267661 w 4660485"/>
                <a:gd name="connsiteY19" fmla="*/ 1042845 h 5013020"/>
                <a:gd name="connsiteX20" fmla="*/ 2267661 w 4660485"/>
                <a:gd name="connsiteY20" fmla="*/ 0 h 5013020"/>
                <a:gd name="connsiteX0" fmla="*/ 0 w 4660485"/>
                <a:gd name="connsiteY0" fmla="*/ 3266770 h 5013020"/>
                <a:gd name="connsiteX1" fmla="*/ 476250 w 4660485"/>
                <a:gd name="connsiteY1" fmla="*/ 3266770 h 5013020"/>
                <a:gd name="connsiteX2" fmla="*/ 2256338 w 4660485"/>
                <a:gd name="connsiteY2" fmla="*/ 4426045 h 5013020"/>
                <a:gd name="connsiteX3" fmla="*/ 2256338 w 4660485"/>
                <a:gd name="connsiteY3" fmla="*/ 3653517 h 5013020"/>
                <a:gd name="connsiteX4" fmla="*/ 4558712 w 4660485"/>
                <a:gd name="connsiteY4" fmla="*/ 3653517 h 5013020"/>
                <a:gd name="connsiteX5" fmla="*/ 4648578 w 4660485"/>
                <a:gd name="connsiteY5" fmla="*/ 3743383 h 5013020"/>
                <a:gd name="connsiteX6" fmla="*/ 4648578 w 4660485"/>
                <a:gd name="connsiteY6" fmla="*/ 3845662 h 5013020"/>
                <a:gd name="connsiteX7" fmla="*/ 4558712 w 4660485"/>
                <a:gd name="connsiteY7" fmla="*/ 3935528 h 5013020"/>
                <a:gd name="connsiteX8" fmla="*/ 2576512 w 4660485"/>
                <a:gd name="connsiteY8" fmla="*/ 3935528 h 5013020"/>
                <a:gd name="connsiteX9" fmla="*/ 2571750 w 4660485"/>
                <a:gd name="connsiteY9" fmla="*/ 5013020 h 5013020"/>
                <a:gd name="connsiteX10" fmla="*/ 0 w 4660485"/>
                <a:gd name="connsiteY10" fmla="*/ 3266770 h 5013020"/>
                <a:gd name="connsiteX11" fmla="*/ 2267661 w 4660485"/>
                <a:gd name="connsiteY11" fmla="*/ 0 h 5013020"/>
                <a:gd name="connsiteX12" fmla="*/ 4660485 w 4660485"/>
                <a:gd name="connsiteY12" fmla="*/ 1662414 h 5013020"/>
                <a:gd name="connsiteX13" fmla="*/ 2267661 w 4660485"/>
                <a:gd name="connsiteY13" fmla="*/ 3324828 h 5013020"/>
                <a:gd name="connsiteX14" fmla="*/ 2256339 w 4660485"/>
                <a:gd name="connsiteY14" fmla="*/ 1765080 h 5013020"/>
                <a:gd name="connsiteX15" fmla="*/ 1483061 w 4660485"/>
                <a:gd name="connsiteY15" fmla="*/ 2281984 h 5013020"/>
                <a:gd name="connsiteX16" fmla="*/ 29964 w 4660485"/>
                <a:gd name="connsiteY16" fmla="*/ 2281984 h 5013020"/>
                <a:gd name="connsiteX17" fmla="*/ 29964 w 4660485"/>
                <a:gd name="connsiteY17" fmla="*/ 1042845 h 5013020"/>
                <a:gd name="connsiteX18" fmla="*/ 2267661 w 4660485"/>
                <a:gd name="connsiteY18" fmla="*/ 1042845 h 5013020"/>
                <a:gd name="connsiteX19" fmla="*/ 2267661 w 4660485"/>
                <a:gd name="connsiteY19" fmla="*/ 0 h 5013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60485" h="5013020">
                  <a:moveTo>
                    <a:pt x="0" y="3266770"/>
                  </a:moveTo>
                  <a:lnTo>
                    <a:pt x="476250" y="3266770"/>
                  </a:lnTo>
                  <a:lnTo>
                    <a:pt x="2256338" y="4426045"/>
                  </a:lnTo>
                  <a:lnTo>
                    <a:pt x="2256338" y="3653517"/>
                  </a:lnTo>
                  <a:lnTo>
                    <a:pt x="4558712" y="3653517"/>
                  </a:lnTo>
                  <a:cubicBezTo>
                    <a:pt x="4608344" y="3653517"/>
                    <a:pt x="4648578" y="3693751"/>
                    <a:pt x="4648578" y="3743383"/>
                  </a:cubicBezTo>
                  <a:lnTo>
                    <a:pt x="4648578" y="3845662"/>
                  </a:lnTo>
                  <a:cubicBezTo>
                    <a:pt x="4648578" y="3895294"/>
                    <a:pt x="4608344" y="3935528"/>
                    <a:pt x="4558712" y="3935528"/>
                  </a:cubicBezTo>
                  <a:lnTo>
                    <a:pt x="2576512" y="3935528"/>
                  </a:lnTo>
                  <a:cubicBezTo>
                    <a:pt x="2574925" y="4294692"/>
                    <a:pt x="2573337" y="4653856"/>
                    <a:pt x="2571750" y="5013020"/>
                  </a:cubicBezTo>
                  <a:lnTo>
                    <a:pt x="0" y="3266770"/>
                  </a:lnTo>
                  <a:close/>
                  <a:moveTo>
                    <a:pt x="2267661" y="0"/>
                  </a:moveTo>
                  <a:lnTo>
                    <a:pt x="4660485" y="1662414"/>
                  </a:lnTo>
                  <a:lnTo>
                    <a:pt x="2267661" y="3324828"/>
                  </a:lnTo>
                  <a:lnTo>
                    <a:pt x="2256339" y="1765080"/>
                  </a:lnTo>
                  <a:lnTo>
                    <a:pt x="1483061" y="2281984"/>
                  </a:lnTo>
                  <a:lnTo>
                    <a:pt x="29964" y="2281984"/>
                  </a:lnTo>
                  <a:lnTo>
                    <a:pt x="29964" y="1042845"/>
                  </a:lnTo>
                  <a:lnTo>
                    <a:pt x="2267661" y="1042845"/>
                  </a:lnTo>
                  <a:lnTo>
                    <a:pt x="2267661" y="0"/>
                  </a:lnTo>
                  <a:close/>
                </a:path>
              </a:pathLst>
            </a:custGeom>
            <a:solidFill>
              <a:schemeClr val="tx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91427" rIns="91427" bIns="91427" numCol="1" spcCol="0" rtlCol="0" fromWordArt="0" anchor="b" anchorCtr="0" forceAA="0" compatLnSpc="1">
              <a:prstTxWarp prst="textNoShape">
                <a:avLst/>
              </a:prstTxWarp>
              <a:noAutofit/>
            </a:bodyPr>
            <a:lstStyle/>
            <a:p>
              <a:pPr algn="r"/>
              <a:endParaRPr lang="en-US" sz="1199" dirty="0" err="1"/>
            </a:p>
          </p:txBody>
        </p:sp>
        <p:grpSp>
          <p:nvGrpSpPr>
            <p:cNvPr id="131" name="Group 130"/>
            <p:cNvGrpSpPr>
              <a:grpSpLocks noChangeAspect="1"/>
            </p:cNvGrpSpPr>
            <p:nvPr/>
          </p:nvGrpSpPr>
          <p:grpSpPr bwMode="black">
            <a:xfrm>
              <a:off x="5441337" y="4413632"/>
              <a:ext cx="636263" cy="428087"/>
              <a:chOff x="1868488" y="569913"/>
              <a:chExt cx="8445501" cy="5700712"/>
            </a:xfrm>
          </p:grpSpPr>
          <p:sp>
            <p:nvSpPr>
              <p:cNvPr id="132" name="Freeform 131"/>
              <p:cNvSpPr>
                <a:spLocks noEditPoints="1"/>
              </p:cNvSpPr>
              <p:nvPr/>
            </p:nvSpPr>
            <p:spPr bwMode="black">
              <a:xfrm>
                <a:off x="1868488" y="569913"/>
                <a:ext cx="8445501" cy="5700712"/>
              </a:xfrm>
              <a:custGeom>
                <a:avLst/>
                <a:gdLst>
                  <a:gd name="T0" fmla="*/ 2163 w 2252"/>
                  <a:gd name="T1" fmla="*/ 31 h 1520"/>
                  <a:gd name="T2" fmla="*/ 390 w 2252"/>
                  <a:gd name="T3" fmla="*/ 31 h 1520"/>
                  <a:gd name="T4" fmla="*/ 90 w 2252"/>
                  <a:gd name="T5" fmla="*/ 24 h 1520"/>
                  <a:gd name="T6" fmla="*/ 0 w 2252"/>
                  <a:gd name="T7" fmla="*/ 113 h 1520"/>
                  <a:gd name="T8" fmla="*/ 0 w 2252"/>
                  <a:gd name="T9" fmla="*/ 1418 h 1520"/>
                  <a:gd name="T10" fmla="*/ 90 w 2252"/>
                  <a:gd name="T11" fmla="*/ 1508 h 1520"/>
                  <a:gd name="T12" fmla="*/ 463 w 2252"/>
                  <a:gd name="T13" fmla="*/ 1478 h 1520"/>
                  <a:gd name="T14" fmla="*/ 2163 w 2252"/>
                  <a:gd name="T15" fmla="*/ 1478 h 1520"/>
                  <a:gd name="T16" fmla="*/ 2252 w 2252"/>
                  <a:gd name="T17" fmla="*/ 1388 h 1520"/>
                  <a:gd name="T18" fmla="*/ 2252 w 2252"/>
                  <a:gd name="T19" fmla="*/ 121 h 1520"/>
                  <a:gd name="T20" fmla="*/ 2163 w 2252"/>
                  <a:gd name="T21" fmla="*/ 31 h 1520"/>
                  <a:gd name="T22" fmla="*/ 1635 w 2252"/>
                  <a:gd name="T23" fmla="*/ 1391 h 1520"/>
                  <a:gd name="T24" fmla="*/ 546 w 2252"/>
                  <a:gd name="T25" fmla="*/ 1391 h 1520"/>
                  <a:gd name="T26" fmla="*/ 512 w 2252"/>
                  <a:gd name="T27" fmla="*/ 1354 h 1520"/>
                  <a:gd name="T28" fmla="*/ 546 w 2252"/>
                  <a:gd name="T29" fmla="*/ 1316 h 1520"/>
                  <a:gd name="T30" fmla="*/ 1635 w 2252"/>
                  <a:gd name="T31" fmla="*/ 1316 h 1520"/>
                  <a:gd name="T32" fmla="*/ 1668 w 2252"/>
                  <a:gd name="T33" fmla="*/ 1354 h 1520"/>
                  <a:gd name="T34" fmla="*/ 1635 w 2252"/>
                  <a:gd name="T35" fmla="*/ 1391 h 1520"/>
                  <a:gd name="T36" fmla="*/ 1305 w 2252"/>
                  <a:gd name="T37" fmla="*/ 1195 h 1520"/>
                  <a:gd name="T38" fmla="*/ 877 w 2252"/>
                  <a:gd name="T39" fmla="*/ 766 h 1520"/>
                  <a:gd name="T40" fmla="*/ 1305 w 2252"/>
                  <a:gd name="T41" fmla="*/ 337 h 1520"/>
                  <a:gd name="T42" fmla="*/ 1734 w 2252"/>
                  <a:gd name="T43" fmla="*/ 766 h 1520"/>
                  <a:gd name="T44" fmla="*/ 1305 w 2252"/>
                  <a:gd name="T45" fmla="*/ 1195 h 1520"/>
                  <a:gd name="T46" fmla="*/ 1966 w 2252"/>
                  <a:gd name="T47" fmla="*/ 325 h 1520"/>
                  <a:gd name="T48" fmla="*/ 1810 w 2252"/>
                  <a:gd name="T49" fmla="*/ 325 h 1520"/>
                  <a:gd name="T50" fmla="*/ 1720 w 2252"/>
                  <a:gd name="T51" fmla="*/ 235 h 1520"/>
                  <a:gd name="T52" fmla="*/ 1810 w 2252"/>
                  <a:gd name="T53" fmla="*/ 146 h 1520"/>
                  <a:gd name="T54" fmla="*/ 1966 w 2252"/>
                  <a:gd name="T55" fmla="*/ 146 h 1520"/>
                  <a:gd name="T56" fmla="*/ 2056 w 2252"/>
                  <a:gd name="T57" fmla="*/ 235 h 1520"/>
                  <a:gd name="T58" fmla="*/ 1966 w 2252"/>
                  <a:gd name="T59" fmla="*/ 325 h 1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52" h="1520">
                    <a:moveTo>
                      <a:pt x="2163" y="31"/>
                    </a:moveTo>
                    <a:cubicBezTo>
                      <a:pt x="390" y="31"/>
                      <a:pt x="390" y="31"/>
                      <a:pt x="390" y="31"/>
                    </a:cubicBezTo>
                    <a:cubicBezTo>
                      <a:pt x="247" y="0"/>
                      <a:pt x="126" y="24"/>
                      <a:pt x="90" y="24"/>
                    </a:cubicBezTo>
                    <a:cubicBezTo>
                      <a:pt x="40" y="24"/>
                      <a:pt x="0" y="64"/>
                      <a:pt x="0" y="113"/>
                    </a:cubicBezTo>
                    <a:cubicBezTo>
                      <a:pt x="0" y="1418"/>
                      <a:pt x="0" y="1418"/>
                      <a:pt x="0" y="1418"/>
                    </a:cubicBezTo>
                    <a:cubicBezTo>
                      <a:pt x="0" y="1468"/>
                      <a:pt x="40" y="1508"/>
                      <a:pt x="90" y="1508"/>
                    </a:cubicBezTo>
                    <a:cubicBezTo>
                      <a:pt x="134" y="1508"/>
                      <a:pt x="382" y="1520"/>
                      <a:pt x="463" y="1478"/>
                    </a:cubicBezTo>
                    <a:cubicBezTo>
                      <a:pt x="2163" y="1478"/>
                      <a:pt x="2163" y="1478"/>
                      <a:pt x="2163" y="1478"/>
                    </a:cubicBezTo>
                    <a:cubicBezTo>
                      <a:pt x="2212" y="1478"/>
                      <a:pt x="2252" y="1438"/>
                      <a:pt x="2252" y="1388"/>
                    </a:cubicBezTo>
                    <a:cubicBezTo>
                      <a:pt x="2252" y="121"/>
                      <a:pt x="2252" y="121"/>
                      <a:pt x="2252" y="121"/>
                    </a:cubicBezTo>
                    <a:cubicBezTo>
                      <a:pt x="2252" y="71"/>
                      <a:pt x="2212" y="31"/>
                      <a:pt x="2163" y="31"/>
                    </a:cubicBezTo>
                    <a:close/>
                    <a:moveTo>
                      <a:pt x="1635" y="1391"/>
                    </a:moveTo>
                    <a:cubicBezTo>
                      <a:pt x="546" y="1391"/>
                      <a:pt x="546" y="1391"/>
                      <a:pt x="546" y="1391"/>
                    </a:cubicBezTo>
                    <a:cubicBezTo>
                      <a:pt x="527" y="1391"/>
                      <a:pt x="512" y="1374"/>
                      <a:pt x="512" y="1354"/>
                    </a:cubicBezTo>
                    <a:cubicBezTo>
                      <a:pt x="512" y="1333"/>
                      <a:pt x="527" y="1316"/>
                      <a:pt x="546" y="1316"/>
                    </a:cubicBezTo>
                    <a:cubicBezTo>
                      <a:pt x="1635" y="1316"/>
                      <a:pt x="1635" y="1316"/>
                      <a:pt x="1635" y="1316"/>
                    </a:cubicBezTo>
                    <a:cubicBezTo>
                      <a:pt x="1653" y="1316"/>
                      <a:pt x="1668" y="1333"/>
                      <a:pt x="1668" y="1354"/>
                    </a:cubicBezTo>
                    <a:cubicBezTo>
                      <a:pt x="1668" y="1374"/>
                      <a:pt x="1653" y="1391"/>
                      <a:pt x="1635" y="1391"/>
                    </a:cubicBezTo>
                    <a:close/>
                    <a:moveTo>
                      <a:pt x="1305" y="1195"/>
                    </a:moveTo>
                    <a:cubicBezTo>
                      <a:pt x="1068" y="1195"/>
                      <a:pt x="877" y="1003"/>
                      <a:pt x="877" y="766"/>
                    </a:cubicBezTo>
                    <a:cubicBezTo>
                      <a:pt x="877" y="529"/>
                      <a:pt x="1068" y="337"/>
                      <a:pt x="1305" y="337"/>
                    </a:cubicBezTo>
                    <a:cubicBezTo>
                      <a:pt x="1542" y="337"/>
                      <a:pt x="1734" y="529"/>
                      <a:pt x="1734" y="766"/>
                    </a:cubicBezTo>
                    <a:cubicBezTo>
                      <a:pt x="1734" y="1003"/>
                      <a:pt x="1542" y="1195"/>
                      <a:pt x="1305" y="1195"/>
                    </a:cubicBezTo>
                    <a:close/>
                    <a:moveTo>
                      <a:pt x="1966" y="325"/>
                    </a:moveTo>
                    <a:cubicBezTo>
                      <a:pt x="1810" y="325"/>
                      <a:pt x="1810" y="325"/>
                      <a:pt x="1810" y="325"/>
                    </a:cubicBezTo>
                    <a:cubicBezTo>
                      <a:pt x="1760" y="325"/>
                      <a:pt x="1720" y="285"/>
                      <a:pt x="1720" y="235"/>
                    </a:cubicBezTo>
                    <a:cubicBezTo>
                      <a:pt x="1720" y="186"/>
                      <a:pt x="1760" y="146"/>
                      <a:pt x="1810" y="146"/>
                    </a:cubicBezTo>
                    <a:cubicBezTo>
                      <a:pt x="1966" y="146"/>
                      <a:pt x="1966" y="146"/>
                      <a:pt x="1966" y="146"/>
                    </a:cubicBezTo>
                    <a:cubicBezTo>
                      <a:pt x="2016" y="146"/>
                      <a:pt x="2056" y="186"/>
                      <a:pt x="2056" y="235"/>
                    </a:cubicBezTo>
                    <a:cubicBezTo>
                      <a:pt x="2056" y="285"/>
                      <a:pt x="2016" y="325"/>
                      <a:pt x="1966" y="325"/>
                    </a:cubicBezTo>
                    <a:close/>
                  </a:path>
                </a:pathLst>
              </a:custGeom>
              <a:solidFill>
                <a:srgbClr val="FFFFFF"/>
              </a:solidFill>
              <a:ln w="25400" cap="flat" cmpd="sng" algn="ctr">
                <a:no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740597">
                  <a:defRPr/>
                </a:pPr>
                <a:endParaRPr lang="en-US" spc="-122">
                  <a:solidFill>
                    <a:prstClr val="black">
                      <a:lumMod val="50000"/>
                    </a:prstClr>
                  </a:solidFill>
                  <a:latin typeface="Segoe UI Light"/>
                  <a:sym typeface="Segoe UI Light"/>
                </a:endParaRPr>
              </a:p>
            </p:txBody>
          </p:sp>
          <p:sp>
            <p:nvSpPr>
              <p:cNvPr id="133" name="Freeform 132"/>
              <p:cNvSpPr>
                <a:spLocks noEditPoints="1"/>
              </p:cNvSpPr>
              <p:nvPr/>
            </p:nvSpPr>
            <p:spPr bwMode="black">
              <a:xfrm>
                <a:off x="5603878" y="2279646"/>
                <a:ext cx="2320929" cy="2320930"/>
              </a:xfrm>
              <a:custGeom>
                <a:avLst/>
                <a:gdLst>
                  <a:gd name="T0" fmla="*/ 309 w 619"/>
                  <a:gd name="T1" fmla="*/ 0 h 619"/>
                  <a:gd name="T2" fmla="*/ 0 w 619"/>
                  <a:gd name="T3" fmla="*/ 310 h 619"/>
                  <a:gd name="T4" fmla="*/ 309 w 619"/>
                  <a:gd name="T5" fmla="*/ 619 h 619"/>
                  <a:gd name="T6" fmla="*/ 619 w 619"/>
                  <a:gd name="T7" fmla="*/ 310 h 619"/>
                  <a:gd name="T8" fmla="*/ 309 w 619"/>
                  <a:gd name="T9" fmla="*/ 0 h 619"/>
                  <a:gd name="T10" fmla="*/ 313 w 619"/>
                  <a:gd name="T11" fmla="*/ 507 h 619"/>
                  <a:gd name="T12" fmla="*/ 112 w 619"/>
                  <a:gd name="T13" fmla="*/ 306 h 619"/>
                  <a:gd name="T14" fmla="*/ 313 w 619"/>
                  <a:gd name="T15" fmla="*/ 105 h 619"/>
                  <a:gd name="T16" fmla="*/ 514 w 619"/>
                  <a:gd name="T17" fmla="*/ 306 h 619"/>
                  <a:gd name="T18" fmla="*/ 313 w 619"/>
                  <a:gd name="T19"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9" h="619">
                    <a:moveTo>
                      <a:pt x="309" y="0"/>
                    </a:moveTo>
                    <a:cubicBezTo>
                      <a:pt x="138" y="0"/>
                      <a:pt x="0" y="139"/>
                      <a:pt x="0" y="310"/>
                    </a:cubicBezTo>
                    <a:cubicBezTo>
                      <a:pt x="0" y="481"/>
                      <a:pt x="138" y="619"/>
                      <a:pt x="309" y="619"/>
                    </a:cubicBezTo>
                    <a:cubicBezTo>
                      <a:pt x="480" y="619"/>
                      <a:pt x="619" y="481"/>
                      <a:pt x="619" y="310"/>
                    </a:cubicBezTo>
                    <a:cubicBezTo>
                      <a:pt x="619" y="139"/>
                      <a:pt x="480" y="0"/>
                      <a:pt x="309" y="0"/>
                    </a:cubicBezTo>
                    <a:close/>
                    <a:moveTo>
                      <a:pt x="313" y="507"/>
                    </a:moveTo>
                    <a:cubicBezTo>
                      <a:pt x="202" y="507"/>
                      <a:pt x="112" y="417"/>
                      <a:pt x="112" y="306"/>
                    </a:cubicBezTo>
                    <a:cubicBezTo>
                      <a:pt x="112" y="195"/>
                      <a:pt x="202" y="105"/>
                      <a:pt x="313" y="105"/>
                    </a:cubicBezTo>
                    <a:cubicBezTo>
                      <a:pt x="424" y="105"/>
                      <a:pt x="514" y="195"/>
                      <a:pt x="514" y="306"/>
                    </a:cubicBezTo>
                    <a:cubicBezTo>
                      <a:pt x="514" y="417"/>
                      <a:pt x="424" y="507"/>
                      <a:pt x="313" y="507"/>
                    </a:cubicBezTo>
                    <a:close/>
                  </a:path>
                </a:pathLst>
              </a:custGeom>
              <a:solidFill>
                <a:srgbClr val="FFFFFF"/>
              </a:solidFill>
              <a:ln w="25400" cap="flat" cmpd="sng" algn="ctr">
                <a:no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740597">
                  <a:defRPr/>
                </a:pPr>
                <a:endParaRPr lang="en-US" spc="-122">
                  <a:solidFill>
                    <a:prstClr val="black">
                      <a:lumMod val="50000"/>
                    </a:prstClr>
                  </a:solidFill>
                  <a:latin typeface="Segoe UI Light"/>
                  <a:sym typeface="Segoe UI Light"/>
                </a:endParaRPr>
              </a:p>
            </p:txBody>
          </p:sp>
        </p:grpSp>
        <p:sp>
          <p:nvSpPr>
            <p:cNvPr id="134" name="Donut 34"/>
            <p:cNvSpPr/>
            <p:nvPr/>
          </p:nvSpPr>
          <p:spPr bwMode="auto">
            <a:xfrm>
              <a:off x="9813388" y="4280762"/>
              <a:ext cx="558872" cy="558872"/>
            </a:xfrm>
            <a:custGeom>
              <a:avLst/>
              <a:gdLst/>
              <a:ahLst/>
              <a:cxnLst/>
              <a:rect l="l" t="t" r="r" b="b"/>
              <a:pathLst>
                <a:path w="1132060" h="1132060">
                  <a:moveTo>
                    <a:pt x="557268" y="884861"/>
                  </a:moveTo>
                  <a:lnTo>
                    <a:pt x="557268" y="1011716"/>
                  </a:lnTo>
                  <a:lnTo>
                    <a:pt x="574792" y="1011716"/>
                  </a:lnTo>
                  <a:lnTo>
                    <a:pt x="574792" y="884861"/>
                  </a:lnTo>
                  <a:close/>
                  <a:moveTo>
                    <a:pt x="868935" y="557269"/>
                  </a:moveTo>
                  <a:lnTo>
                    <a:pt x="868935" y="574794"/>
                  </a:lnTo>
                  <a:lnTo>
                    <a:pt x="995790" y="574794"/>
                  </a:lnTo>
                  <a:lnTo>
                    <a:pt x="995790" y="557269"/>
                  </a:lnTo>
                  <a:close/>
                  <a:moveTo>
                    <a:pt x="135481" y="557269"/>
                  </a:moveTo>
                  <a:lnTo>
                    <a:pt x="135481" y="574794"/>
                  </a:lnTo>
                  <a:lnTo>
                    <a:pt x="262337" y="574794"/>
                  </a:lnTo>
                  <a:lnTo>
                    <a:pt x="262337" y="557269"/>
                  </a:lnTo>
                  <a:close/>
                  <a:moveTo>
                    <a:pt x="934061" y="335432"/>
                  </a:moveTo>
                  <a:lnTo>
                    <a:pt x="873499" y="349407"/>
                  </a:lnTo>
                  <a:lnTo>
                    <a:pt x="567678" y="538532"/>
                  </a:lnTo>
                  <a:cubicBezTo>
                    <a:pt x="553709" y="530548"/>
                    <a:pt x="537161" y="531269"/>
                    <a:pt x="522773" y="538543"/>
                  </a:cubicBezTo>
                  <a:cubicBezTo>
                    <a:pt x="498813" y="556712"/>
                    <a:pt x="486834" y="593049"/>
                    <a:pt x="504803" y="617272"/>
                  </a:cubicBezTo>
                  <a:cubicBezTo>
                    <a:pt x="515818" y="632120"/>
                    <a:pt x="531332" y="640143"/>
                    <a:pt x="547196" y="638929"/>
                  </a:cubicBezTo>
                  <a:lnTo>
                    <a:pt x="705790" y="829237"/>
                  </a:lnTo>
                  <a:lnTo>
                    <a:pt x="757035" y="838554"/>
                  </a:lnTo>
                  <a:lnTo>
                    <a:pt x="747718" y="791969"/>
                  </a:lnTo>
                  <a:lnTo>
                    <a:pt x="595557" y="609380"/>
                  </a:lnTo>
                  <a:cubicBezTo>
                    <a:pt x="601681" y="600325"/>
                    <a:pt x="604237" y="589031"/>
                    <a:pt x="602687" y="578130"/>
                  </a:cubicBezTo>
                  <a:lnTo>
                    <a:pt x="896792" y="391335"/>
                  </a:lnTo>
                  <a:close/>
                  <a:moveTo>
                    <a:pt x="557268" y="140671"/>
                  </a:moveTo>
                  <a:lnTo>
                    <a:pt x="557268" y="267526"/>
                  </a:lnTo>
                  <a:lnTo>
                    <a:pt x="574792" y="267526"/>
                  </a:lnTo>
                  <a:lnTo>
                    <a:pt x="574792" y="140671"/>
                  </a:lnTo>
                  <a:close/>
                  <a:moveTo>
                    <a:pt x="566030" y="65237"/>
                  </a:moveTo>
                  <a:cubicBezTo>
                    <a:pt x="841327" y="65237"/>
                    <a:pt x="1064498" y="289450"/>
                    <a:pt x="1064498" y="566031"/>
                  </a:cubicBezTo>
                  <a:cubicBezTo>
                    <a:pt x="1064498" y="842612"/>
                    <a:pt x="841327" y="1066824"/>
                    <a:pt x="566030" y="1066824"/>
                  </a:cubicBezTo>
                  <a:cubicBezTo>
                    <a:pt x="290734" y="1066824"/>
                    <a:pt x="67562" y="842612"/>
                    <a:pt x="67562" y="566031"/>
                  </a:cubicBezTo>
                  <a:cubicBezTo>
                    <a:pt x="67562" y="289450"/>
                    <a:pt x="290734" y="65237"/>
                    <a:pt x="566030" y="65237"/>
                  </a:cubicBezTo>
                  <a:close/>
                  <a:moveTo>
                    <a:pt x="566030" y="39067"/>
                  </a:moveTo>
                  <a:cubicBezTo>
                    <a:pt x="274996" y="39067"/>
                    <a:pt x="39067" y="274996"/>
                    <a:pt x="39067" y="566030"/>
                  </a:cubicBezTo>
                  <a:cubicBezTo>
                    <a:pt x="39067" y="857064"/>
                    <a:pt x="274996" y="1092993"/>
                    <a:pt x="566030" y="1092993"/>
                  </a:cubicBezTo>
                  <a:cubicBezTo>
                    <a:pt x="857064" y="1092993"/>
                    <a:pt x="1092993" y="857064"/>
                    <a:pt x="1092993" y="566030"/>
                  </a:cubicBezTo>
                  <a:cubicBezTo>
                    <a:pt x="1092993" y="274996"/>
                    <a:pt x="857064" y="39067"/>
                    <a:pt x="566030" y="39067"/>
                  </a:cubicBezTo>
                  <a:close/>
                  <a:moveTo>
                    <a:pt x="566030" y="0"/>
                  </a:moveTo>
                  <a:cubicBezTo>
                    <a:pt x="878640" y="0"/>
                    <a:pt x="1132060" y="253420"/>
                    <a:pt x="1132060" y="566030"/>
                  </a:cubicBezTo>
                  <a:cubicBezTo>
                    <a:pt x="1132060" y="878640"/>
                    <a:pt x="878640" y="1132060"/>
                    <a:pt x="566030" y="1132060"/>
                  </a:cubicBezTo>
                  <a:cubicBezTo>
                    <a:pt x="253420" y="1132060"/>
                    <a:pt x="0" y="878640"/>
                    <a:pt x="0" y="566030"/>
                  </a:cubicBezTo>
                  <a:cubicBezTo>
                    <a:pt x="0" y="253420"/>
                    <a:pt x="253420" y="0"/>
                    <a:pt x="566030" y="0"/>
                  </a:cubicBez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35" name="Group 134"/>
            <p:cNvGrpSpPr/>
            <p:nvPr/>
          </p:nvGrpSpPr>
          <p:grpSpPr>
            <a:xfrm>
              <a:off x="6882032" y="4178590"/>
              <a:ext cx="667565" cy="667564"/>
              <a:chOff x="-4426857" y="3485372"/>
              <a:chExt cx="3483429" cy="3483427"/>
            </a:xfrm>
            <a:solidFill>
              <a:schemeClr val="tx1"/>
            </a:solidFill>
          </p:grpSpPr>
          <p:sp>
            <p:nvSpPr>
              <p:cNvPr id="136" name="Oval 51"/>
              <p:cNvSpPr/>
              <p:nvPr/>
            </p:nvSpPr>
            <p:spPr bwMode="auto">
              <a:xfrm>
                <a:off x="-4426857" y="3485372"/>
                <a:ext cx="3483429" cy="3483427"/>
              </a:xfrm>
              <a:custGeom>
                <a:avLst/>
                <a:gdLst/>
                <a:ahLst/>
                <a:cxnLst/>
                <a:rect l="l" t="t" r="r" b="b"/>
                <a:pathLst>
                  <a:path w="3483428" h="3483428">
                    <a:moveTo>
                      <a:pt x="1741714" y="149369"/>
                    </a:moveTo>
                    <a:cubicBezTo>
                      <a:pt x="862286" y="149369"/>
                      <a:pt x="149369" y="862286"/>
                      <a:pt x="149369" y="1741714"/>
                    </a:cubicBezTo>
                    <a:cubicBezTo>
                      <a:pt x="149369" y="2621142"/>
                      <a:pt x="862286" y="3334059"/>
                      <a:pt x="1741714" y="3334059"/>
                    </a:cubicBezTo>
                    <a:cubicBezTo>
                      <a:pt x="2621142" y="3334059"/>
                      <a:pt x="3334059" y="2621142"/>
                      <a:pt x="3334059" y="1741714"/>
                    </a:cubicBezTo>
                    <a:cubicBezTo>
                      <a:pt x="3334059" y="862286"/>
                      <a:pt x="2621142" y="149369"/>
                      <a:pt x="1741714" y="149369"/>
                    </a:cubicBezTo>
                    <a:close/>
                    <a:moveTo>
                      <a:pt x="1741714" y="0"/>
                    </a:moveTo>
                    <a:cubicBezTo>
                      <a:pt x="2703636" y="0"/>
                      <a:pt x="3483428" y="779792"/>
                      <a:pt x="3483428" y="1741714"/>
                    </a:cubicBezTo>
                    <a:cubicBezTo>
                      <a:pt x="3483428" y="2703636"/>
                      <a:pt x="2703636" y="3483428"/>
                      <a:pt x="1741714" y="3483428"/>
                    </a:cubicBezTo>
                    <a:cubicBezTo>
                      <a:pt x="779792" y="3483428"/>
                      <a:pt x="0" y="2703636"/>
                      <a:pt x="0" y="1741714"/>
                    </a:cubicBezTo>
                    <a:cubicBezTo>
                      <a:pt x="0" y="779792"/>
                      <a:pt x="779792" y="0"/>
                      <a:pt x="1741714" y="0"/>
                    </a:cubicBezTo>
                    <a:close/>
                  </a:path>
                </a:pathLst>
              </a:cu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37" name="Trapezoid 53"/>
              <p:cNvSpPr/>
              <p:nvPr/>
            </p:nvSpPr>
            <p:spPr bwMode="auto">
              <a:xfrm>
                <a:off x="-3832775" y="3794759"/>
                <a:ext cx="2295270" cy="2465920"/>
              </a:xfrm>
              <a:custGeom>
                <a:avLst/>
                <a:gdLst/>
                <a:ahLst/>
                <a:cxnLst/>
                <a:rect l="l" t="t" r="r" b="b"/>
                <a:pathLst>
                  <a:path w="2295271" h="2465922">
                    <a:moveTo>
                      <a:pt x="1071425" y="0"/>
                    </a:moveTo>
                    <a:lnTo>
                      <a:pt x="1145549" y="0"/>
                    </a:lnTo>
                    <a:lnTo>
                      <a:pt x="1149722" y="0"/>
                    </a:lnTo>
                    <a:lnTo>
                      <a:pt x="1223845" y="0"/>
                    </a:lnTo>
                    <a:lnTo>
                      <a:pt x="2295271" y="2337677"/>
                    </a:lnTo>
                    <a:cubicBezTo>
                      <a:pt x="2260874" y="2383104"/>
                      <a:pt x="2223006" y="2425696"/>
                      <a:pt x="2182768" y="2465921"/>
                    </a:cubicBezTo>
                    <a:lnTo>
                      <a:pt x="1213025" y="1"/>
                    </a:lnTo>
                    <a:lnTo>
                      <a:pt x="1149722" y="1"/>
                    </a:lnTo>
                    <a:lnTo>
                      <a:pt x="1165282" y="1517206"/>
                    </a:lnTo>
                    <a:lnTo>
                      <a:pt x="1147635" y="1515427"/>
                    </a:lnTo>
                    <a:cubicBezTo>
                      <a:pt x="1141723" y="1515427"/>
                      <a:pt x="1135828" y="1515500"/>
                      <a:pt x="1129989" y="1517206"/>
                    </a:cubicBezTo>
                    <a:lnTo>
                      <a:pt x="1145549" y="1"/>
                    </a:lnTo>
                    <a:lnTo>
                      <a:pt x="1082245" y="1"/>
                    </a:lnTo>
                    <a:lnTo>
                      <a:pt x="112503" y="2465922"/>
                    </a:lnTo>
                    <a:cubicBezTo>
                      <a:pt x="72265" y="2425697"/>
                      <a:pt x="34397" y="2383104"/>
                      <a:pt x="0" y="2337677"/>
                    </a:cubicBezTo>
                    <a:close/>
                  </a:path>
                </a:pathLst>
              </a:cu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38" name="Freeform 30"/>
              <p:cNvSpPr>
                <a:spLocks noEditPoints="1"/>
              </p:cNvSpPr>
              <p:nvPr/>
            </p:nvSpPr>
            <p:spPr bwMode="black">
              <a:xfrm>
                <a:off x="-3350987" y="5350311"/>
                <a:ext cx="1331688" cy="1331340"/>
              </a:xfrm>
              <a:custGeom>
                <a:avLst/>
                <a:gdLst>
                  <a:gd name="T0" fmla="*/ 0 w 300"/>
                  <a:gd name="T1" fmla="*/ 150 h 300"/>
                  <a:gd name="T2" fmla="*/ 300 w 300"/>
                  <a:gd name="T3" fmla="*/ 150 h 300"/>
                  <a:gd name="T4" fmla="*/ 217 w 300"/>
                  <a:gd name="T5" fmla="*/ 258 h 300"/>
                  <a:gd name="T6" fmla="*/ 207 w 300"/>
                  <a:gd name="T7" fmla="*/ 256 h 300"/>
                  <a:gd name="T8" fmla="*/ 154 w 300"/>
                  <a:gd name="T9" fmla="*/ 277 h 300"/>
                  <a:gd name="T10" fmla="*/ 146 w 300"/>
                  <a:gd name="T11" fmla="*/ 255 h 300"/>
                  <a:gd name="T12" fmla="*/ 89 w 300"/>
                  <a:gd name="T13" fmla="*/ 262 h 300"/>
                  <a:gd name="T14" fmla="*/ 87 w 300"/>
                  <a:gd name="T15" fmla="*/ 252 h 300"/>
                  <a:gd name="T16" fmla="*/ 41 w 300"/>
                  <a:gd name="T17" fmla="*/ 217 h 300"/>
                  <a:gd name="T18" fmla="*/ 44 w 300"/>
                  <a:gd name="T19" fmla="*/ 206 h 300"/>
                  <a:gd name="T20" fmla="*/ 22 w 300"/>
                  <a:gd name="T21" fmla="*/ 153 h 300"/>
                  <a:gd name="T22" fmla="*/ 51 w 300"/>
                  <a:gd name="T23" fmla="*/ 146 h 300"/>
                  <a:gd name="T24" fmla="*/ 38 w 300"/>
                  <a:gd name="T25" fmla="*/ 89 h 300"/>
                  <a:gd name="T26" fmla="*/ 48 w 300"/>
                  <a:gd name="T27" fmla="*/ 86 h 300"/>
                  <a:gd name="T28" fmla="*/ 83 w 300"/>
                  <a:gd name="T29" fmla="*/ 41 h 300"/>
                  <a:gd name="T30" fmla="*/ 93 w 300"/>
                  <a:gd name="T31" fmla="*/ 44 h 300"/>
                  <a:gd name="T32" fmla="*/ 146 w 300"/>
                  <a:gd name="T33" fmla="*/ 22 h 300"/>
                  <a:gd name="T34" fmla="*/ 154 w 300"/>
                  <a:gd name="T35" fmla="*/ 45 h 300"/>
                  <a:gd name="T36" fmla="*/ 210 w 300"/>
                  <a:gd name="T37" fmla="*/ 37 h 300"/>
                  <a:gd name="T38" fmla="*/ 213 w 300"/>
                  <a:gd name="T39" fmla="*/ 48 h 300"/>
                  <a:gd name="T40" fmla="*/ 258 w 300"/>
                  <a:gd name="T41" fmla="*/ 83 h 300"/>
                  <a:gd name="T42" fmla="*/ 256 w 300"/>
                  <a:gd name="T43" fmla="*/ 93 h 300"/>
                  <a:gd name="T44" fmla="*/ 277 w 300"/>
                  <a:gd name="T45" fmla="*/ 146 h 300"/>
                  <a:gd name="T46" fmla="*/ 255 w 300"/>
                  <a:gd name="T47" fmla="*/ 153 h 300"/>
                  <a:gd name="T48" fmla="*/ 262 w 300"/>
                  <a:gd name="T49" fmla="*/ 210 h 300"/>
                  <a:gd name="T50" fmla="*/ 252 w 300"/>
                  <a:gd name="T51" fmla="*/ 213 h 300"/>
                  <a:gd name="T52" fmla="*/ 217 w 300"/>
                  <a:gd name="T53" fmla="*/ 258 h 300"/>
                  <a:gd name="T54" fmla="*/ 141 w 300"/>
                  <a:gd name="T55" fmla="*/ 158 h 300"/>
                  <a:gd name="T56" fmla="*/ 158 w 300"/>
                  <a:gd name="T57" fmla="*/ 141 h 300"/>
                  <a:gd name="T58" fmla="*/ 211 w 300"/>
                  <a:gd name="T59" fmla="*/ 88 h 300"/>
                  <a:gd name="T60" fmla="*/ 125 w 300"/>
                  <a:gd name="T61" fmla="*/ 132 h 300"/>
                  <a:gd name="T62" fmla="*/ 168 w 300"/>
                  <a:gd name="T63" fmla="*/ 174 h 300"/>
                  <a:gd name="T64" fmla="*/ 211 w 300"/>
                  <a:gd name="T65" fmla="*/ 88 h 300"/>
                  <a:gd name="T66" fmla="*/ 135 w 300"/>
                  <a:gd name="T67" fmla="*/ 135 h 300"/>
                  <a:gd name="T68" fmla="*/ 165 w 300"/>
                  <a:gd name="T69" fmla="*/ 16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50" y="0"/>
                    </a:moveTo>
                    <a:cubicBezTo>
                      <a:pt x="67" y="0"/>
                      <a:pt x="0" y="67"/>
                      <a:pt x="0" y="150"/>
                    </a:cubicBezTo>
                    <a:cubicBezTo>
                      <a:pt x="0" y="233"/>
                      <a:pt x="67" y="300"/>
                      <a:pt x="150" y="300"/>
                    </a:cubicBezTo>
                    <a:cubicBezTo>
                      <a:pt x="233" y="300"/>
                      <a:pt x="300" y="233"/>
                      <a:pt x="300" y="150"/>
                    </a:cubicBezTo>
                    <a:cubicBezTo>
                      <a:pt x="300" y="67"/>
                      <a:pt x="233" y="0"/>
                      <a:pt x="150" y="0"/>
                    </a:cubicBezTo>
                    <a:close/>
                    <a:moveTo>
                      <a:pt x="217" y="258"/>
                    </a:moveTo>
                    <a:cubicBezTo>
                      <a:pt x="213" y="252"/>
                      <a:pt x="213" y="252"/>
                      <a:pt x="213" y="252"/>
                    </a:cubicBezTo>
                    <a:cubicBezTo>
                      <a:pt x="207" y="256"/>
                      <a:pt x="207" y="256"/>
                      <a:pt x="207" y="256"/>
                    </a:cubicBezTo>
                    <a:cubicBezTo>
                      <a:pt x="210" y="262"/>
                      <a:pt x="210" y="262"/>
                      <a:pt x="210" y="262"/>
                    </a:cubicBezTo>
                    <a:cubicBezTo>
                      <a:pt x="193" y="271"/>
                      <a:pt x="174" y="276"/>
                      <a:pt x="154" y="277"/>
                    </a:cubicBezTo>
                    <a:cubicBezTo>
                      <a:pt x="154" y="255"/>
                      <a:pt x="154" y="255"/>
                      <a:pt x="154" y="255"/>
                    </a:cubicBezTo>
                    <a:cubicBezTo>
                      <a:pt x="146" y="255"/>
                      <a:pt x="146" y="255"/>
                      <a:pt x="146" y="255"/>
                    </a:cubicBezTo>
                    <a:cubicBezTo>
                      <a:pt x="146" y="277"/>
                      <a:pt x="146" y="277"/>
                      <a:pt x="146" y="277"/>
                    </a:cubicBezTo>
                    <a:cubicBezTo>
                      <a:pt x="126" y="276"/>
                      <a:pt x="106" y="271"/>
                      <a:pt x="89" y="262"/>
                    </a:cubicBezTo>
                    <a:cubicBezTo>
                      <a:pt x="93" y="256"/>
                      <a:pt x="93" y="256"/>
                      <a:pt x="93" y="256"/>
                    </a:cubicBezTo>
                    <a:cubicBezTo>
                      <a:pt x="87" y="252"/>
                      <a:pt x="87" y="252"/>
                      <a:pt x="87" y="252"/>
                    </a:cubicBezTo>
                    <a:cubicBezTo>
                      <a:pt x="83" y="258"/>
                      <a:pt x="83" y="258"/>
                      <a:pt x="83" y="258"/>
                    </a:cubicBezTo>
                    <a:cubicBezTo>
                      <a:pt x="66" y="248"/>
                      <a:pt x="52" y="233"/>
                      <a:pt x="41" y="217"/>
                    </a:cubicBezTo>
                    <a:cubicBezTo>
                      <a:pt x="48" y="213"/>
                      <a:pt x="48" y="213"/>
                      <a:pt x="48" y="213"/>
                    </a:cubicBezTo>
                    <a:cubicBezTo>
                      <a:pt x="44" y="206"/>
                      <a:pt x="44" y="206"/>
                      <a:pt x="44" y="206"/>
                    </a:cubicBezTo>
                    <a:cubicBezTo>
                      <a:pt x="38" y="210"/>
                      <a:pt x="38" y="210"/>
                      <a:pt x="38" y="210"/>
                    </a:cubicBezTo>
                    <a:cubicBezTo>
                      <a:pt x="28" y="193"/>
                      <a:pt x="23" y="174"/>
                      <a:pt x="22" y="153"/>
                    </a:cubicBezTo>
                    <a:cubicBezTo>
                      <a:pt x="51" y="153"/>
                      <a:pt x="51" y="153"/>
                      <a:pt x="51" y="153"/>
                    </a:cubicBezTo>
                    <a:cubicBezTo>
                      <a:pt x="51" y="146"/>
                      <a:pt x="51" y="146"/>
                      <a:pt x="51" y="146"/>
                    </a:cubicBezTo>
                    <a:cubicBezTo>
                      <a:pt x="22" y="146"/>
                      <a:pt x="22" y="146"/>
                      <a:pt x="22" y="146"/>
                    </a:cubicBezTo>
                    <a:cubicBezTo>
                      <a:pt x="23" y="125"/>
                      <a:pt x="28" y="106"/>
                      <a:pt x="38" y="89"/>
                    </a:cubicBezTo>
                    <a:cubicBezTo>
                      <a:pt x="44" y="93"/>
                      <a:pt x="44" y="93"/>
                      <a:pt x="44" y="93"/>
                    </a:cubicBezTo>
                    <a:cubicBezTo>
                      <a:pt x="48" y="86"/>
                      <a:pt x="48" y="86"/>
                      <a:pt x="48" y="86"/>
                    </a:cubicBezTo>
                    <a:cubicBezTo>
                      <a:pt x="41" y="83"/>
                      <a:pt x="41" y="83"/>
                      <a:pt x="41" y="83"/>
                    </a:cubicBezTo>
                    <a:cubicBezTo>
                      <a:pt x="52" y="66"/>
                      <a:pt x="66" y="52"/>
                      <a:pt x="83" y="41"/>
                    </a:cubicBezTo>
                    <a:cubicBezTo>
                      <a:pt x="87" y="48"/>
                      <a:pt x="87" y="48"/>
                      <a:pt x="87" y="48"/>
                    </a:cubicBezTo>
                    <a:cubicBezTo>
                      <a:pt x="93" y="44"/>
                      <a:pt x="93" y="44"/>
                      <a:pt x="93" y="44"/>
                    </a:cubicBezTo>
                    <a:cubicBezTo>
                      <a:pt x="89" y="37"/>
                      <a:pt x="89" y="37"/>
                      <a:pt x="89" y="37"/>
                    </a:cubicBezTo>
                    <a:cubicBezTo>
                      <a:pt x="106" y="28"/>
                      <a:pt x="126" y="23"/>
                      <a:pt x="146" y="22"/>
                    </a:cubicBezTo>
                    <a:cubicBezTo>
                      <a:pt x="146" y="45"/>
                      <a:pt x="146" y="45"/>
                      <a:pt x="146" y="45"/>
                    </a:cubicBezTo>
                    <a:cubicBezTo>
                      <a:pt x="154" y="45"/>
                      <a:pt x="154" y="45"/>
                      <a:pt x="154" y="45"/>
                    </a:cubicBezTo>
                    <a:cubicBezTo>
                      <a:pt x="154" y="22"/>
                      <a:pt x="154" y="22"/>
                      <a:pt x="154" y="22"/>
                    </a:cubicBezTo>
                    <a:cubicBezTo>
                      <a:pt x="174" y="23"/>
                      <a:pt x="193" y="28"/>
                      <a:pt x="210" y="37"/>
                    </a:cubicBezTo>
                    <a:cubicBezTo>
                      <a:pt x="207" y="44"/>
                      <a:pt x="207" y="44"/>
                      <a:pt x="207" y="44"/>
                    </a:cubicBezTo>
                    <a:cubicBezTo>
                      <a:pt x="213" y="48"/>
                      <a:pt x="213" y="48"/>
                      <a:pt x="213" y="48"/>
                    </a:cubicBezTo>
                    <a:cubicBezTo>
                      <a:pt x="217" y="41"/>
                      <a:pt x="217" y="41"/>
                      <a:pt x="217" y="41"/>
                    </a:cubicBezTo>
                    <a:cubicBezTo>
                      <a:pt x="234" y="52"/>
                      <a:pt x="248" y="66"/>
                      <a:pt x="258" y="83"/>
                    </a:cubicBezTo>
                    <a:cubicBezTo>
                      <a:pt x="252" y="86"/>
                      <a:pt x="252" y="86"/>
                      <a:pt x="252" y="86"/>
                    </a:cubicBezTo>
                    <a:cubicBezTo>
                      <a:pt x="256" y="93"/>
                      <a:pt x="256" y="93"/>
                      <a:pt x="256" y="93"/>
                    </a:cubicBezTo>
                    <a:cubicBezTo>
                      <a:pt x="262" y="89"/>
                      <a:pt x="262" y="89"/>
                      <a:pt x="262" y="89"/>
                    </a:cubicBezTo>
                    <a:cubicBezTo>
                      <a:pt x="271" y="106"/>
                      <a:pt x="277" y="125"/>
                      <a:pt x="277" y="146"/>
                    </a:cubicBezTo>
                    <a:cubicBezTo>
                      <a:pt x="255" y="146"/>
                      <a:pt x="255" y="146"/>
                      <a:pt x="255" y="146"/>
                    </a:cubicBezTo>
                    <a:cubicBezTo>
                      <a:pt x="255" y="153"/>
                      <a:pt x="255" y="153"/>
                      <a:pt x="255" y="153"/>
                    </a:cubicBezTo>
                    <a:cubicBezTo>
                      <a:pt x="277" y="153"/>
                      <a:pt x="277" y="153"/>
                      <a:pt x="277" y="153"/>
                    </a:cubicBezTo>
                    <a:cubicBezTo>
                      <a:pt x="276" y="174"/>
                      <a:pt x="271" y="193"/>
                      <a:pt x="262" y="210"/>
                    </a:cubicBezTo>
                    <a:cubicBezTo>
                      <a:pt x="256" y="206"/>
                      <a:pt x="256" y="206"/>
                      <a:pt x="256" y="206"/>
                    </a:cubicBezTo>
                    <a:cubicBezTo>
                      <a:pt x="252" y="213"/>
                      <a:pt x="252" y="213"/>
                      <a:pt x="252" y="213"/>
                    </a:cubicBezTo>
                    <a:cubicBezTo>
                      <a:pt x="258" y="217"/>
                      <a:pt x="258" y="217"/>
                      <a:pt x="258" y="217"/>
                    </a:cubicBezTo>
                    <a:cubicBezTo>
                      <a:pt x="248" y="233"/>
                      <a:pt x="234" y="248"/>
                      <a:pt x="217" y="258"/>
                    </a:cubicBezTo>
                    <a:close/>
                    <a:moveTo>
                      <a:pt x="158" y="158"/>
                    </a:moveTo>
                    <a:cubicBezTo>
                      <a:pt x="154" y="163"/>
                      <a:pt x="146" y="163"/>
                      <a:pt x="141" y="158"/>
                    </a:cubicBezTo>
                    <a:cubicBezTo>
                      <a:pt x="137" y="154"/>
                      <a:pt x="137" y="146"/>
                      <a:pt x="141" y="141"/>
                    </a:cubicBezTo>
                    <a:cubicBezTo>
                      <a:pt x="146" y="137"/>
                      <a:pt x="154" y="137"/>
                      <a:pt x="158" y="141"/>
                    </a:cubicBezTo>
                    <a:cubicBezTo>
                      <a:pt x="163" y="146"/>
                      <a:pt x="163" y="154"/>
                      <a:pt x="158" y="158"/>
                    </a:cubicBezTo>
                    <a:close/>
                    <a:moveTo>
                      <a:pt x="211" y="88"/>
                    </a:moveTo>
                    <a:cubicBezTo>
                      <a:pt x="134" y="123"/>
                      <a:pt x="134" y="123"/>
                      <a:pt x="134" y="123"/>
                    </a:cubicBezTo>
                    <a:cubicBezTo>
                      <a:pt x="125" y="132"/>
                      <a:pt x="125" y="132"/>
                      <a:pt x="125" y="132"/>
                    </a:cubicBezTo>
                    <a:cubicBezTo>
                      <a:pt x="88" y="211"/>
                      <a:pt x="88" y="211"/>
                      <a:pt x="88" y="211"/>
                    </a:cubicBezTo>
                    <a:cubicBezTo>
                      <a:pt x="168" y="174"/>
                      <a:pt x="168" y="174"/>
                      <a:pt x="168" y="174"/>
                    </a:cubicBezTo>
                    <a:cubicBezTo>
                      <a:pt x="176" y="166"/>
                      <a:pt x="176" y="166"/>
                      <a:pt x="176" y="166"/>
                    </a:cubicBezTo>
                    <a:lnTo>
                      <a:pt x="211" y="88"/>
                    </a:lnTo>
                    <a:close/>
                    <a:moveTo>
                      <a:pt x="135" y="165"/>
                    </a:moveTo>
                    <a:cubicBezTo>
                      <a:pt x="127" y="156"/>
                      <a:pt x="127" y="143"/>
                      <a:pt x="135" y="135"/>
                    </a:cubicBezTo>
                    <a:cubicBezTo>
                      <a:pt x="143" y="127"/>
                      <a:pt x="156" y="127"/>
                      <a:pt x="165" y="135"/>
                    </a:cubicBezTo>
                    <a:cubicBezTo>
                      <a:pt x="173" y="143"/>
                      <a:pt x="173" y="156"/>
                      <a:pt x="165" y="165"/>
                    </a:cubicBezTo>
                    <a:cubicBezTo>
                      <a:pt x="156" y="173"/>
                      <a:pt x="143" y="173"/>
                      <a:pt x="135" y="165"/>
                    </a:cubicBezTo>
                    <a:close/>
                  </a:path>
                </a:pathLst>
              </a:custGeom>
              <a:grpFill/>
              <a:ln>
                <a:noFill/>
              </a:ln>
            </p:spPr>
            <p:txBody>
              <a:bodyPr vert="horz" wrap="square" lIns="82293" tIns="41147" rIns="82293" bIns="41147" numCol="1" anchor="t" anchorCtr="0" compatLnSpc="1">
                <a:prstTxWarp prst="textNoShape">
                  <a:avLst/>
                </a:prstTxWarp>
              </a:bodyPr>
              <a:lstStyle/>
              <a:p>
                <a:endParaRPr lang="en-US" sz="1599"/>
              </a:p>
            </p:txBody>
          </p:sp>
        </p:grpSp>
        <p:sp>
          <p:nvSpPr>
            <p:cNvPr id="139" name="Rectangle 36"/>
            <p:cNvSpPr/>
            <p:nvPr/>
          </p:nvSpPr>
          <p:spPr>
            <a:xfrm>
              <a:off x="8280312" y="4329286"/>
              <a:ext cx="715051" cy="481077"/>
            </a:xfrm>
            <a:custGeom>
              <a:avLst/>
              <a:gdLst/>
              <a:ahLst/>
              <a:cxnLst/>
              <a:rect l="l" t="t" r="r" b="b"/>
              <a:pathLst>
                <a:path w="3706697" h="2493818">
                  <a:moveTo>
                    <a:pt x="155892" y="2268472"/>
                  </a:moveTo>
                  <a:cubicBezTo>
                    <a:pt x="115912" y="2268472"/>
                    <a:pt x="83502" y="2300882"/>
                    <a:pt x="83502" y="2340862"/>
                  </a:cubicBezTo>
                  <a:cubicBezTo>
                    <a:pt x="83502" y="2380842"/>
                    <a:pt x="115912" y="2413252"/>
                    <a:pt x="155892" y="2413252"/>
                  </a:cubicBezTo>
                  <a:cubicBezTo>
                    <a:pt x="195872" y="2413252"/>
                    <a:pt x="228282" y="2380842"/>
                    <a:pt x="228282" y="2340862"/>
                  </a:cubicBezTo>
                  <a:cubicBezTo>
                    <a:pt x="228282" y="2300882"/>
                    <a:pt x="195872" y="2268472"/>
                    <a:pt x="155892" y="2268472"/>
                  </a:cubicBezTo>
                  <a:close/>
                  <a:moveTo>
                    <a:pt x="3356494" y="2165602"/>
                  </a:moveTo>
                  <a:cubicBezTo>
                    <a:pt x="3322827" y="2165602"/>
                    <a:pt x="3295534" y="2192895"/>
                    <a:pt x="3295534" y="2226562"/>
                  </a:cubicBezTo>
                  <a:cubicBezTo>
                    <a:pt x="3295534" y="2260229"/>
                    <a:pt x="3322827" y="2287522"/>
                    <a:pt x="3356494" y="2287522"/>
                  </a:cubicBezTo>
                  <a:cubicBezTo>
                    <a:pt x="3390161" y="2287522"/>
                    <a:pt x="3417454" y="2260229"/>
                    <a:pt x="3417454" y="2226562"/>
                  </a:cubicBezTo>
                  <a:cubicBezTo>
                    <a:pt x="3417454" y="2192895"/>
                    <a:pt x="3390161" y="2165602"/>
                    <a:pt x="3356494" y="2165602"/>
                  </a:cubicBezTo>
                  <a:close/>
                  <a:moveTo>
                    <a:pt x="3356494" y="1839052"/>
                  </a:moveTo>
                  <a:cubicBezTo>
                    <a:pt x="3322827" y="1839052"/>
                    <a:pt x="3295534" y="1866345"/>
                    <a:pt x="3295534" y="1900012"/>
                  </a:cubicBezTo>
                  <a:cubicBezTo>
                    <a:pt x="3295534" y="1933679"/>
                    <a:pt x="3322827" y="1960972"/>
                    <a:pt x="3356494" y="1960972"/>
                  </a:cubicBezTo>
                  <a:cubicBezTo>
                    <a:pt x="3390161" y="1960972"/>
                    <a:pt x="3417454" y="1933679"/>
                    <a:pt x="3417454" y="1900012"/>
                  </a:cubicBezTo>
                  <a:cubicBezTo>
                    <a:pt x="3417454" y="1866345"/>
                    <a:pt x="3390161" y="1839052"/>
                    <a:pt x="3356494" y="1839052"/>
                  </a:cubicBezTo>
                  <a:close/>
                  <a:moveTo>
                    <a:pt x="2278433" y="1696107"/>
                  </a:moveTo>
                  <a:cubicBezTo>
                    <a:pt x="2250873" y="1696107"/>
                    <a:pt x="2228533" y="1718448"/>
                    <a:pt x="2228532" y="1746008"/>
                  </a:cubicBezTo>
                  <a:cubicBezTo>
                    <a:pt x="2228533" y="1773567"/>
                    <a:pt x="2250873" y="1795908"/>
                    <a:pt x="2278433" y="1795908"/>
                  </a:cubicBezTo>
                  <a:lnTo>
                    <a:pt x="2299015" y="1795908"/>
                  </a:lnTo>
                  <a:cubicBezTo>
                    <a:pt x="2299015" y="1829752"/>
                    <a:pt x="2299015" y="1863595"/>
                    <a:pt x="2299015" y="1897439"/>
                  </a:cubicBezTo>
                  <a:cubicBezTo>
                    <a:pt x="2299015" y="1910064"/>
                    <a:pt x="2309250" y="1920299"/>
                    <a:pt x="2321875" y="1920299"/>
                  </a:cubicBezTo>
                  <a:lnTo>
                    <a:pt x="2321874" y="1920298"/>
                  </a:lnTo>
                  <a:cubicBezTo>
                    <a:pt x="2334499" y="1920298"/>
                    <a:pt x="2344734" y="1910063"/>
                    <a:pt x="2344734" y="1897438"/>
                  </a:cubicBezTo>
                  <a:lnTo>
                    <a:pt x="2344734" y="1795908"/>
                  </a:lnTo>
                  <a:lnTo>
                    <a:pt x="2562540" y="1795909"/>
                  </a:lnTo>
                  <a:cubicBezTo>
                    <a:pt x="2562540" y="1829752"/>
                    <a:pt x="2562540" y="1863596"/>
                    <a:pt x="2562540" y="1897439"/>
                  </a:cubicBezTo>
                  <a:cubicBezTo>
                    <a:pt x="2562540" y="1910064"/>
                    <a:pt x="2572775" y="1920299"/>
                    <a:pt x="2585400" y="1920299"/>
                  </a:cubicBezTo>
                  <a:lnTo>
                    <a:pt x="2585399" y="1920298"/>
                  </a:lnTo>
                  <a:cubicBezTo>
                    <a:pt x="2598024" y="1920298"/>
                    <a:pt x="2608259" y="1910063"/>
                    <a:pt x="2608259" y="1897438"/>
                  </a:cubicBezTo>
                  <a:lnTo>
                    <a:pt x="2608259" y="1795909"/>
                  </a:lnTo>
                  <a:lnTo>
                    <a:pt x="2628211" y="1795909"/>
                  </a:lnTo>
                  <a:cubicBezTo>
                    <a:pt x="2655771" y="1795909"/>
                    <a:pt x="2678112" y="1773568"/>
                    <a:pt x="2678112" y="1746008"/>
                  </a:cubicBezTo>
                  <a:lnTo>
                    <a:pt x="2678113" y="1746008"/>
                  </a:lnTo>
                  <a:cubicBezTo>
                    <a:pt x="2678113" y="1718448"/>
                    <a:pt x="2655772" y="1696107"/>
                    <a:pt x="2628212" y="1696107"/>
                  </a:cubicBezTo>
                  <a:close/>
                  <a:moveTo>
                    <a:pt x="3356494" y="1512501"/>
                  </a:moveTo>
                  <a:cubicBezTo>
                    <a:pt x="3322827" y="1512501"/>
                    <a:pt x="3295534" y="1539794"/>
                    <a:pt x="3295534" y="1573461"/>
                  </a:cubicBezTo>
                  <a:cubicBezTo>
                    <a:pt x="3295534" y="1607128"/>
                    <a:pt x="3322827" y="1634421"/>
                    <a:pt x="3356494" y="1634421"/>
                  </a:cubicBezTo>
                  <a:cubicBezTo>
                    <a:pt x="3390161" y="1634421"/>
                    <a:pt x="3417454" y="1607128"/>
                    <a:pt x="3417454" y="1573461"/>
                  </a:cubicBezTo>
                  <a:cubicBezTo>
                    <a:pt x="3417454" y="1539794"/>
                    <a:pt x="3390161" y="1512501"/>
                    <a:pt x="3356494" y="1512501"/>
                  </a:cubicBezTo>
                  <a:close/>
                  <a:moveTo>
                    <a:pt x="2278433" y="1363375"/>
                  </a:moveTo>
                  <a:cubicBezTo>
                    <a:pt x="2250873" y="1363375"/>
                    <a:pt x="2228533" y="1385716"/>
                    <a:pt x="2228532" y="1413276"/>
                  </a:cubicBezTo>
                  <a:cubicBezTo>
                    <a:pt x="2228533" y="1440835"/>
                    <a:pt x="2250873" y="1463176"/>
                    <a:pt x="2278433" y="1463176"/>
                  </a:cubicBezTo>
                  <a:lnTo>
                    <a:pt x="2299015" y="1463176"/>
                  </a:lnTo>
                  <a:cubicBezTo>
                    <a:pt x="2299015" y="1499980"/>
                    <a:pt x="2299015" y="1536785"/>
                    <a:pt x="2299015" y="1573589"/>
                  </a:cubicBezTo>
                  <a:cubicBezTo>
                    <a:pt x="2299015" y="1586214"/>
                    <a:pt x="2309250" y="1596449"/>
                    <a:pt x="2321875" y="1596449"/>
                  </a:cubicBezTo>
                  <a:lnTo>
                    <a:pt x="2321874" y="1596448"/>
                  </a:lnTo>
                  <a:cubicBezTo>
                    <a:pt x="2334499" y="1596448"/>
                    <a:pt x="2344734" y="1586213"/>
                    <a:pt x="2344734" y="1573588"/>
                  </a:cubicBezTo>
                  <a:lnTo>
                    <a:pt x="2344734" y="1463176"/>
                  </a:lnTo>
                  <a:lnTo>
                    <a:pt x="2562540" y="1463177"/>
                  </a:lnTo>
                  <a:cubicBezTo>
                    <a:pt x="2562540" y="1499981"/>
                    <a:pt x="2562540" y="1536785"/>
                    <a:pt x="2562540" y="1573589"/>
                  </a:cubicBezTo>
                  <a:cubicBezTo>
                    <a:pt x="2562540" y="1586214"/>
                    <a:pt x="2572775" y="1596449"/>
                    <a:pt x="2585400" y="1596449"/>
                  </a:cubicBezTo>
                  <a:lnTo>
                    <a:pt x="2585399" y="1596448"/>
                  </a:lnTo>
                  <a:cubicBezTo>
                    <a:pt x="2598024" y="1596448"/>
                    <a:pt x="2608259" y="1586213"/>
                    <a:pt x="2608259" y="1573588"/>
                  </a:cubicBezTo>
                  <a:lnTo>
                    <a:pt x="2608259" y="1463177"/>
                  </a:lnTo>
                  <a:lnTo>
                    <a:pt x="2628211" y="1463177"/>
                  </a:lnTo>
                  <a:cubicBezTo>
                    <a:pt x="2655771" y="1463177"/>
                    <a:pt x="2678112" y="1440836"/>
                    <a:pt x="2678112" y="1413276"/>
                  </a:cubicBezTo>
                  <a:lnTo>
                    <a:pt x="2678113" y="1413276"/>
                  </a:lnTo>
                  <a:cubicBezTo>
                    <a:pt x="2678113" y="1385716"/>
                    <a:pt x="2655772" y="1363375"/>
                    <a:pt x="2628212" y="1363375"/>
                  </a:cubicBezTo>
                  <a:close/>
                  <a:moveTo>
                    <a:pt x="3356494" y="1185950"/>
                  </a:moveTo>
                  <a:cubicBezTo>
                    <a:pt x="3322827" y="1185950"/>
                    <a:pt x="3295534" y="1213243"/>
                    <a:pt x="3295534" y="1246910"/>
                  </a:cubicBezTo>
                  <a:cubicBezTo>
                    <a:pt x="3295534" y="1280577"/>
                    <a:pt x="3322827" y="1307870"/>
                    <a:pt x="3356494" y="1307870"/>
                  </a:cubicBezTo>
                  <a:cubicBezTo>
                    <a:pt x="3390161" y="1307870"/>
                    <a:pt x="3417454" y="1280577"/>
                    <a:pt x="3417454" y="1246910"/>
                  </a:cubicBezTo>
                  <a:cubicBezTo>
                    <a:pt x="3417454" y="1213243"/>
                    <a:pt x="3390161" y="1185950"/>
                    <a:pt x="3356494" y="1185950"/>
                  </a:cubicBezTo>
                  <a:close/>
                  <a:moveTo>
                    <a:pt x="2278433" y="1030643"/>
                  </a:moveTo>
                  <a:cubicBezTo>
                    <a:pt x="2250873" y="1030643"/>
                    <a:pt x="2228533" y="1052984"/>
                    <a:pt x="2228532" y="1080544"/>
                  </a:cubicBezTo>
                  <a:cubicBezTo>
                    <a:pt x="2228533" y="1108103"/>
                    <a:pt x="2250873" y="1130444"/>
                    <a:pt x="2278433" y="1130444"/>
                  </a:cubicBezTo>
                  <a:lnTo>
                    <a:pt x="2299015" y="1130444"/>
                  </a:lnTo>
                  <a:cubicBezTo>
                    <a:pt x="2299015" y="1167034"/>
                    <a:pt x="2299015" y="1203624"/>
                    <a:pt x="2299015" y="1240214"/>
                  </a:cubicBezTo>
                  <a:cubicBezTo>
                    <a:pt x="2299015" y="1252839"/>
                    <a:pt x="2309250" y="1263074"/>
                    <a:pt x="2321875" y="1263074"/>
                  </a:cubicBezTo>
                  <a:lnTo>
                    <a:pt x="2321874" y="1263073"/>
                  </a:lnTo>
                  <a:cubicBezTo>
                    <a:pt x="2334499" y="1263073"/>
                    <a:pt x="2344734" y="1252838"/>
                    <a:pt x="2344734" y="1240213"/>
                  </a:cubicBezTo>
                  <a:lnTo>
                    <a:pt x="2344734" y="1130444"/>
                  </a:lnTo>
                  <a:lnTo>
                    <a:pt x="2562540" y="1130445"/>
                  </a:lnTo>
                  <a:cubicBezTo>
                    <a:pt x="2562540" y="1167035"/>
                    <a:pt x="2562540" y="1203624"/>
                    <a:pt x="2562540" y="1240214"/>
                  </a:cubicBezTo>
                  <a:cubicBezTo>
                    <a:pt x="2562540" y="1252839"/>
                    <a:pt x="2572775" y="1263074"/>
                    <a:pt x="2585400" y="1263074"/>
                  </a:cubicBezTo>
                  <a:lnTo>
                    <a:pt x="2585399" y="1263073"/>
                  </a:lnTo>
                  <a:cubicBezTo>
                    <a:pt x="2598024" y="1263073"/>
                    <a:pt x="2608259" y="1252838"/>
                    <a:pt x="2608259" y="1240213"/>
                  </a:cubicBezTo>
                  <a:lnTo>
                    <a:pt x="2608259" y="1130445"/>
                  </a:lnTo>
                  <a:lnTo>
                    <a:pt x="2628211" y="1130445"/>
                  </a:lnTo>
                  <a:cubicBezTo>
                    <a:pt x="2655771" y="1130445"/>
                    <a:pt x="2678112" y="1108104"/>
                    <a:pt x="2678112" y="1080544"/>
                  </a:cubicBezTo>
                  <a:lnTo>
                    <a:pt x="2678113" y="1080544"/>
                  </a:lnTo>
                  <a:cubicBezTo>
                    <a:pt x="2678113" y="1052984"/>
                    <a:pt x="2655772" y="1030643"/>
                    <a:pt x="2628212" y="1030643"/>
                  </a:cubicBezTo>
                  <a:close/>
                  <a:moveTo>
                    <a:pt x="3356494" y="859399"/>
                  </a:moveTo>
                  <a:cubicBezTo>
                    <a:pt x="3322827" y="859399"/>
                    <a:pt x="3295534" y="886692"/>
                    <a:pt x="3295534" y="920359"/>
                  </a:cubicBezTo>
                  <a:cubicBezTo>
                    <a:pt x="3295534" y="954026"/>
                    <a:pt x="3322827" y="981319"/>
                    <a:pt x="3356494" y="981319"/>
                  </a:cubicBezTo>
                  <a:cubicBezTo>
                    <a:pt x="3390161" y="981319"/>
                    <a:pt x="3417454" y="954026"/>
                    <a:pt x="3417454" y="920359"/>
                  </a:cubicBezTo>
                  <a:cubicBezTo>
                    <a:pt x="3417454" y="886692"/>
                    <a:pt x="3390161" y="859399"/>
                    <a:pt x="3356494" y="859399"/>
                  </a:cubicBezTo>
                  <a:close/>
                  <a:moveTo>
                    <a:pt x="2278433" y="697911"/>
                  </a:moveTo>
                  <a:cubicBezTo>
                    <a:pt x="2250873" y="697911"/>
                    <a:pt x="2228533" y="720252"/>
                    <a:pt x="2228532" y="747812"/>
                  </a:cubicBezTo>
                  <a:cubicBezTo>
                    <a:pt x="2228533" y="775371"/>
                    <a:pt x="2250873" y="797712"/>
                    <a:pt x="2278433" y="797712"/>
                  </a:cubicBezTo>
                  <a:lnTo>
                    <a:pt x="2299015" y="797712"/>
                  </a:lnTo>
                  <a:cubicBezTo>
                    <a:pt x="2299015" y="826680"/>
                    <a:pt x="2299015" y="855647"/>
                    <a:pt x="2299015" y="884614"/>
                  </a:cubicBezTo>
                  <a:cubicBezTo>
                    <a:pt x="2299015" y="897239"/>
                    <a:pt x="2309250" y="907474"/>
                    <a:pt x="2321875" y="907474"/>
                  </a:cubicBezTo>
                  <a:lnTo>
                    <a:pt x="2321874" y="907473"/>
                  </a:lnTo>
                  <a:cubicBezTo>
                    <a:pt x="2334499" y="907473"/>
                    <a:pt x="2344734" y="897238"/>
                    <a:pt x="2344734" y="884613"/>
                  </a:cubicBezTo>
                  <a:lnTo>
                    <a:pt x="2344734" y="797712"/>
                  </a:lnTo>
                  <a:lnTo>
                    <a:pt x="2562540" y="797713"/>
                  </a:lnTo>
                  <a:cubicBezTo>
                    <a:pt x="2562540" y="826680"/>
                    <a:pt x="2562540" y="855647"/>
                    <a:pt x="2562540" y="884614"/>
                  </a:cubicBezTo>
                  <a:cubicBezTo>
                    <a:pt x="2562540" y="897239"/>
                    <a:pt x="2572775" y="907474"/>
                    <a:pt x="2585400" y="907474"/>
                  </a:cubicBezTo>
                  <a:lnTo>
                    <a:pt x="2585399" y="907473"/>
                  </a:lnTo>
                  <a:cubicBezTo>
                    <a:pt x="2598024" y="907473"/>
                    <a:pt x="2608259" y="897238"/>
                    <a:pt x="2608259" y="884613"/>
                  </a:cubicBezTo>
                  <a:lnTo>
                    <a:pt x="2608259" y="797713"/>
                  </a:lnTo>
                  <a:lnTo>
                    <a:pt x="2628211" y="797713"/>
                  </a:lnTo>
                  <a:cubicBezTo>
                    <a:pt x="2655771" y="797713"/>
                    <a:pt x="2678112" y="775372"/>
                    <a:pt x="2678112" y="747812"/>
                  </a:cubicBezTo>
                  <a:lnTo>
                    <a:pt x="2678113" y="747812"/>
                  </a:lnTo>
                  <a:cubicBezTo>
                    <a:pt x="2678113" y="720252"/>
                    <a:pt x="2655772" y="697911"/>
                    <a:pt x="2628212" y="697911"/>
                  </a:cubicBezTo>
                  <a:close/>
                  <a:moveTo>
                    <a:pt x="729089" y="611830"/>
                  </a:moveTo>
                  <a:lnTo>
                    <a:pt x="1395273" y="611830"/>
                  </a:lnTo>
                  <a:lnTo>
                    <a:pt x="1395273" y="1881992"/>
                  </a:lnTo>
                  <a:lnTo>
                    <a:pt x="729089" y="1881992"/>
                  </a:lnTo>
                  <a:close/>
                  <a:moveTo>
                    <a:pt x="3356494" y="532848"/>
                  </a:moveTo>
                  <a:cubicBezTo>
                    <a:pt x="3322827" y="532848"/>
                    <a:pt x="3295534" y="560141"/>
                    <a:pt x="3295534" y="593808"/>
                  </a:cubicBezTo>
                  <a:cubicBezTo>
                    <a:pt x="3295534" y="627475"/>
                    <a:pt x="3322827" y="654768"/>
                    <a:pt x="3356494" y="654768"/>
                  </a:cubicBezTo>
                  <a:cubicBezTo>
                    <a:pt x="3390161" y="654768"/>
                    <a:pt x="3417454" y="627475"/>
                    <a:pt x="3417454" y="593808"/>
                  </a:cubicBezTo>
                  <a:cubicBezTo>
                    <a:pt x="3417454" y="560141"/>
                    <a:pt x="3390161" y="532848"/>
                    <a:pt x="3356494" y="532848"/>
                  </a:cubicBezTo>
                  <a:close/>
                  <a:moveTo>
                    <a:pt x="622932" y="474615"/>
                  </a:moveTo>
                  <a:lnTo>
                    <a:pt x="622932" y="629835"/>
                  </a:lnTo>
                  <a:lnTo>
                    <a:pt x="441095" y="629835"/>
                  </a:lnTo>
                  <a:cubicBezTo>
                    <a:pt x="433791" y="612515"/>
                    <a:pt x="416305" y="602309"/>
                    <a:pt x="396439" y="602309"/>
                  </a:cubicBezTo>
                  <a:cubicBezTo>
                    <a:pt x="365084" y="602309"/>
                    <a:pt x="339666" y="627730"/>
                    <a:pt x="339666" y="659089"/>
                  </a:cubicBezTo>
                  <a:cubicBezTo>
                    <a:pt x="339666" y="690445"/>
                    <a:pt x="365084" y="715862"/>
                    <a:pt x="396439" y="715862"/>
                  </a:cubicBezTo>
                  <a:cubicBezTo>
                    <a:pt x="416312" y="715862"/>
                    <a:pt x="433798" y="705660"/>
                    <a:pt x="441102" y="688340"/>
                  </a:cubicBezTo>
                  <a:lnTo>
                    <a:pt x="622932" y="688340"/>
                  </a:lnTo>
                  <a:lnTo>
                    <a:pt x="622932" y="826501"/>
                  </a:lnTo>
                  <a:lnTo>
                    <a:pt x="441095" y="826501"/>
                  </a:lnTo>
                  <a:cubicBezTo>
                    <a:pt x="433791" y="809181"/>
                    <a:pt x="416305" y="798975"/>
                    <a:pt x="396439" y="798975"/>
                  </a:cubicBezTo>
                  <a:cubicBezTo>
                    <a:pt x="365084" y="798975"/>
                    <a:pt x="339666" y="824393"/>
                    <a:pt x="339666" y="855748"/>
                  </a:cubicBezTo>
                  <a:cubicBezTo>
                    <a:pt x="339666" y="887107"/>
                    <a:pt x="365084" y="912528"/>
                    <a:pt x="396439" y="912528"/>
                  </a:cubicBezTo>
                  <a:cubicBezTo>
                    <a:pt x="416312" y="912528"/>
                    <a:pt x="433798" y="902319"/>
                    <a:pt x="441102" y="884996"/>
                  </a:cubicBezTo>
                  <a:lnTo>
                    <a:pt x="622932" y="884996"/>
                  </a:lnTo>
                  <a:lnTo>
                    <a:pt x="622932" y="1023163"/>
                  </a:lnTo>
                  <a:lnTo>
                    <a:pt x="441095" y="1023163"/>
                  </a:lnTo>
                  <a:cubicBezTo>
                    <a:pt x="433791" y="1005843"/>
                    <a:pt x="416305" y="995641"/>
                    <a:pt x="396439" y="995641"/>
                  </a:cubicBezTo>
                  <a:cubicBezTo>
                    <a:pt x="365084" y="995641"/>
                    <a:pt x="339666" y="1021058"/>
                    <a:pt x="339666" y="1052414"/>
                  </a:cubicBezTo>
                  <a:cubicBezTo>
                    <a:pt x="339666" y="1083767"/>
                    <a:pt x="365084" y="1109191"/>
                    <a:pt x="396439" y="1109191"/>
                  </a:cubicBezTo>
                  <a:cubicBezTo>
                    <a:pt x="416312" y="1109191"/>
                    <a:pt x="433798" y="1098982"/>
                    <a:pt x="441102" y="1081662"/>
                  </a:cubicBezTo>
                  <a:lnTo>
                    <a:pt x="622932" y="1081662"/>
                  </a:lnTo>
                  <a:lnTo>
                    <a:pt x="622932" y="1219822"/>
                  </a:lnTo>
                  <a:lnTo>
                    <a:pt x="441095" y="1219822"/>
                  </a:lnTo>
                  <a:cubicBezTo>
                    <a:pt x="433791" y="1202509"/>
                    <a:pt x="416305" y="1192303"/>
                    <a:pt x="396439" y="1192303"/>
                  </a:cubicBezTo>
                  <a:cubicBezTo>
                    <a:pt x="365084" y="1192303"/>
                    <a:pt x="339666" y="1217724"/>
                    <a:pt x="339666" y="1249077"/>
                  </a:cubicBezTo>
                  <a:cubicBezTo>
                    <a:pt x="339666" y="1280433"/>
                    <a:pt x="365084" y="1305850"/>
                    <a:pt x="396439" y="1305850"/>
                  </a:cubicBezTo>
                  <a:cubicBezTo>
                    <a:pt x="416312" y="1305850"/>
                    <a:pt x="433798" y="1295648"/>
                    <a:pt x="441102" y="1278328"/>
                  </a:cubicBezTo>
                  <a:lnTo>
                    <a:pt x="622932" y="1278328"/>
                  </a:lnTo>
                  <a:lnTo>
                    <a:pt x="622932" y="1416488"/>
                  </a:lnTo>
                  <a:lnTo>
                    <a:pt x="441095" y="1416488"/>
                  </a:lnTo>
                  <a:cubicBezTo>
                    <a:pt x="433791" y="1399172"/>
                    <a:pt x="416305" y="1388963"/>
                    <a:pt x="396439" y="1388963"/>
                  </a:cubicBezTo>
                  <a:cubicBezTo>
                    <a:pt x="365084" y="1388963"/>
                    <a:pt x="339666" y="1414387"/>
                    <a:pt x="339666" y="1445743"/>
                  </a:cubicBezTo>
                  <a:cubicBezTo>
                    <a:pt x="339666" y="1477095"/>
                    <a:pt x="365084" y="1502516"/>
                    <a:pt x="396439" y="1502516"/>
                  </a:cubicBezTo>
                  <a:cubicBezTo>
                    <a:pt x="416312" y="1502516"/>
                    <a:pt x="433798" y="1492310"/>
                    <a:pt x="441102" y="1474990"/>
                  </a:cubicBezTo>
                  <a:lnTo>
                    <a:pt x="622932" y="1474990"/>
                  </a:lnTo>
                  <a:lnTo>
                    <a:pt x="622932" y="1613151"/>
                  </a:lnTo>
                  <a:lnTo>
                    <a:pt x="441095" y="1613151"/>
                  </a:lnTo>
                  <a:cubicBezTo>
                    <a:pt x="433791" y="1595831"/>
                    <a:pt x="416305" y="1585629"/>
                    <a:pt x="396439" y="1585629"/>
                  </a:cubicBezTo>
                  <a:cubicBezTo>
                    <a:pt x="365084" y="1585629"/>
                    <a:pt x="339666" y="1611053"/>
                    <a:pt x="339666" y="1642405"/>
                  </a:cubicBezTo>
                  <a:cubicBezTo>
                    <a:pt x="339666" y="1673761"/>
                    <a:pt x="365084" y="1699178"/>
                    <a:pt x="396439" y="1699178"/>
                  </a:cubicBezTo>
                  <a:cubicBezTo>
                    <a:pt x="416312" y="1699178"/>
                    <a:pt x="433798" y="1688976"/>
                    <a:pt x="441102" y="1671656"/>
                  </a:cubicBezTo>
                  <a:lnTo>
                    <a:pt x="622932" y="1671656"/>
                  </a:lnTo>
                  <a:lnTo>
                    <a:pt x="622932" y="1809817"/>
                  </a:lnTo>
                  <a:lnTo>
                    <a:pt x="441095" y="1809817"/>
                  </a:lnTo>
                  <a:cubicBezTo>
                    <a:pt x="433791" y="1792497"/>
                    <a:pt x="416305" y="1782291"/>
                    <a:pt x="396439" y="1782291"/>
                  </a:cubicBezTo>
                  <a:cubicBezTo>
                    <a:pt x="365084" y="1782291"/>
                    <a:pt x="339666" y="1807712"/>
                    <a:pt x="339666" y="1839071"/>
                  </a:cubicBezTo>
                  <a:cubicBezTo>
                    <a:pt x="339666" y="1870423"/>
                    <a:pt x="365084" y="1895844"/>
                    <a:pt x="396439" y="1895844"/>
                  </a:cubicBezTo>
                  <a:cubicBezTo>
                    <a:pt x="416312" y="1895844"/>
                    <a:pt x="433798" y="1885639"/>
                    <a:pt x="441102" y="1868319"/>
                  </a:cubicBezTo>
                  <a:lnTo>
                    <a:pt x="622932" y="1868319"/>
                  </a:lnTo>
                  <a:lnTo>
                    <a:pt x="622932" y="2019203"/>
                  </a:lnTo>
                  <a:lnTo>
                    <a:pt x="1501420" y="2019203"/>
                  </a:lnTo>
                  <a:lnTo>
                    <a:pt x="1501420" y="1868319"/>
                  </a:lnTo>
                  <a:lnTo>
                    <a:pt x="1658463" y="1868319"/>
                  </a:lnTo>
                  <a:cubicBezTo>
                    <a:pt x="1665774" y="1885639"/>
                    <a:pt x="1683257" y="1895844"/>
                    <a:pt x="1703129" y="1895844"/>
                  </a:cubicBezTo>
                  <a:cubicBezTo>
                    <a:pt x="1734481" y="1895844"/>
                    <a:pt x="1759902" y="1870423"/>
                    <a:pt x="1759902" y="1839071"/>
                  </a:cubicBezTo>
                  <a:cubicBezTo>
                    <a:pt x="1759902" y="1807712"/>
                    <a:pt x="1734481" y="1782291"/>
                    <a:pt x="1703129" y="1782291"/>
                  </a:cubicBezTo>
                  <a:cubicBezTo>
                    <a:pt x="1683260" y="1782291"/>
                    <a:pt x="1665774" y="1792497"/>
                    <a:pt x="1658470" y="1809817"/>
                  </a:cubicBezTo>
                  <a:lnTo>
                    <a:pt x="1501420" y="1809817"/>
                  </a:lnTo>
                  <a:lnTo>
                    <a:pt x="1501420" y="1671656"/>
                  </a:lnTo>
                  <a:lnTo>
                    <a:pt x="1658463" y="1671656"/>
                  </a:lnTo>
                  <a:cubicBezTo>
                    <a:pt x="1665774" y="1688976"/>
                    <a:pt x="1683257" y="1699178"/>
                    <a:pt x="1703129" y="1699178"/>
                  </a:cubicBezTo>
                  <a:cubicBezTo>
                    <a:pt x="1734481" y="1699178"/>
                    <a:pt x="1759902" y="1673761"/>
                    <a:pt x="1759902" y="1642405"/>
                  </a:cubicBezTo>
                  <a:cubicBezTo>
                    <a:pt x="1759902" y="1611053"/>
                    <a:pt x="1734481" y="1585629"/>
                    <a:pt x="1703129" y="1585629"/>
                  </a:cubicBezTo>
                  <a:cubicBezTo>
                    <a:pt x="1683260" y="1585629"/>
                    <a:pt x="1665774" y="1595831"/>
                    <a:pt x="1658470" y="1613151"/>
                  </a:cubicBezTo>
                  <a:lnTo>
                    <a:pt x="1501420" y="1613151"/>
                  </a:lnTo>
                  <a:lnTo>
                    <a:pt x="1501420" y="1474990"/>
                  </a:lnTo>
                  <a:lnTo>
                    <a:pt x="1658463" y="1474990"/>
                  </a:lnTo>
                  <a:cubicBezTo>
                    <a:pt x="1665774" y="1492310"/>
                    <a:pt x="1683257" y="1502516"/>
                    <a:pt x="1703129" y="1502516"/>
                  </a:cubicBezTo>
                  <a:cubicBezTo>
                    <a:pt x="1734481" y="1502516"/>
                    <a:pt x="1759902" y="1477095"/>
                    <a:pt x="1759902" y="1445743"/>
                  </a:cubicBezTo>
                  <a:cubicBezTo>
                    <a:pt x="1759902" y="1414387"/>
                    <a:pt x="1734481" y="1388963"/>
                    <a:pt x="1703129" y="1388963"/>
                  </a:cubicBezTo>
                  <a:cubicBezTo>
                    <a:pt x="1683260" y="1388963"/>
                    <a:pt x="1665774" y="1399172"/>
                    <a:pt x="1658470" y="1416488"/>
                  </a:cubicBezTo>
                  <a:lnTo>
                    <a:pt x="1501420" y="1416488"/>
                  </a:lnTo>
                  <a:lnTo>
                    <a:pt x="1501420" y="1278328"/>
                  </a:lnTo>
                  <a:lnTo>
                    <a:pt x="1658463" y="1278328"/>
                  </a:lnTo>
                  <a:cubicBezTo>
                    <a:pt x="1665774" y="1295648"/>
                    <a:pt x="1683257" y="1305850"/>
                    <a:pt x="1703129" y="1305850"/>
                  </a:cubicBezTo>
                  <a:cubicBezTo>
                    <a:pt x="1734481" y="1305850"/>
                    <a:pt x="1759902" y="1280433"/>
                    <a:pt x="1759902" y="1249077"/>
                  </a:cubicBezTo>
                  <a:cubicBezTo>
                    <a:pt x="1759902" y="1217724"/>
                    <a:pt x="1734481" y="1192303"/>
                    <a:pt x="1703129" y="1192303"/>
                  </a:cubicBezTo>
                  <a:cubicBezTo>
                    <a:pt x="1683260" y="1192303"/>
                    <a:pt x="1665774" y="1202509"/>
                    <a:pt x="1658470" y="1219822"/>
                  </a:cubicBezTo>
                  <a:lnTo>
                    <a:pt x="1501420" y="1219822"/>
                  </a:lnTo>
                  <a:lnTo>
                    <a:pt x="1501420" y="1081662"/>
                  </a:lnTo>
                  <a:lnTo>
                    <a:pt x="1658463" y="1081662"/>
                  </a:lnTo>
                  <a:cubicBezTo>
                    <a:pt x="1665774" y="1098982"/>
                    <a:pt x="1683257" y="1109191"/>
                    <a:pt x="1703129" y="1109191"/>
                  </a:cubicBezTo>
                  <a:cubicBezTo>
                    <a:pt x="1734481" y="1109191"/>
                    <a:pt x="1759902" y="1083767"/>
                    <a:pt x="1759902" y="1052414"/>
                  </a:cubicBezTo>
                  <a:cubicBezTo>
                    <a:pt x="1759902" y="1021058"/>
                    <a:pt x="1734481" y="995641"/>
                    <a:pt x="1703129" y="995641"/>
                  </a:cubicBezTo>
                  <a:cubicBezTo>
                    <a:pt x="1683260" y="995641"/>
                    <a:pt x="1665774" y="1005843"/>
                    <a:pt x="1658470" y="1023163"/>
                  </a:cubicBezTo>
                  <a:lnTo>
                    <a:pt x="1501420" y="1023163"/>
                  </a:lnTo>
                  <a:lnTo>
                    <a:pt x="1501420" y="884996"/>
                  </a:lnTo>
                  <a:lnTo>
                    <a:pt x="1658463" y="884996"/>
                  </a:lnTo>
                  <a:cubicBezTo>
                    <a:pt x="1665774" y="902319"/>
                    <a:pt x="1683257" y="912528"/>
                    <a:pt x="1703129" y="912528"/>
                  </a:cubicBezTo>
                  <a:cubicBezTo>
                    <a:pt x="1734481" y="912528"/>
                    <a:pt x="1759902" y="887107"/>
                    <a:pt x="1759902" y="855748"/>
                  </a:cubicBezTo>
                  <a:cubicBezTo>
                    <a:pt x="1759902" y="824393"/>
                    <a:pt x="1734481" y="798975"/>
                    <a:pt x="1703129" y="798975"/>
                  </a:cubicBezTo>
                  <a:cubicBezTo>
                    <a:pt x="1683260" y="798975"/>
                    <a:pt x="1665774" y="809181"/>
                    <a:pt x="1658470" y="826501"/>
                  </a:cubicBezTo>
                  <a:lnTo>
                    <a:pt x="1501420" y="826501"/>
                  </a:lnTo>
                  <a:lnTo>
                    <a:pt x="1501420" y="688340"/>
                  </a:lnTo>
                  <a:lnTo>
                    <a:pt x="1658463" y="688340"/>
                  </a:lnTo>
                  <a:cubicBezTo>
                    <a:pt x="1665774" y="705660"/>
                    <a:pt x="1683257" y="715862"/>
                    <a:pt x="1703129" y="715862"/>
                  </a:cubicBezTo>
                  <a:cubicBezTo>
                    <a:pt x="1733220" y="715862"/>
                    <a:pt x="1757845" y="692448"/>
                    <a:pt x="1758384" y="662753"/>
                  </a:cubicBezTo>
                  <a:lnTo>
                    <a:pt x="1755496" y="648456"/>
                  </a:lnTo>
                  <a:cubicBezTo>
                    <a:pt x="1753540" y="621846"/>
                    <a:pt x="1730614" y="602309"/>
                    <a:pt x="1703129" y="602309"/>
                  </a:cubicBezTo>
                  <a:cubicBezTo>
                    <a:pt x="1683260" y="602309"/>
                    <a:pt x="1665774" y="612515"/>
                    <a:pt x="1658470" y="629835"/>
                  </a:cubicBezTo>
                  <a:lnTo>
                    <a:pt x="1501420" y="629835"/>
                  </a:lnTo>
                  <a:lnTo>
                    <a:pt x="1501420" y="474615"/>
                  </a:lnTo>
                  <a:close/>
                  <a:moveTo>
                    <a:pt x="3356494" y="206297"/>
                  </a:moveTo>
                  <a:cubicBezTo>
                    <a:pt x="3322827" y="206297"/>
                    <a:pt x="3295534" y="233590"/>
                    <a:pt x="3295534" y="267257"/>
                  </a:cubicBezTo>
                  <a:cubicBezTo>
                    <a:pt x="3295534" y="300924"/>
                    <a:pt x="3322827" y="328217"/>
                    <a:pt x="3356494" y="328217"/>
                  </a:cubicBezTo>
                  <a:cubicBezTo>
                    <a:pt x="3390161" y="328217"/>
                    <a:pt x="3417454" y="300924"/>
                    <a:pt x="3417454" y="267257"/>
                  </a:cubicBezTo>
                  <a:cubicBezTo>
                    <a:pt x="3417454" y="233590"/>
                    <a:pt x="3390161" y="206297"/>
                    <a:pt x="3356494" y="206297"/>
                  </a:cubicBezTo>
                  <a:close/>
                  <a:moveTo>
                    <a:pt x="155892" y="80567"/>
                  </a:moveTo>
                  <a:cubicBezTo>
                    <a:pt x="115912" y="80567"/>
                    <a:pt x="83502" y="112977"/>
                    <a:pt x="83502" y="152957"/>
                  </a:cubicBezTo>
                  <a:cubicBezTo>
                    <a:pt x="83502" y="192937"/>
                    <a:pt x="115912" y="225347"/>
                    <a:pt x="155892" y="225347"/>
                  </a:cubicBezTo>
                  <a:cubicBezTo>
                    <a:pt x="195872" y="225347"/>
                    <a:pt x="228282" y="192937"/>
                    <a:pt x="228282" y="152957"/>
                  </a:cubicBezTo>
                  <a:cubicBezTo>
                    <a:pt x="228282" y="112977"/>
                    <a:pt x="195872" y="80567"/>
                    <a:pt x="155892" y="80567"/>
                  </a:cubicBezTo>
                  <a:close/>
                  <a:moveTo>
                    <a:pt x="0" y="0"/>
                  </a:moveTo>
                  <a:lnTo>
                    <a:pt x="3706697" y="0"/>
                  </a:lnTo>
                  <a:lnTo>
                    <a:pt x="3706697" y="2493818"/>
                  </a:lnTo>
                  <a:lnTo>
                    <a:pt x="0" y="2493818"/>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algn="ctr"/>
              <a:endParaRPr lang="en-US"/>
            </a:p>
          </p:txBody>
        </p:sp>
        <p:grpSp>
          <p:nvGrpSpPr>
            <p:cNvPr id="140" name="Group 139"/>
            <p:cNvGrpSpPr/>
            <p:nvPr/>
          </p:nvGrpSpPr>
          <p:grpSpPr>
            <a:xfrm>
              <a:off x="6941240" y="5296504"/>
              <a:ext cx="536944" cy="742504"/>
              <a:chOff x="7688566" y="3019100"/>
              <a:chExt cx="907340" cy="1254619"/>
            </a:xfrm>
            <a:solidFill>
              <a:schemeClr val="tx1"/>
            </a:solidFill>
          </p:grpSpPr>
          <p:grpSp>
            <p:nvGrpSpPr>
              <p:cNvPr id="141" name="Group 140"/>
              <p:cNvGrpSpPr/>
              <p:nvPr/>
            </p:nvGrpSpPr>
            <p:grpSpPr bwMode="black">
              <a:xfrm>
                <a:off x="7928584" y="3223998"/>
                <a:ext cx="429598" cy="1049721"/>
                <a:chOff x="3233738" y="168276"/>
                <a:chExt cx="2651125" cy="6480174"/>
              </a:xfrm>
              <a:grpFill/>
            </p:grpSpPr>
            <p:sp>
              <p:nvSpPr>
                <p:cNvPr id="151" name="Freeform 150"/>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599"/>
                </a:p>
              </p:txBody>
            </p:sp>
            <p:sp>
              <p:nvSpPr>
                <p:cNvPr id="152" name="Freeform 151"/>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599"/>
                </a:p>
              </p:txBody>
            </p:sp>
            <p:sp>
              <p:nvSpPr>
                <p:cNvPr id="153" name="Freeform 152"/>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599"/>
                </a:p>
              </p:txBody>
            </p:sp>
          </p:grpSp>
          <p:sp>
            <p:nvSpPr>
              <p:cNvPr id="142" name="Rounded Rectangle 141"/>
              <p:cNvSpPr/>
              <p:nvPr/>
            </p:nvSpPr>
            <p:spPr>
              <a:xfrm>
                <a:off x="8131857" y="3019100"/>
                <a:ext cx="18287" cy="137151"/>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27" tIns="91427" rIns="91427"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a:endParaRPr lang="en-US" sz="1199" dirty="0" err="1"/>
              </a:p>
            </p:txBody>
          </p:sp>
          <p:sp>
            <p:nvSpPr>
              <p:cNvPr id="143" name="Rounded Rectangle 142"/>
              <p:cNvSpPr/>
              <p:nvPr/>
            </p:nvSpPr>
            <p:spPr>
              <a:xfrm rot="1860000">
                <a:off x="8339894" y="3078622"/>
                <a:ext cx="18287" cy="137151"/>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27" tIns="91427" rIns="91427"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a:endParaRPr lang="en-US" sz="1199" dirty="0" err="1"/>
              </a:p>
            </p:txBody>
          </p:sp>
          <p:sp>
            <p:nvSpPr>
              <p:cNvPr id="144" name="Rounded Rectangle 143"/>
              <p:cNvSpPr/>
              <p:nvPr/>
            </p:nvSpPr>
            <p:spPr>
              <a:xfrm rot="19680000">
                <a:off x="7923822" y="3078620"/>
                <a:ext cx="18287" cy="137151"/>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27" tIns="91427" rIns="91427"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a:endParaRPr lang="en-US" sz="1199" dirty="0" err="1"/>
              </a:p>
            </p:txBody>
          </p:sp>
          <p:sp>
            <p:nvSpPr>
              <p:cNvPr id="145" name="Rounded Rectangle 144"/>
              <p:cNvSpPr/>
              <p:nvPr/>
            </p:nvSpPr>
            <p:spPr>
              <a:xfrm rot="3420000">
                <a:off x="8489610" y="3256516"/>
                <a:ext cx="18286" cy="13716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27" tIns="91427" rIns="91427"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a:endParaRPr lang="en-US" sz="1199" dirty="0" err="1"/>
              </a:p>
            </p:txBody>
          </p:sp>
          <p:sp>
            <p:nvSpPr>
              <p:cNvPr id="146" name="Rounded Rectangle 145"/>
              <p:cNvSpPr/>
              <p:nvPr/>
            </p:nvSpPr>
            <p:spPr>
              <a:xfrm rot="18180000" flipV="1">
                <a:off x="7776750" y="3256514"/>
                <a:ext cx="18286" cy="13716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27" tIns="91427" rIns="91427"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a:endParaRPr lang="en-US" sz="1199" dirty="0" err="1"/>
              </a:p>
            </p:txBody>
          </p:sp>
          <p:sp>
            <p:nvSpPr>
              <p:cNvPr id="147" name="Rounded Rectangle 146"/>
              <p:cNvSpPr/>
              <p:nvPr/>
            </p:nvSpPr>
            <p:spPr>
              <a:xfrm rot="5400000">
                <a:off x="8518183" y="3454412"/>
                <a:ext cx="18286" cy="13716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27" tIns="91427" rIns="91427"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a:endParaRPr lang="en-US" sz="1199" dirty="0" err="1"/>
              </a:p>
            </p:txBody>
          </p:sp>
          <p:sp>
            <p:nvSpPr>
              <p:cNvPr id="148" name="Rounded Rectangle 147"/>
              <p:cNvSpPr/>
              <p:nvPr/>
            </p:nvSpPr>
            <p:spPr>
              <a:xfrm rot="5400000">
                <a:off x="7748003" y="3454422"/>
                <a:ext cx="18286" cy="13716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27" tIns="91427" rIns="91427"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a:endParaRPr lang="en-US" sz="1199" dirty="0" err="1"/>
              </a:p>
            </p:txBody>
          </p:sp>
          <p:sp>
            <p:nvSpPr>
              <p:cNvPr id="149" name="Rounded Rectangle 148"/>
              <p:cNvSpPr/>
              <p:nvPr/>
            </p:nvSpPr>
            <p:spPr>
              <a:xfrm rot="6660000">
                <a:off x="8472942" y="3592047"/>
                <a:ext cx="18287" cy="13716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27" tIns="91427" rIns="91427"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a:endParaRPr lang="en-US" sz="1199" dirty="0" err="1"/>
              </a:p>
            </p:txBody>
          </p:sp>
          <p:sp>
            <p:nvSpPr>
              <p:cNvPr id="150" name="Rounded Rectangle 149"/>
              <p:cNvSpPr/>
              <p:nvPr/>
            </p:nvSpPr>
            <p:spPr>
              <a:xfrm rot="14940000" flipH="1">
                <a:off x="7801157" y="3592107"/>
                <a:ext cx="18287" cy="13716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27" tIns="91427" rIns="91427" bIns="91427"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a:endParaRPr lang="en-US" sz="1199" dirty="0" err="1"/>
              </a:p>
            </p:txBody>
          </p:sp>
        </p:grpSp>
      </p:grpSp>
      <p:grpSp>
        <p:nvGrpSpPr>
          <p:cNvPr id="5" name="Group 4"/>
          <p:cNvGrpSpPr/>
          <p:nvPr/>
        </p:nvGrpSpPr>
        <p:grpSpPr>
          <a:xfrm>
            <a:off x="458017" y="3751400"/>
            <a:ext cx="4281917" cy="2479342"/>
            <a:chOff x="457199" y="3751436"/>
            <a:chExt cx="4282524" cy="2479694"/>
          </a:xfrm>
        </p:grpSpPr>
        <p:sp>
          <p:nvSpPr>
            <p:cNvPr id="60" name="Rectangle 59"/>
            <p:cNvSpPr/>
            <p:nvPr/>
          </p:nvSpPr>
          <p:spPr>
            <a:xfrm>
              <a:off x="457199" y="3753173"/>
              <a:ext cx="1380744" cy="2477957"/>
            </a:xfrm>
            <a:prstGeom prst="rect">
              <a:avLst/>
            </a:prstGeom>
            <a:solidFill>
              <a:schemeClr val="accent2">
                <a:lumMod val="75000"/>
              </a:schemeClr>
            </a:solidFill>
          </p:spPr>
          <p:txBody>
            <a:bodyPr wrap="square" anchor="ctr">
              <a:noAutofit/>
            </a:bodyPr>
            <a:lstStyle/>
            <a:p>
              <a:pPr algn="ctr"/>
              <a:r>
                <a:rPr lang="en-US" sz="3000" spc="-100" dirty="0">
                  <a:ln>
                    <a:solidFill>
                      <a:schemeClr val="tx1">
                        <a:alpha val="0"/>
                      </a:schemeClr>
                    </a:solidFill>
                  </a:ln>
                  <a:latin typeface="+mj-lt"/>
                </a:rPr>
                <a:t>Storage Types</a:t>
              </a:r>
            </a:p>
          </p:txBody>
        </p:sp>
        <p:sp>
          <p:nvSpPr>
            <p:cNvPr id="52" name="Rectangle 51"/>
            <p:cNvSpPr/>
            <p:nvPr/>
          </p:nvSpPr>
          <p:spPr>
            <a:xfrm>
              <a:off x="1905961" y="3751436"/>
              <a:ext cx="1380744" cy="1216152"/>
            </a:xfrm>
            <a:prstGeom prst="rect">
              <a:avLst/>
            </a:prstGeom>
            <a:solidFill>
              <a:schemeClr val="accent2"/>
            </a:solidFill>
            <a:ln w="25400" cap="flat" cmpd="sng" algn="ctr">
              <a:noFill/>
              <a:prstDash val="solid"/>
            </a:ln>
            <a:effectLst/>
          </p:spPr>
          <p:txBody>
            <a:bodyPr lIns="91427" tIns="91427" rIns="91427" bIns="91427"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defRPr/>
              </a:pPr>
              <a:r>
                <a:rPr lang="en-US" sz="1399" dirty="0">
                  <a:ln>
                    <a:solidFill>
                      <a:schemeClr val="tx1">
                        <a:alpha val="0"/>
                      </a:schemeClr>
                    </a:solidFill>
                  </a:ln>
                  <a:solidFill>
                    <a:prstClr val="white"/>
                  </a:solidFill>
                </a:rPr>
                <a:t>Cloud</a:t>
              </a:r>
            </a:p>
          </p:txBody>
        </p:sp>
        <p:sp>
          <p:nvSpPr>
            <p:cNvPr id="53" name="Rectangle 52"/>
            <p:cNvSpPr/>
            <p:nvPr/>
          </p:nvSpPr>
          <p:spPr>
            <a:xfrm>
              <a:off x="3354723" y="3751436"/>
              <a:ext cx="1380744" cy="1216152"/>
            </a:xfrm>
            <a:prstGeom prst="rect">
              <a:avLst/>
            </a:prstGeom>
            <a:solidFill>
              <a:schemeClr val="accent2"/>
            </a:solidFill>
            <a:ln w="25400" cap="flat" cmpd="sng" algn="ctr">
              <a:noFill/>
              <a:prstDash val="solid"/>
            </a:ln>
            <a:effectLst/>
          </p:spPr>
          <p:txBody>
            <a:bodyPr lIns="91427" tIns="91427" rIns="91427" bIns="91427"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defRPr/>
              </a:pPr>
              <a:r>
                <a:rPr lang="en-US" sz="1399" dirty="0">
                  <a:ln>
                    <a:solidFill>
                      <a:schemeClr val="tx1">
                        <a:alpha val="0"/>
                      </a:schemeClr>
                    </a:solidFill>
                  </a:ln>
                  <a:solidFill>
                    <a:prstClr val="white"/>
                  </a:solidFill>
                </a:rPr>
                <a:t>Local</a:t>
              </a:r>
            </a:p>
          </p:txBody>
        </p:sp>
        <p:pic>
          <p:nvPicPr>
            <p:cNvPr id="113" name="Picture 2" descr="C:\Users\chrisw\Desktop\Cloud Services 3.png"/>
            <p:cNvPicPr>
              <a:picLocks noChangeAspect="1" noChangeArrowheads="1"/>
            </p:cNvPicPr>
            <p:nvPr/>
          </p:nvPicPr>
          <p:blipFill>
            <a:blip r:embed="rId10" cstate="screen">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rcRect/>
            <a:stretch>
              <a:fillRect/>
            </a:stretch>
          </p:blipFill>
          <p:spPr bwMode="black">
            <a:xfrm>
              <a:off x="2320470" y="4193830"/>
              <a:ext cx="904219" cy="623474"/>
            </a:xfrm>
            <a:prstGeom prst="rect">
              <a:avLst/>
            </a:prstGeom>
            <a:noFill/>
            <a:extLst>
              <a:ext uri="{909E8E84-426E-40DD-AFC4-6F175D3DCCD1}">
                <a14:hiddenFill xmlns:a14="http://schemas.microsoft.com/office/drawing/2010/main">
                  <a:solidFill>
                    <a:srgbClr val="FFFFFF"/>
                  </a:solidFill>
                </a14:hiddenFill>
              </a:ext>
            </a:extLst>
          </p:spPr>
        </p:pic>
        <p:grpSp>
          <p:nvGrpSpPr>
            <p:cNvPr id="118" name="Group 117"/>
            <p:cNvGrpSpPr/>
            <p:nvPr/>
          </p:nvGrpSpPr>
          <p:grpSpPr>
            <a:xfrm>
              <a:off x="3763705" y="4365462"/>
              <a:ext cx="779147" cy="423873"/>
              <a:chOff x="8552023" y="3607917"/>
              <a:chExt cx="1611801" cy="919775"/>
            </a:xfrm>
          </p:grpSpPr>
          <p:grpSp>
            <p:nvGrpSpPr>
              <p:cNvPr id="119" name="Group 118"/>
              <p:cNvGrpSpPr>
                <a:grpSpLocks noChangeAspect="1"/>
              </p:cNvGrpSpPr>
              <p:nvPr/>
            </p:nvGrpSpPr>
            <p:grpSpPr>
              <a:xfrm>
                <a:off x="8552023" y="3607917"/>
                <a:ext cx="708282" cy="919775"/>
                <a:chOff x="377825" y="1184276"/>
                <a:chExt cx="1020763" cy="1325563"/>
              </a:xfrm>
              <a:solidFill>
                <a:schemeClr val="bg1">
                  <a:lumMod val="50000"/>
                </a:schemeClr>
              </a:solidFill>
            </p:grpSpPr>
            <p:sp>
              <p:nvSpPr>
                <p:cNvPr id="125" name="Oval 122"/>
                <p:cNvSpPr>
                  <a:spLocks noChangeArrowheads="1"/>
                </p:cNvSpPr>
                <p:nvPr/>
              </p:nvSpPr>
              <p:spPr bwMode="auto">
                <a:xfrm>
                  <a:off x="395288" y="1184276"/>
                  <a:ext cx="985838" cy="187325"/>
                </a:xfrm>
                <a:prstGeom prst="ellipse">
                  <a:avLst/>
                </a:prstGeom>
                <a:solidFill>
                  <a:srgbClr val="FFFFFF"/>
                </a:solidFill>
                <a:ln w="10795" cap="flat" cmpd="sng" algn="ctr">
                  <a:noFill/>
                  <a:prstDash val="solid"/>
                </a:ln>
                <a:effectLst/>
                <a:extLst/>
              </p:spPr>
              <p:txBody>
                <a:bodyPr rtlCol="0" anchor="ctr"/>
                <a:lstStyle/>
                <a:p>
                  <a:pPr algn="ctr" defTabSz="932380"/>
                  <a:endParaRPr lang="en-US" sz="1836" kern="0">
                    <a:solidFill>
                      <a:srgbClr val="FFFFFF"/>
                    </a:solidFill>
                  </a:endParaRPr>
                </a:p>
              </p:txBody>
            </p:sp>
            <p:sp>
              <p:nvSpPr>
                <p:cNvPr id="126" name="Freeform 123"/>
                <p:cNvSpPr>
                  <a:spLocks noEditPoints="1"/>
                </p:cNvSpPr>
                <p:nvPr/>
              </p:nvSpPr>
              <p:spPr bwMode="auto">
                <a:xfrm>
                  <a:off x="377825" y="1314451"/>
                  <a:ext cx="1020763" cy="119538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FFFFFF"/>
                </a:solidFill>
                <a:ln w="10795" cap="flat" cmpd="sng" algn="ctr">
                  <a:noFill/>
                  <a:prstDash val="solid"/>
                </a:ln>
                <a:effectLst/>
                <a:extLst/>
              </p:spPr>
              <p:txBody>
                <a:bodyPr rtlCol="0" anchor="ctr"/>
                <a:lstStyle/>
                <a:p>
                  <a:pPr algn="ctr" defTabSz="932380"/>
                  <a:endParaRPr lang="en-US" sz="1836" kern="0">
                    <a:solidFill>
                      <a:srgbClr val="FFFFFF"/>
                    </a:solidFill>
                  </a:endParaRPr>
                </a:p>
              </p:txBody>
            </p:sp>
          </p:grpSp>
          <p:grpSp>
            <p:nvGrpSpPr>
              <p:cNvPr id="120" name="Group 119"/>
              <p:cNvGrpSpPr/>
              <p:nvPr/>
            </p:nvGrpSpPr>
            <p:grpSpPr>
              <a:xfrm>
                <a:off x="9184499" y="3635263"/>
                <a:ext cx="979325" cy="865082"/>
                <a:chOff x="1170623" y="2446020"/>
                <a:chExt cx="3450519" cy="3048000"/>
              </a:xfrm>
              <a:solidFill>
                <a:schemeClr val="accent3"/>
              </a:solidFill>
            </p:grpSpPr>
            <p:sp>
              <p:nvSpPr>
                <p:cNvPr id="121" name="Trapezoid 34"/>
                <p:cNvSpPr/>
                <p:nvPr/>
              </p:nvSpPr>
              <p:spPr>
                <a:xfrm>
                  <a:off x="1334630" y="2446020"/>
                  <a:ext cx="3136652" cy="3048000"/>
                </a:xfrm>
                <a:custGeom>
                  <a:avLst/>
                  <a:gdLst/>
                  <a:ahLst/>
                  <a:cxnLst/>
                  <a:rect l="l" t="t" r="r" b="b"/>
                  <a:pathLst>
                    <a:path w="3136652" h="3048000">
                      <a:moveTo>
                        <a:pt x="3024077" y="330178"/>
                      </a:moveTo>
                      <a:lnTo>
                        <a:pt x="3136652" y="350520"/>
                      </a:lnTo>
                      <a:lnTo>
                        <a:pt x="2361070" y="3048000"/>
                      </a:lnTo>
                      <a:lnTo>
                        <a:pt x="0" y="2429286"/>
                      </a:lnTo>
                      <a:lnTo>
                        <a:pt x="2299158" y="2789395"/>
                      </a:lnTo>
                      <a:close/>
                      <a:moveTo>
                        <a:pt x="1196868" y="0"/>
                      </a:moveTo>
                      <a:lnTo>
                        <a:pt x="1399962" y="36699"/>
                      </a:lnTo>
                      <a:lnTo>
                        <a:pt x="1185963" y="19046"/>
                      </a:lnTo>
                      <a:close/>
                    </a:path>
                  </a:pathLst>
                </a:custGeom>
                <a:solidFill>
                  <a:srgbClr val="FFFFFF"/>
                </a:solidFill>
                <a:ln w="10795" cap="flat" cmpd="sng" algn="ctr">
                  <a:noFill/>
                  <a:prstDash val="solid"/>
                </a:ln>
                <a:effectLst/>
              </p:spPr>
              <p:txBody>
                <a:bodyPr rtlCol="0" anchor="ctr"/>
                <a:lstStyle/>
                <a:p>
                  <a:pPr algn="ctr" defTabSz="932380"/>
                  <a:endParaRPr lang="en-US" sz="1836" kern="0">
                    <a:solidFill>
                      <a:srgbClr val="FFFFFF"/>
                    </a:solidFill>
                  </a:endParaRPr>
                </a:p>
              </p:txBody>
            </p:sp>
            <p:sp>
              <p:nvSpPr>
                <p:cNvPr id="122" name="Trapezoid 34"/>
                <p:cNvSpPr/>
                <p:nvPr/>
              </p:nvSpPr>
              <p:spPr>
                <a:xfrm>
                  <a:off x="1234123" y="2639695"/>
                  <a:ext cx="3387019" cy="2768600"/>
                </a:xfrm>
                <a:custGeom>
                  <a:avLst/>
                  <a:gdLst>
                    <a:gd name="connsiteX0" fmla="*/ 0 w 2926080"/>
                    <a:gd name="connsiteY0" fmla="*/ 2103120 h 2103120"/>
                    <a:gd name="connsiteX1" fmla="*/ 268358 w 2926080"/>
                    <a:gd name="connsiteY1" fmla="*/ 0 h 2103120"/>
                    <a:gd name="connsiteX2" fmla="*/ 2657722 w 2926080"/>
                    <a:gd name="connsiteY2" fmla="*/ 0 h 2103120"/>
                    <a:gd name="connsiteX3" fmla="*/ 2926080 w 2926080"/>
                    <a:gd name="connsiteY3" fmla="*/ 2103120 h 2103120"/>
                    <a:gd name="connsiteX4" fmla="*/ 0 w 2926080"/>
                    <a:gd name="connsiteY4" fmla="*/ 2103120 h 2103120"/>
                    <a:gd name="connsiteX0" fmla="*/ 0 w 3412102"/>
                    <a:gd name="connsiteY0" fmla="*/ 2141220 h 2141220"/>
                    <a:gd name="connsiteX1" fmla="*/ 268358 w 3412102"/>
                    <a:gd name="connsiteY1" fmla="*/ 38100 h 2141220"/>
                    <a:gd name="connsiteX2" fmla="*/ 3412102 w 3412102"/>
                    <a:gd name="connsiteY2" fmla="*/ 0 h 2141220"/>
                    <a:gd name="connsiteX3" fmla="*/ 2926080 w 3412102"/>
                    <a:gd name="connsiteY3" fmla="*/ 2141220 h 2141220"/>
                    <a:gd name="connsiteX4" fmla="*/ 0 w 3412102"/>
                    <a:gd name="connsiteY4" fmla="*/ 2141220 h 2141220"/>
                    <a:gd name="connsiteX0" fmla="*/ 0 w 3412102"/>
                    <a:gd name="connsiteY0" fmla="*/ 2453640 h 2453640"/>
                    <a:gd name="connsiteX1" fmla="*/ 1289438 w 3412102"/>
                    <a:gd name="connsiteY1" fmla="*/ 0 h 2453640"/>
                    <a:gd name="connsiteX2" fmla="*/ 3412102 w 3412102"/>
                    <a:gd name="connsiteY2" fmla="*/ 312420 h 2453640"/>
                    <a:gd name="connsiteX3" fmla="*/ 2926080 w 3412102"/>
                    <a:gd name="connsiteY3" fmla="*/ 2453640 h 2453640"/>
                    <a:gd name="connsiteX4" fmla="*/ 0 w 3412102"/>
                    <a:gd name="connsiteY4" fmla="*/ 2453640 h 2453640"/>
                    <a:gd name="connsiteX0" fmla="*/ 0 w 3412102"/>
                    <a:gd name="connsiteY0" fmla="*/ 2453640 h 3070860"/>
                    <a:gd name="connsiteX1" fmla="*/ 1289438 w 3412102"/>
                    <a:gd name="connsiteY1" fmla="*/ 0 h 3070860"/>
                    <a:gd name="connsiteX2" fmla="*/ 3412102 w 3412102"/>
                    <a:gd name="connsiteY2" fmla="*/ 312420 h 3070860"/>
                    <a:gd name="connsiteX3" fmla="*/ 2674620 w 3412102"/>
                    <a:gd name="connsiteY3" fmla="*/ 3070860 h 3070860"/>
                    <a:gd name="connsiteX4" fmla="*/ 0 w 3412102"/>
                    <a:gd name="connsiteY4" fmla="*/ 2453640 h 3070860"/>
                    <a:gd name="connsiteX0" fmla="*/ 0 w 3374002"/>
                    <a:gd name="connsiteY0" fmla="*/ 2453640 h 3070860"/>
                    <a:gd name="connsiteX1" fmla="*/ 1289438 w 3374002"/>
                    <a:gd name="connsiteY1" fmla="*/ 0 h 3070860"/>
                    <a:gd name="connsiteX2" fmla="*/ 3374002 w 3374002"/>
                    <a:gd name="connsiteY2" fmla="*/ 312420 h 3070860"/>
                    <a:gd name="connsiteX3" fmla="*/ 2674620 w 3374002"/>
                    <a:gd name="connsiteY3" fmla="*/ 3070860 h 3070860"/>
                    <a:gd name="connsiteX4" fmla="*/ 0 w 3374002"/>
                    <a:gd name="connsiteY4" fmla="*/ 2453640 h 3070860"/>
                    <a:gd name="connsiteX0" fmla="*/ 0 w 3328282"/>
                    <a:gd name="connsiteY0" fmla="*/ 2407920 h 3070860"/>
                    <a:gd name="connsiteX1" fmla="*/ 1243718 w 3328282"/>
                    <a:gd name="connsiteY1" fmla="*/ 0 h 3070860"/>
                    <a:gd name="connsiteX2" fmla="*/ 3328282 w 3328282"/>
                    <a:gd name="connsiteY2" fmla="*/ 312420 h 3070860"/>
                    <a:gd name="connsiteX3" fmla="*/ 2628900 w 3328282"/>
                    <a:gd name="connsiteY3" fmla="*/ 3070860 h 3070860"/>
                    <a:gd name="connsiteX4" fmla="*/ 0 w 3328282"/>
                    <a:gd name="connsiteY4" fmla="*/ 2407920 h 3070860"/>
                    <a:gd name="connsiteX0" fmla="*/ 0 w 3328282"/>
                    <a:gd name="connsiteY0" fmla="*/ 2385060 h 3048000"/>
                    <a:gd name="connsiteX1" fmla="*/ 1365638 w 3328282"/>
                    <a:gd name="connsiteY1" fmla="*/ 0 h 3048000"/>
                    <a:gd name="connsiteX2" fmla="*/ 3328282 w 3328282"/>
                    <a:gd name="connsiteY2" fmla="*/ 289560 h 3048000"/>
                    <a:gd name="connsiteX3" fmla="*/ 2628900 w 3328282"/>
                    <a:gd name="connsiteY3" fmla="*/ 3048000 h 3048000"/>
                    <a:gd name="connsiteX4" fmla="*/ 0 w 3328282"/>
                    <a:gd name="connsiteY4" fmla="*/ 2385060 h 3048000"/>
                    <a:gd name="connsiteX0" fmla="*/ 0 w 3305422"/>
                    <a:gd name="connsiteY0" fmla="*/ 2385060 h 3048000"/>
                    <a:gd name="connsiteX1" fmla="*/ 1365638 w 3305422"/>
                    <a:gd name="connsiteY1" fmla="*/ 0 h 3048000"/>
                    <a:gd name="connsiteX2" fmla="*/ 3305422 w 3305422"/>
                    <a:gd name="connsiteY2" fmla="*/ 350520 h 3048000"/>
                    <a:gd name="connsiteX3" fmla="*/ 2628900 w 3305422"/>
                    <a:gd name="connsiteY3" fmla="*/ 3048000 h 3048000"/>
                    <a:gd name="connsiteX4" fmla="*/ 0 w 3305422"/>
                    <a:gd name="connsiteY4" fmla="*/ 2385060 h 3048000"/>
                    <a:gd name="connsiteX0" fmla="*/ 0 w 3305422"/>
                    <a:gd name="connsiteY0" fmla="*/ 2385060 h 3124200"/>
                    <a:gd name="connsiteX1" fmla="*/ 1365638 w 3305422"/>
                    <a:gd name="connsiteY1" fmla="*/ 0 h 3124200"/>
                    <a:gd name="connsiteX2" fmla="*/ 3305422 w 3305422"/>
                    <a:gd name="connsiteY2" fmla="*/ 350520 h 3124200"/>
                    <a:gd name="connsiteX3" fmla="*/ 2537460 w 3305422"/>
                    <a:gd name="connsiteY3" fmla="*/ 3124200 h 3124200"/>
                    <a:gd name="connsiteX4" fmla="*/ 0 w 3305422"/>
                    <a:gd name="connsiteY4" fmla="*/ 2385060 h 3124200"/>
                    <a:gd name="connsiteX0" fmla="*/ 0 w 3305422"/>
                    <a:gd name="connsiteY0" fmla="*/ 2385060 h 3048000"/>
                    <a:gd name="connsiteX1" fmla="*/ 1365638 w 3305422"/>
                    <a:gd name="connsiteY1" fmla="*/ 0 h 3048000"/>
                    <a:gd name="connsiteX2" fmla="*/ 3305422 w 3305422"/>
                    <a:gd name="connsiteY2" fmla="*/ 350520 h 3048000"/>
                    <a:gd name="connsiteX3" fmla="*/ 2529840 w 3305422"/>
                    <a:gd name="connsiteY3" fmla="*/ 3048000 h 3048000"/>
                    <a:gd name="connsiteX4" fmla="*/ 0 w 3305422"/>
                    <a:gd name="connsiteY4" fmla="*/ 2385060 h 3048000"/>
                    <a:gd name="connsiteX0" fmla="*/ 0 w 3300659"/>
                    <a:gd name="connsiteY0" fmla="*/ 2480310 h 3048000"/>
                    <a:gd name="connsiteX1" fmla="*/ 1360875 w 3300659"/>
                    <a:gd name="connsiteY1" fmla="*/ 0 h 3048000"/>
                    <a:gd name="connsiteX2" fmla="*/ 3300659 w 3300659"/>
                    <a:gd name="connsiteY2" fmla="*/ 350520 h 3048000"/>
                    <a:gd name="connsiteX3" fmla="*/ 2525077 w 3300659"/>
                    <a:gd name="connsiteY3" fmla="*/ 3048000 h 3048000"/>
                    <a:gd name="connsiteX4" fmla="*/ 0 w 3300659"/>
                    <a:gd name="connsiteY4" fmla="*/ 2480310 h 3048000"/>
                    <a:gd name="connsiteX0" fmla="*/ 0 w 3300659"/>
                    <a:gd name="connsiteY0" fmla="*/ 2480310 h 2876550"/>
                    <a:gd name="connsiteX1" fmla="*/ 1360875 w 3300659"/>
                    <a:gd name="connsiteY1" fmla="*/ 0 h 2876550"/>
                    <a:gd name="connsiteX2" fmla="*/ 3300659 w 3300659"/>
                    <a:gd name="connsiteY2" fmla="*/ 350520 h 2876550"/>
                    <a:gd name="connsiteX3" fmla="*/ 2529840 w 3300659"/>
                    <a:gd name="connsiteY3" fmla="*/ 2876550 h 2876550"/>
                    <a:gd name="connsiteX4" fmla="*/ 0 w 3300659"/>
                    <a:gd name="connsiteY4" fmla="*/ 2480310 h 2876550"/>
                    <a:gd name="connsiteX0" fmla="*/ 0 w 3300659"/>
                    <a:gd name="connsiteY0" fmla="*/ 2480310 h 2876550"/>
                    <a:gd name="connsiteX1" fmla="*/ 1360875 w 3300659"/>
                    <a:gd name="connsiteY1" fmla="*/ 0 h 2876550"/>
                    <a:gd name="connsiteX2" fmla="*/ 3300659 w 3300659"/>
                    <a:gd name="connsiteY2" fmla="*/ 261620 h 2876550"/>
                    <a:gd name="connsiteX3" fmla="*/ 2529840 w 3300659"/>
                    <a:gd name="connsiteY3" fmla="*/ 2876550 h 2876550"/>
                    <a:gd name="connsiteX4" fmla="*/ 0 w 3300659"/>
                    <a:gd name="connsiteY4" fmla="*/ 2480310 h 2876550"/>
                    <a:gd name="connsiteX0" fmla="*/ 0 w 3300659"/>
                    <a:gd name="connsiteY0" fmla="*/ 2218690 h 2614930"/>
                    <a:gd name="connsiteX1" fmla="*/ 1418025 w 3300659"/>
                    <a:gd name="connsiteY1" fmla="*/ 43180 h 2614930"/>
                    <a:gd name="connsiteX2" fmla="*/ 3300659 w 3300659"/>
                    <a:gd name="connsiteY2" fmla="*/ 0 h 2614930"/>
                    <a:gd name="connsiteX3" fmla="*/ 2529840 w 3300659"/>
                    <a:gd name="connsiteY3" fmla="*/ 2614930 h 2614930"/>
                    <a:gd name="connsiteX4" fmla="*/ 0 w 3300659"/>
                    <a:gd name="connsiteY4" fmla="*/ 2218690 h 2614930"/>
                    <a:gd name="connsiteX0" fmla="*/ 0 w 3300659"/>
                    <a:gd name="connsiteY0" fmla="*/ 2378710 h 2774950"/>
                    <a:gd name="connsiteX1" fmla="*/ 1360875 w 3300659"/>
                    <a:gd name="connsiteY1" fmla="*/ 0 h 2774950"/>
                    <a:gd name="connsiteX2" fmla="*/ 3300659 w 3300659"/>
                    <a:gd name="connsiteY2" fmla="*/ 160020 h 2774950"/>
                    <a:gd name="connsiteX3" fmla="*/ 2529840 w 3300659"/>
                    <a:gd name="connsiteY3" fmla="*/ 2774950 h 2774950"/>
                    <a:gd name="connsiteX4" fmla="*/ 0 w 3300659"/>
                    <a:gd name="connsiteY4" fmla="*/ 2378710 h 2774950"/>
                    <a:gd name="connsiteX0" fmla="*/ 0 w 3389559"/>
                    <a:gd name="connsiteY0" fmla="*/ 2378710 h 2774950"/>
                    <a:gd name="connsiteX1" fmla="*/ 1360875 w 3389559"/>
                    <a:gd name="connsiteY1" fmla="*/ 0 h 2774950"/>
                    <a:gd name="connsiteX2" fmla="*/ 3389559 w 3389559"/>
                    <a:gd name="connsiteY2" fmla="*/ 280670 h 2774950"/>
                    <a:gd name="connsiteX3" fmla="*/ 2529840 w 3389559"/>
                    <a:gd name="connsiteY3" fmla="*/ 2774950 h 2774950"/>
                    <a:gd name="connsiteX4" fmla="*/ 0 w 3389559"/>
                    <a:gd name="connsiteY4" fmla="*/ 2378710 h 2774950"/>
                    <a:gd name="connsiteX0" fmla="*/ 0 w 3389559"/>
                    <a:gd name="connsiteY0" fmla="*/ 2321560 h 2717800"/>
                    <a:gd name="connsiteX1" fmla="*/ 1487875 w 3389559"/>
                    <a:gd name="connsiteY1" fmla="*/ 0 h 2717800"/>
                    <a:gd name="connsiteX2" fmla="*/ 3389559 w 3389559"/>
                    <a:gd name="connsiteY2" fmla="*/ 223520 h 2717800"/>
                    <a:gd name="connsiteX3" fmla="*/ 2529840 w 3389559"/>
                    <a:gd name="connsiteY3" fmla="*/ 2717800 h 2717800"/>
                    <a:gd name="connsiteX4" fmla="*/ 0 w 3389559"/>
                    <a:gd name="connsiteY4" fmla="*/ 2321560 h 2717800"/>
                    <a:gd name="connsiteX0" fmla="*/ 0 w 3326059"/>
                    <a:gd name="connsiteY0" fmla="*/ 2150110 h 2717800"/>
                    <a:gd name="connsiteX1" fmla="*/ 1424375 w 3326059"/>
                    <a:gd name="connsiteY1" fmla="*/ 0 h 2717800"/>
                    <a:gd name="connsiteX2" fmla="*/ 3326059 w 3326059"/>
                    <a:gd name="connsiteY2" fmla="*/ 223520 h 2717800"/>
                    <a:gd name="connsiteX3" fmla="*/ 2466340 w 3326059"/>
                    <a:gd name="connsiteY3" fmla="*/ 2717800 h 2717800"/>
                    <a:gd name="connsiteX4" fmla="*/ 0 w 3326059"/>
                    <a:gd name="connsiteY4" fmla="*/ 2150110 h 2717800"/>
                    <a:gd name="connsiteX0" fmla="*/ 0 w 3326059"/>
                    <a:gd name="connsiteY0" fmla="*/ 2150110 h 2749550"/>
                    <a:gd name="connsiteX1" fmla="*/ 1424375 w 3326059"/>
                    <a:gd name="connsiteY1" fmla="*/ 0 h 2749550"/>
                    <a:gd name="connsiteX2" fmla="*/ 3326059 w 3326059"/>
                    <a:gd name="connsiteY2" fmla="*/ 223520 h 2749550"/>
                    <a:gd name="connsiteX3" fmla="*/ 2523490 w 3326059"/>
                    <a:gd name="connsiteY3" fmla="*/ 2749550 h 2749550"/>
                    <a:gd name="connsiteX4" fmla="*/ 0 w 3326059"/>
                    <a:gd name="connsiteY4" fmla="*/ 2150110 h 2749550"/>
                    <a:gd name="connsiteX0" fmla="*/ 0 w 3326059"/>
                    <a:gd name="connsiteY0" fmla="*/ 2150110 h 2768600"/>
                    <a:gd name="connsiteX1" fmla="*/ 1424375 w 3326059"/>
                    <a:gd name="connsiteY1" fmla="*/ 0 h 2768600"/>
                    <a:gd name="connsiteX2" fmla="*/ 3326059 w 3326059"/>
                    <a:gd name="connsiteY2" fmla="*/ 223520 h 2768600"/>
                    <a:gd name="connsiteX3" fmla="*/ 2561590 w 3326059"/>
                    <a:gd name="connsiteY3" fmla="*/ 2768600 h 2768600"/>
                    <a:gd name="connsiteX4" fmla="*/ 0 w 3326059"/>
                    <a:gd name="connsiteY4" fmla="*/ 2150110 h 2768600"/>
                    <a:gd name="connsiteX0" fmla="*/ 0 w 3387019"/>
                    <a:gd name="connsiteY0" fmla="*/ 2150110 h 2768600"/>
                    <a:gd name="connsiteX1" fmla="*/ 1424375 w 3387019"/>
                    <a:gd name="connsiteY1" fmla="*/ 0 h 2768600"/>
                    <a:gd name="connsiteX2" fmla="*/ 3387019 w 3387019"/>
                    <a:gd name="connsiteY2" fmla="*/ 254000 h 2768600"/>
                    <a:gd name="connsiteX3" fmla="*/ 2561590 w 3387019"/>
                    <a:gd name="connsiteY3" fmla="*/ 2768600 h 2768600"/>
                    <a:gd name="connsiteX4" fmla="*/ 0 w 3387019"/>
                    <a:gd name="connsiteY4" fmla="*/ 2150110 h 276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87019" h="2768600">
                      <a:moveTo>
                        <a:pt x="0" y="2150110"/>
                      </a:moveTo>
                      <a:lnTo>
                        <a:pt x="1424375" y="0"/>
                      </a:lnTo>
                      <a:lnTo>
                        <a:pt x="3387019" y="254000"/>
                      </a:lnTo>
                      <a:lnTo>
                        <a:pt x="2561590" y="2768600"/>
                      </a:lnTo>
                      <a:lnTo>
                        <a:pt x="0" y="2150110"/>
                      </a:lnTo>
                      <a:close/>
                    </a:path>
                  </a:pathLst>
                </a:custGeom>
                <a:solidFill>
                  <a:srgbClr val="FFFFFF"/>
                </a:solidFill>
                <a:ln w="10795" cap="flat" cmpd="sng" algn="ctr">
                  <a:noFill/>
                  <a:prstDash val="solid"/>
                </a:ln>
                <a:effectLst/>
              </p:spPr>
              <p:txBody>
                <a:bodyPr rtlCol="0" anchor="ctr"/>
                <a:lstStyle/>
                <a:p>
                  <a:pPr algn="ctr" defTabSz="932380"/>
                  <a:endParaRPr lang="en-US" sz="1836" kern="0">
                    <a:solidFill>
                      <a:srgbClr val="FFFFFF"/>
                    </a:solidFill>
                  </a:endParaRPr>
                </a:p>
              </p:txBody>
            </p:sp>
            <p:sp>
              <p:nvSpPr>
                <p:cNvPr id="123" name="Trapezoid 34"/>
                <p:cNvSpPr/>
                <p:nvPr/>
              </p:nvSpPr>
              <p:spPr>
                <a:xfrm>
                  <a:off x="1205318" y="2639693"/>
                  <a:ext cx="3275808" cy="2706686"/>
                </a:xfrm>
                <a:custGeom>
                  <a:avLst/>
                  <a:gdLst>
                    <a:gd name="connsiteX0" fmla="*/ 0 w 2926080"/>
                    <a:gd name="connsiteY0" fmla="*/ 2103120 h 2103120"/>
                    <a:gd name="connsiteX1" fmla="*/ 268358 w 2926080"/>
                    <a:gd name="connsiteY1" fmla="*/ 0 h 2103120"/>
                    <a:gd name="connsiteX2" fmla="*/ 2657722 w 2926080"/>
                    <a:gd name="connsiteY2" fmla="*/ 0 h 2103120"/>
                    <a:gd name="connsiteX3" fmla="*/ 2926080 w 2926080"/>
                    <a:gd name="connsiteY3" fmla="*/ 2103120 h 2103120"/>
                    <a:gd name="connsiteX4" fmla="*/ 0 w 2926080"/>
                    <a:gd name="connsiteY4" fmla="*/ 2103120 h 2103120"/>
                    <a:gd name="connsiteX0" fmla="*/ 0 w 3412102"/>
                    <a:gd name="connsiteY0" fmla="*/ 2141220 h 2141220"/>
                    <a:gd name="connsiteX1" fmla="*/ 268358 w 3412102"/>
                    <a:gd name="connsiteY1" fmla="*/ 38100 h 2141220"/>
                    <a:gd name="connsiteX2" fmla="*/ 3412102 w 3412102"/>
                    <a:gd name="connsiteY2" fmla="*/ 0 h 2141220"/>
                    <a:gd name="connsiteX3" fmla="*/ 2926080 w 3412102"/>
                    <a:gd name="connsiteY3" fmla="*/ 2141220 h 2141220"/>
                    <a:gd name="connsiteX4" fmla="*/ 0 w 3412102"/>
                    <a:gd name="connsiteY4" fmla="*/ 2141220 h 2141220"/>
                    <a:gd name="connsiteX0" fmla="*/ 0 w 3412102"/>
                    <a:gd name="connsiteY0" fmla="*/ 2453640 h 2453640"/>
                    <a:gd name="connsiteX1" fmla="*/ 1289438 w 3412102"/>
                    <a:gd name="connsiteY1" fmla="*/ 0 h 2453640"/>
                    <a:gd name="connsiteX2" fmla="*/ 3412102 w 3412102"/>
                    <a:gd name="connsiteY2" fmla="*/ 312420 h 2453640"/>
                    <a:gd name="connsiteX3" fmla="*/ 2926080 w 3412102"/>
                    <a:gd name="connsiteY3" fmla="*/ 2453640 h 2453640"/>
                    <a:gd name="connsiteX4" fmla="*/ 0 w 3412102"/>
                    <a:gd name="connsiteY4" fmla="*/ 2453640 h 2453640"/>
                    <a:gd name="connsiteX0" fmla="*/ 0 w 3412102"/>
                    <a:gd name="connsiteY0" fmla="*/ 2453640 h 3070860"/>
                    <a:gd name="connsiteX1" fmla="*/ 1289438 w 3412102"/>
                    <a:gd name="connsiteY1" fmla="*/ 0 h 3070860"/>
                    <a:gd name="connsiteX2" fmla="*/ 3412102 w 3412102"/>
                    <a:gd name="connsiteY2" fmla="*/ 312420 h 3070860"/>
                    <a:gd name="connsiteX3" fmla="*/ 2674620 w 3412102"/>
                    <a:gd name="connsiteY3" fmla="*/ 3070860 h 3070860"/>
                    <a:gd name="connsiteX4" fmla="*/ 0 w 3412102"/>
                    <a:gd name="connsiteY4" fmla="*/ 2453640 h 3070860"/>
                    <a:gd name="connsiteX0" fmla="*/ 0 w 3374002"/>
                    <a:gd name="connsiteY0" fmla="*/ 2453640 h 3070860"/>
                    <a:gd name="connsiteX1" fmla="*/ 1289438 w 3374002"/>
                    <a:gd name="connsiteY1" fmla="*/ 0 h 3070860"/>
                    <a:gd name="connsiteX2" fmla="*/ 3374002 w 3374002"/>
                    <a:gd name="connsiteY2" fmla="*/ 312420 h 3070860"/>
                    <a:gd name="connsiteX3" fmla="*/ 2674620 w 3374002"/>
                    <a:gd name="connsiteY3" fmla="*/ 3070860 h 3070860"/>
                    <a:gd name="connsiteX4" fmla="*/ 0 w 3374002"/>
                    <a:gd name="connsiteY4" fmla="*/ 2453640 h 3070860"/>
                    <a:gd name="connsiteX0" fmla="*/ 0 w 3328282"/>
                    <a:gd name="connsiteY0" fmla="*/ 2407920 h 3070860"/>
                    <a:gd name="connsiteX1" fmla="*/ 1243718 w 3328282"/>
                    <a:gd name="connsiteY1" fmla="*/ 0 h 3070860"/>
                    <a:gd name="connsiteX2" fmla="*/ 3328282 w 3328282"/>
                    <a:gd name="connsiteY2" fmla="*/ 312420 h 3070860"/>
                    <a:gd name="connsiteX3" fmla="*/ 2628900 w 3328282"/>
                    <a:gd name="connsiteY3" fmla="*/ 3070860 h 3070860"/>
                    <a:gd name="connsiteX4" fmla="*/ 0 w 3328282"/>
                    <a:gd name="connsiteY4" fmla="*/ 2407920 h 3070860"/>
                    <a:gd name="connsiteX0" fmla="*/ 0 w 3328282"/>
                    <a:gd name="connsiteY0" fmla="*/ 2385060 h 3048000"/>
                    <a:gd name="connsiteX1" fmla="*/ 1365638 w 3328282"/>
                    <a:gd name="connsiteY1" fmla="*/ 0 h 3048000"/>
                    <a:gd name="connsiteX2" fmla="*/ 3328282 w 3328282"/>
                    <a:gd name="connsiteY2" fmla="*/ 289560 h 3048000"/>
                    <a:gd name="connsiteX3" fmla="*/ 2628900 w 3328282"/>
                    <a:gd name="connsiteY3" fmla="*/ 3048000 h 3048000"/>
                    <a:gd name="connsiteX4" fmla="*/ 0 w 3328282"/>
                    <a:gd name="connsiteY4" fmla="*/ 2385060 h 3048000"/>
                    <a:gd name="connsiteX0" fmla="*/ 0 w 3305422"/>
                    <a:gd name="connsiteY0" fmla="*/ 2385060 h 3048000"/>
                    <a:gd name="connsiteX1" fmla="*/ 1365638 w 3305422"/>
                    <a:gd name="connsiteY1" fmla="*/ 0 h 3048000"/>
                    <a:gd name="connsiteX2" fmla="*/ 3305422 w 3305422"/>
                    <a:gd name="connsiteY2" fmla="*/ 350520 h 3048000"/>
                    <a:gd name="connsiteX3" fmla="*/ 2628900 w 3305422"/>
                    <a:gd name="connsiteY3" fmla="*/ 3048000 h 3048000"/>
                    <a:gd name="connsiteX4" fmla="*/ 0 w 3305422"/>
                    <a:gd name="connsiteY4" fmla="*/ 2385060 h 3048000"/>
                    <a:gd name="connsiteX0" fmla="*/ 0 w 3305422"/>
                    <a:gd name="connsiteY0" fmla="*/ 2385060 h 3124200"/>
                    <a:gd name="connsiteX1" fmla="*/ 1365638 w 3305422"/>
                    <a:gd name="connsiteY1" fmla="*/ 0 h 3124200"/>
                    <a:gd name="connsiteX2" fmla="*/ 3305422 w 3305422"/>
                    <a:gd name="connsiteY2" fmla="*/ 350520 h 3124200"/>
                    <a:gd name="connsiteX3" fmla="*/ 2537460 w 3305422"/>
                    <a:gd name="connsiteY3" fmla="*/ 3124200 h 3124200"/>
                    <a:gd name="connsiteX4" fmla="*/ 0 w 3305422"/>
                    <a:gd name="connsiteY4" fmla="*/ 2385060 h 3124200"/>
                    <a:gd name="connsiteX0" fmla="*/ 0 w 3305422"/>
                    <a:gd name="connsiteY0" fmla="*/ 2385060 h 3048000"/>
                    <a:gd name="connsiteX1" fmla="*/ 1365638 w 3305422"/>
                    <a:gd name="connsiteY1" fmla="*/ 0 h 3048000"/>
                    <a:gd name="connsiteX2" fmla="*/ 3305422 w 3305422"/>
                    <a:gd name="connsiteY2" fmla="*/ 350520 h 3048000"/>
                    <a:gd name="connsiteX3" fmla="*/ 2529840 w 3305422"/>
                    <a:gd name="connsiteY3" fmla="*/ 3048000 h 3048000"/>
                    <a:gd name="connsiteX4" fmla="*/ 0 w 3305422"/>
                    <a:gd name="connsiteY4" fmla="*/ 2385060 h 3048000"/>
                    <a:gd name="connsiteX0" fmla="*/ 0 w 3300659"/>
                    <a:gd name="connsiteY0" fmla="*/ 2480310 h 3048000"/>
                    <a:gd name="connsiteX1" fmla="*/ 1360875 w 3300659"/>
                    <a:gd name="connsiteY1" fmla="*/ 0 h 3048000"/>
                    <a:gd name="connsiteX2" fmla="*/ 3300659 w 3300659"/>
                    <a:gd name="connsiteY2" fmla="*/ 350520 h 3048000"/>
                    <a:gd name="connsiteX3" fmla="*/ 2525077 w 3300659"/>
                    <a:gd name="connsiteY3" fmla="*/ 3048000 h 3048000"/>
                    <a:gd name="connsiteX4" fmla="*/ 0 w 3300659"/>
                    <a:gd name="connsiteY4" fmla="*/ 2480310 h 3048000"/>
                    <a:gd name="connsiteX0" fmla="*/ 0 w 3300659"/>
                    <a:gd name="connsiteY0" fmla="*/ 2480310 h 2876550"/>
                    <a:gd name="connsiteX1" fmla="*/ 1360875 w 3300659"/>
                    <a:gd name="connsiteY1" fmla="*/ 0 h 2876550"/>
                    <a:gd name="connsiteX2" fmla="*/ 3300659 w 3300659"/>
                    <a:gd name="connsiteY2" fmla="*/ 350520 h 2876550"/>
                    <a:gd name="connsiteX3" fmla="*/ 2529840 w 3300659"/>
                    <a:gd name="connsiteY3" fmla="*/ 2876550 h 2876550"/>
                    <a:gd name="connsiteX4" fmla="*/ 0 w 3300659"/>
                    <a:gd name="connsiteY4" fmla="*/ 2480310 h 2876550"/>
                    <a:gd name="connsiteX0" fmla="*/ 0 w 3300659"/>
                    <a:gd name="connsiteY0" fmla="*/ 2480310 h 2876550"/>
                    <a:gd name="connsiteX1" fmla="*/ 1360875 w 3300659"/>
                    <a:gd name="connsiteY1" fmla="*/ 0 h 2876550"/>
                    <a:gd name="connsiteX2" fmla="*/ 3300659 w 3300659"/>
                    <a:gd name="connsiteY2" fmla="*/ 261620 h 2876550"/>
                    <a:gd name="connsiteX3" fmla="*/ 2529840 w 3300659"/>
                    <a:gd name="connsiteY3" fmla="*/ 2876550 h 2876550"/>
                    <a:gd name="connsiteX4" fmla="*/ 0 w 3300659"/>
                    <a:gd name="connsiteY4" fmla="*/ 2480310 h 2876550"/>
                    <a:gd name="connsiteX0" fmla="*/ 0 w 3300659"/>
                    <a:gd name="connsiteY0" fmla="*/ 2218690 h 2614930"/>
                    <a:gd name="connsiteX1" fmla="*/ 1418025 w 3300659"/>
                    <a:gd name="connsiteY1" fmla="*/ 43180 h 2614930"/>
                    <a:gd name="connsiteX2" fmla="*/ 3300659 w 3300659"/>
                    <a:gd name="connsiteY2" fmla="*/ 0 h 2614930"/>
                    <a:gd name="connsiteX3" fmla="*/ 2529840 w 3300659"/>
                    <a:gd name="connsiteY3" fmla="*/ 2614930 h 2614930"/>
                    <a:gd name="connsiteX4" fmla="*/ 0 w 3300659"/>
                    <a:gd name="connsiteY4" fmla="*/ 2218690 h 2614930"/>
                    <a:gd name="connsiteX0" fmla="*/ 0 w 3300659"/>
                    <a:gd name="connsiteY0" fmla="*/ 2378710 h 2774950"/>
                    <a:gd name="connsiteX1" fmla="*/ 1360875 w 3300659"/>
                    <a:gd name="connsiteY1" fmla="*/ 0 h 2774950"/>
                    <a:gd name="connsiteX2" fmla="*/ 3300659 w 3300659"/>
                    <a:gd name="connsiteY2" fmla="*/ 160020 h 2774950"/>
                    <a:gd name="connsiteX3" fmla="*/ 2529840 w 3300659"/>
                    <a:gd name="connsiteY3" fmla="*/ 2774950 h 2774950"/>
                    <a:gd name="connsiteX4" fmla="*/ 0 w 3300659"/>
                    <a:gd name="connsiteY4" fmla="*/ 2378710 h 2774950"/>
                    <a:gd name="connsiteX0" fmla="*/ 0 w 3389559"/>
                    <a:gd name="connsiteY0" fmla="*/ 2378710 h 2774950"/>
                    <a:gd name="connsiteX1" fmla="*/ 1360875 w 3389559"/>
                    <a:gd name="connsiteY1" fmla="*/ 0 h 2774950"/>
                    <a:gd name="connsiteX2" fmla="*/ 3389559 w 3389559"/>
                    <a:gd name="connsiteY2" fmla="*/ 280670 h 2774950"/>
                    <a:gd name="connsiteX3" fmla="*/ 2529840 w 3389559"/>
                    <a:gd name="connsiteY3" fmla="*/ 2774950 h 2774950"/>
                    <a:gd name="connsiteX4" fmla="*/ 0 w 3389559"/>
                    <a:gd name="connsiteY4" fmla="*/ 2378710 h 2774950"/>
                    <a:gd name="connsiteX0" fmla="*/ 0 w 3389559"/>
                    <a:gd name="connsiteY0" fmla="*/ 2321560 h 2717800"/>
                    <a:gd name="connsiteX1" fmla="*/ 1487875 w 3389559"/>
                    <a:gd name="connsiteY1" fmla="*/ 0 h 2717800"/>
                    <a:gd name="connsiteX2" fmla="*/ 3389559 w 3389559"/>
                    <a:gd name="connsiteY2" fmla="*/ 223520 h 2717800"/>
                    <a:gd name="connsiteX3" fmla="*/ 2529840 w 3389559"/>
                    <a:gd name="connsiteY3" fmla="*/ 2717800 h 2717800"/>
                    <a:gd name="connsiteX4" fmla="*/ 0 w 3389559"/>
                    <a:gd name="connsiteY4" fmla="*/ 2321560 h 2717800"/>
                    <a:gd name="connsiteX0" fmla="*/ 0 w 3326059"/>
                    <a:gd name="connsiteY0" fmla="*/ 2150110 h 2717800"/>
                    <a:gd name="connsiteX1" fmla="*/ 1424375 w 3326059"/>
                    <a:gd name="connsiteY1" fmla="*/ 0 h 2717800"/>
                    <a:gd name="connsiteX2" fmla="*/ 3326059 w 3326059"/>
                    <a:gd name="connsiteY2" fmla="*/ 223520 h 2717800"/>
                    <a:gd name="connsiteX3" fmla="*/ 2466340 w 3326059"/>
                    <a:gd name="connsiteY3" fmla="*/ 2717800 h 2717800"/>
                    <a:gd name="connsiteX4" fmla="*/ 0 w 3326059"/>
                    <a:gd name="connsiteY4" fmla="*/ 2150110 h 2717800"/>
                    <a:gd name="connsiteX0" fmla="*/ 0 w 3326059"/>
                    <a:gd name="connsiteY0" fmla="*/ 2150110 h 2749550"/>
                    <a:gd name="connsiteX1" fmla="*/ 1424375 w 3326059"/>
                    <a:gd name="connsiteY1" fmla="*/ 0 h 2749550"/>
                    <a:gd name="connsiteX2" fmla="*/ 3326059 w 3326059"/>
                    <a:gd name="connsiteY2" fmla="*/ 223520 h 2749550"/>
                    <a:gd name="connsiteX3" fmla="*/ 2523490 w 3326059"/>
                    <a:gd name="connsiteY3" fmla="*/ 2749550 h 2749550"/>
                    <a:gd name="connsiteX4" fmla="*/ 0 w 3326059"/>
                    <a:gd name="connsiteY4" fmla="*/ 2150110 h 2749550"/>
                    <a:gd name="connsiteX0" fmla="*/ 0 w 3326059"/>
                    <a:gd name="connsiteY0" fmla="*/ 2150110 h 2768600"/>
                    <a:gd name="connsiteX1" fmla="*/ 1424375 w 3326059"/>
                    <a:gd name="connsiteY1" fmla="*/ 0 h 2768600"/>
                    <a:gd name="connsiteX2" fmla="*/ 3326059 w 3326059"/>
                    <a:gd name="connsiteY2" fmla="*/ 223520 h 2768600"/>
                    <a:gd name="connsiteX3" fmla="*/ 2561590 w 3326059"/>
                    <a:gd name="connsiteY3" fmla="*/ 2768600 h 2768600"/>
                    <a:gd name="connsiteX4" fmla="*/ 0 w 3326059"/>
                    <a:gd name="connsiteY4" fmla="*/ 2150110 h 2768600"/>
                    <a:gd name="connsiteX0" fmla="*/ 0 w 3387019"/>
                    <a:gd name="connsiteY0" fmla="*/ 2150110 h 2768600"/>
                    <a:gd name="connsiteX1" fmla="*/ 1424375 w 3387019"/>
                    <a:gd name="connsiteY1" fmla="*/ 0 h 2768600"/>
                    <a:gd name="connsiteX2" fmla="*/ 3387019 w 3387019"/>
                    <a:gd name="connsiteY2" fmla="*/ 254000 h 2768600"/>
                    <a:gd name="connsiteX3" fmla="*/ 2561590 w 3387019"/>
                    <a:gd name="connsiteY3" fmla="*/ 2768600 h 2768600"/>
                    <a:gd name="connsiteX4" fmla="*/ 0 w 3387019"/>
                    <a:gd name="connsiteY4" fmla="*/ 2150110 h 2768600"/>
                    <a:gd name="connsiteX0" fmla="*/ 0 w 3387019"/>
                    <a:gd name="connsiteY0" fmla="*/ 2150110 h 2649537"/>
                    <a:gd name="connsiteX1" fmla="*/ 1424375 w 3387019"/>
                    <a:gd name="connsiteY1" fmla="*/ 0 h 2649537"/>
                    <a:gd name="connsiteX2" fmla="*/ 3387019 w 3387019"/>
                    <a:gd name="connsiteY2" fmla="*/ 254000 h 2649537"/>
                    <a:gd name="connsiteX3" fmla="*/ 2409190 w 3387019"/>
                    <a:gd name="connsiteY3" fmla="*/ 2649537 h 2649537"/>
                    <a:gd name="connsiteX4" fmla="*/ 0 w 3387019"/>
                    <a:gd name="connsiteY4" fmla="*/ 2150110 h 2649537"/>
                    <a:gd name="connsiteX0" fmla="*/ 0 w 3387019"/>
                    <a:gd name="connsiteY0" fmla="*/ 2150110 h 2706687"/>
                    <a:gd name="connsiteX1" fmla="*/ 1424375 w 3387019"/>
                    <a:gd name="connsiteY1" fmla="*/ 0 h 2706687"/>
                    <a:gd name="connsiteX2" fmla="*/ 3387019 w 3387019"/>
                    <a:gd name="connsiteY2" fmla="*/ 254000 h 2706687"/>
                    <a:gd name="connsiteX3" fmla="*/ 2309178 w 3387019"/>
                    <a:gd name="connsiteY3" fmla="*/ 2706687 h 2706687"/>
                    <a:gd name="connsiteX4" fmla="*/ 0 w 3387019"/>
                    <a:gd name="connsiteY4" fmla="*/ 2150110 h 2706687"/>
                    <a:gd name="connsiteX0" fmla="*/ 0 w 3353682"/>
                    <a:gd name="connsiteY0" fmla="*/ 2150110 h 2706687"/>
                    <a:gd name="connsiteX1" fmla="*/ 1424375 w 3353682"/>
                    <a:gd name="connsiteY1" fmla="*/ 0 h 2706687"/>
                    <a:gd name="connsiteX2" fmla="*/ 3353682 w 3353682"/>
                    <a:gd name="connsiteY2" fmla="*/ 339725 h 2706687"/>
                    <a:gd name="connsiteX3" fmla="*/ 2309178 w 3353682"/>
                    <a:gd name="connsiteY3" fmla="*/ 2706687 h 2706687"/>
                    <a:gd name="connsiteX4" fmla="*/ 0 w 3353682"/>
                    <a:gd name="connsiteY4" fmla="*/ 2150110 h 2706687"/>
                    <a:gd name="connsiteX0" fmla="*/ 0 w 3275806"/>
                    <a:gd name="connsiteY0" fmla="*/ 2158763 h 2706687"/>
                    <a:gd name="connsiteX1" fmla="*/ 1346499 w 3275806"/>
                    <a:gd name="connsiteY1" fmla="*/ 0 h 2706687"/>
                    <a:gd name="connsiteX2" fmla="*/ 3275806 w 3275806"/>
                    <a:gd name="connsiteY2" fmla="*/ 339725 h 2706687"/>
                    <a:gd name="connsiteX3" fmla="*/ 2231302 w 3275806"/>
                    <a:gd name="connsiteY3" fmla="*/ 2706687 h 2706687"/>
                    <a:gd name="connsiteX4" fmla="*/ 0 w 3275806"/>
                    <a:gd name="connsiteY4" fmla="*/ 2158763 h 2706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5806" h="2706687">
                      <a:moveTo>
                        <a:pt x="0" y="2158763"/>
                      </a:moveTo>
                      <a:lnTo>
                        <a:pt x="1346499" y="0"/>
                      </a:lnTo>
                      <a:lnTo>
                        <a:pt x="3275806" y="339725"/>
                      </a:lnTo>
                      <a:lnTo>
                        <a:pt x="2231302" y="2706687"/>
                      </a:lnTo>
                      <a:lnTo>
                        <a:pt x="0" y="2158763"/>
                      </a:lnTo>
                      <a:close/>
                    </a:path>
                  </a:pathLst>
                </a:custGeom>
                <a:solidFill>
                  <a:srgbClr val="FFFFFF"/>
                </a:solidFill>
                <a:ln w="10795" cap="flat" cmpd="sng" algn="ctr">
                  <a:noFill/>
                  <a:prstDash val="solid"/>
                </a:ln>
                <a:effectLst/>
              </p:spPr>
              <p:txBody>
                <a:bodyPr rtlCol="0" anchor="ctr"/>
                <a:lstStyle/>
                <a:p>
                  <a:pPr algn="ctr" defTabSz="932380"/>
                  <a:endParaRPr lang="en-US" sz="1836" kern="0">
                    <a:solidFill>
                      <a:srgbClr val="FFFFFF"/>
                    </a:solidFill>
                  </a:endParaRPr>
                </a:p>
              </p:txBody>
            </p:sp>
            <p:sp>
              <p:nvSpPr>
                <p:cNvPr id="124" name="Trapezoid 34"/>
                <p:cNvSpPr/>
                <p:nvPr/>
              </p:nvSpPr>
              <p:spPr>
                <a:xfrm>
                  <a:off x="1170623" y="2448560"/>
                  <a:ext cx="3300659" cy="2774950"/>
                </a:xfrm>
                <a:custGeom>
                  <a:avLst/>
                  <a:gdLst>
                    <a:gd name="connsiteX0" fmla="*/ 0 w 2926080"/>
                    <a:gd name="connsiteY0" fmla="*/ 2103120 h 2103120"/>
                    <a:gd name="connsiteX1" fmla="*/ 268358 w 2926080"/>
                    <a:gd name="connsiteY1" fmla="*/ 0 h 2103120"/>
                    <a:gd name="connsiteX2" fmla="*/ 2657722 w 2926080"/>
                    <a:gd name="connsiteY2" fmla="*/ 0 h 2103120"/>
                    <a:gd name="connsiteX3" fmla="*/ 2926080 w 2926080"/>
                    <a:gd name="connsiteY3" fmla="*/ 2103120 h 2103120"/>
                    <a:gd name="connsiteX4" fmla="*/ 0 w 2926080"/>
                    <a:gd name="connsiteY4" fmla="*/ 2103120 h 2103120"/>
                    <a:gd name="connsiteX0" fmla="*/ 0 w 3412102"/>
                    <a:gd name="connsiteY0" fmla="*/ 2141220 h 2141220"/>
                    <a:gd name="connsiteX1" fmla="*/ 268358 w 3412102"/>
                    <a:gd name="connsiteY1" fmla="*/ 38100 h 2141220"/>
                    <a:gd name="connsiteX2" fmla="*/ 3412102 w 3412102"/>
                    <a:gd name="connsiteY2" fmla="*/ 0 h 2141220"/>
                    <a:gd name="connsiteX3" fmla="*/ 2926080 w 3412102"/>
                    <a:gd name="connsiteY3" fmla="*/ 2141220 h 2141220"/>
                    <a:gd name="connsiteX4" fmla="*/ 0 w 3412102"/>
                    <a:gd name="connsiteY4" fmla="*/ 2141220 h 2141220"/>
                    <a:gd name="connsiteX0" fmla="*/ 0 w 3412102"/>
                    <a:gd name="connsiteY0" fmla="*/ 2453640 h 2453640"/>
                    <a:gd name="connsiteX1" fmla="*/ 1289438 w 3412102"/>
                    <a:gd name="connsiteY1" fmla="*/ 0 h 2453640"/>
                    <a:gd name="connsiteX2" fmla="*/ 3412102 w 3412102"/>
                    <a:gd name="connsiteY2" fmla="*/ 312420 h 2453640"/>
                    <a:gd name="connsiteX3" fmla="*/ 2926080 w 3412102"/>
                    <a:gd name="connsiteY3" fmla="*/ 2453640 h 2453640"/>
                    <a:gd name="connsiteX4" fmla="*/ 0 w 3412102"/>
                    <a:gd name="connsiteY4" fmla="*/ 2453640 h 2453640"/>
                    <a:gd name="connsiteX0" fmla="*/ 0 w 3412102"/>
                    <a:gd name="connsiteY0" fmla="*/ 2453640 h 3070860"/>
                    <a:gd name="connsiteX1" fmla="*/ 1289438 w 3412102"/>
                    <a:gd name="connsiteY1" fmla="*/ 0 h 3070860"/>
                    <a:gd name="connsiteX2" fmla="*/ 3412102 w 3412102"/>
                    <a:gd name="connsiteY2" fmla="*/ 312420 h 3070860"/>
                    <a:gd name="connsiteX3" fmla="*/ 2674620 w 3412102"/>
                    <a:gd name="connsiteY3" fmla="*/ 3070860 h 3070860"/>
                    <a:gd name="connsiteX4" fmla="*/ 0 w 3412102"/>
                    <a:gd name="connsiteY4" fmla="*/ 2453640 h 3070860"/>
                    <a:gd name="connsiteX0" fmla="*/ 0 w 3374002"/>
                    <a:gd name="connsiteY0" fmla="*/ 2453640 h 3070860"/>
                    <a:gd name="connsiteX1" fmla="*/ 1289438 w 3374002"/>
                    <a:gd name="connsiteY1" fmla="*/ 0 h 3070860"/>
                    <a:gd name="connsiteX2" fmla="*/ 3374002 w 3374002"/>
                    <a:gd name="connsiteY2" fmla="*/ 312420 h 3070860"/>
                    <a:gd name="connsiteX3" fmla="*/ 2674620 w 3374002"/>
                    <a:gd name="connsiteY3" fmla="*/ 3070860 h 3070860"/>
                    <a:gd name="connsiteX4" fmla="*/ 0 w 3374002"/>
                    <a:gd name="connsiteY4" fmla="*/ 2453640 h 3070860"/>
                    <a:gd name="connsiteX0" fmla="*/ 0 w 3328282"/>
                    <a:gd name="connsiteY0" fmla="*/ 2407920 h 3070860"/>
                    <a:gd name="connsiteX1" fmla="*/ 1243718 w 3328282"/>
                    <a:gd name="connsiteY1" fmla="*/ 0 h 3070860"/>
                    <a:gd name="connsiteX2" fmla="*/ 3328282 w 3328282"/>
                    <a:gd name="connsiteY2" fmla="*/ 312420 h 3070860"/>
                    <a:gd name="connsiteX3" fmla="*/ 2628900 w 3328282"/>
                    <a:gd name="connsiteY3" fmla="*/ 3070860 h 3070860"/>
                    <a:gd name="connsiteX4" fmla="*/ 0 w 3328282"/>
                    <a:gd name="connsiteY4" fmla="*/ 2407920 h 3070860"/>
                    <a:gd name="connsiteX0" fmla="*/ 0 w 3328282"/>
                    <a:gd name="connsiteY0" fmla="*/ 2385060 h 3048000"/>
                    <a:gd name="connsiteX1" fmla="*/ 1365638 w 3328282"/>
                    <a:gd name="connsiteY1" fmla="*/ 0 h 3048000"/>
                    <a:gd name="connsiteX2" fmla="*/ 3328282 w 3328282"/>
                    <a:gd name="connsiteY2" fmla="*/ 289560 h 3048000"/>
                    <a:gd name="connsiteX3" fmla="*/ 2628900 w 3328282"/>
                    <a:gd name="connsiteY3" fmla="*/ 3048000 h 3048000"/>
                    <a:gd name="connsiteX4" fmla="*/ 0 w 3328282"/>
                    <a:gd name="connsiteY4" fmla="*/ 2385060 h 3048000"/>
                    <a:gd name="connsiteX0" fmla="*/ 0 w 3305422"/>
                    <a:gd name="connsiteY0" fmla="*/ 2385060 h 3048000"/>
                    <a:gd name="connsiteX1" fmla="*/ 1365638 w 3305422"/>
                    <a:gd name="connsiteY1" fmla="*/ 0 h 3048000"/>
                    <a:gd name="connsiteX2" fmla="*/ 3305422 w 3305422"/>
                    <a:gd name="connsiteY2" fmla="*/ 350520 h 3048000"/>
                    <a:gd name="connsiteX3" fmla="*/ 2628900 w 3305422"/>
                    <a:gd name="connsiteY3" fmla="*/ 3048000 h 3048000"/>
                    <a:gd name="connsiteX4" fmla="*/ 0 w 3305422"/>
                    <a:gd name="connsiteY4" fmla="*/ 2385060 h 3048000"/>
                    <a:gd name="connsiteX0" fmla="*/ 0 w 3305422"/>
                    <a:gd name="connsiteY0" fmla="*/ 2385060 h 3124200"/>
                    <a:gd name="connsiteX1" fmla="*/ 1365638 w 3305422"/>
                    <a:gd name="connsiteY1" fmla="*/ 0 h 3124200"/>
                    <a:gd name="connsiteX2" fmla="*/ 3305422 w 3305422"/>
                    <a:gd name="connsiteY2" fmla="*/ 350520 h 3124200"/>
                    <a:gd name="connsiteX3" fmla="*/ 2537460 w 3305422"/>
                    <a:gd name="connsiteY3" fmla="*/ 3124200 h 3124200"/>
                    <a:gd name="connsiteX4" fmla="*/ 0 w 3305422"/>
                    <a:gd name="connsiteY4" fmla="*/ 2385060 h 3124200"/>
                    <a:gd name="connsiteX0" fmla="*/ 0 w 3305422"/>
                    <a:gd name="connsiteY0" fmla="*/ 2385060 h 3048000"/>
                    <a:gd name="connsiteX1" fmla="*/ 1365638 w 3305422"/>
                    <a:gd name="connsiteY1" fmla="*/ 0 h 3048000"/>
                    <a:gd name="connsiteX2" fmla="*/ 3305422 w 3305422"/>
                    <a:gd name="connsiteY2" fmla="*/ 350520 h 3048000"/>
                    <a:gd name="connsiteX3" fmla="*/ 2529840 w 3305422"/>
                    <a:gd name="connsiteY3" fmla="*/ 3048000 h 3048000"/>
                    <a:gd name="connsiteX4" fmla="*/ 0 w 3305422"/>
                    <a:gd name="connsiteY4" fmla="*/ 2385060 h 3048000"/>
                    <a:gd name="connsiteX0" fmla="*/ 0 w 3300659"/>
                    <a:gd name="connsiteY0" fmla="*/ 2480310 h 3048000"/>
                    <a:gd name="connsiteX1" fmla="*/ 1360875 w 3300659"/>
                    <a:gd name="connsiteY1" fmla="*/ 0 h 3048000"/>
                    <a:gd name="connsiteX2" fmla="*/ 3300659 w 3300659"/>
                    <a:gd name="connsiteY2" fmla="*/ 350520 h 3048000"/>
                    <a:gd name="connsiteX3" fmla="*/ 2525077 w 3300659"/>
                    <a:gd name="connsiteY3" fmla="*/ 3048000 h 3048000"/>
                    <a:gd name="connsiteX4" fmla="*/ 0 w 3300659"/>
                    <a:gd name="connsiteY4" fmla="*/ 2480310 h 3048000"/>
                    <a:gd name="connsiteX0" fmla="*/ 0 w 3300659"/>
                    <a:gd name="connsiteY0" fmla="*/ 2480310 h 2876550"/>
                    <a:gd name="connsiteX1" fmla="*/ 1360875 w 3300659"/>
                    <a:gd name="connsiteY1" fmla="*/ 0 h 2876550"/>
                    <a:gd name="connsiteX2" fmla="*/ 3300659 w 3300659"/>
                    <a:gd name="connsiteY2" fmla="*/ 350520 h 2876550"/>
                    <a:gd name="connsiteX3" fmla="*/ 2529840 w 3300659"/>
                    <a:gd name="connsiteY3" fmla="*/ 2876550 h 2876550"/>
                    <a:gd name="connsiteX4" fmla="*/ 0 w 3300659"/>
                    <a:gd name="connsiteY4" fmla="*/ 2480310 h 2876550"/>
                    <a:gd name="connsiteX0" fmla="*/ 0 w 3300659"/>
                    <a:gd name="connsiteY0" fmla="*/ 2480310 h 2876550"/>
                    <a:gd name="connsiteX1" fmla="*/ 1360875 w 3300659"/>
                    <a:gd name="connsiteY1" fmla="*/ 0 h 2876550"/>
                    <a:gd name="connsiteX2" fmla="*/ 3300659 w 3300659"/>
                    <a:gd name="connsiteY2" fmla="*/ 261620 h 2876550"/>
                    <a:gd name="connsiteX3" fmla="*/ 2529840 w 3300659"/>
                    <a:gd name="connsiteY3" fmla="*/ 2876550 h 2876550"/>
                    <a:gd name="connsiteX4" fmla="*/ 0 w 3300659"/>
                    <a:gd name="connsiteY4" fmla="*/ 2480310 h 2876550"/>
                    <a:gd name="connsiteX0" fmla="*/ 0 w 3300659"/>
                    <a:gd name="connsiteY0" fmla="*/ 2218690 h 2614930"/>
                    <a:gd name="connsiteX1" fmla="*/ 1418025 w 3300659"/>
                    <a:gd name="connsiteY1" fmla="*/ 43180 h 2614930"/>
                    <a:gd name="connsiteX2" fmla="*/ 3300659 w 3300659"/>
                    <a:gd name="connsiteY2" fmla="*/ 0 h 2614930"/>
                    <a:gd name="connsiteX3" fmla="*/ 2529840 w 3300659"/>
                    <a:gd name="connsiteY3" fmla="*/ 2614930 h 2614930"/>
                    <a:gd name="connsiteX4" fmla="*/ 0 w 3300659"/>
                    <a:gd name="connsiteY4" fmla="*/ 2218690 h 2614930"/>
                    <a:gd name="connsiteX0" fmla="*/ 0 w 3300659"/>
                    <a:gd name="connsiteY0" fmla="*/ 2378710 h 2774950"/>
                    <a:gd name="connsiteX1" fmla="*/ 1360875 w 3300659"/>
                    <a:gd name="connsiteY1" fmla="*/ 0 h 2774950"/>
                    <a:gd name="connsiteX2" fmla="*/ 3300659 w 3300659"/>
                    <a:gd name="connsiteY2" fmla="*/ 160020 h 2774950"/>
                    <a:gd name="connsiteX3" fmla="*/ 2529840 w 3300659"/>
                    <a:gd name="connsiteY3" fmla="*/ 2774950 h 2774950"/>
                    <a:gd name="connsiteX4" fmla="*/ 0 w 3300659"/>
                    <a:gd name="connsiteY4" fmla="*/ 2378710 h 2774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0659" h="2774950">
                      <a:moveTo>
                        <a:pt x="0" y="2378710"/>
                      </a:moveTo>
                      <a:lnTo>
                        <a:pt x="1360875" y="0"/>
                      </a:lnTo>
                      <a:lnTo>
                        <a:pt x="3300659" y="160020"/>
                      </a:lnTo>
                      <a:lnTo>
                        <a:pt x="2529840" y="2774950"/>
                      </a:lnTo>
                      <a:lnTo>
                        <a:pt x="0" y="2378710"/>
                      </a:lnTo>
                      <a:close/>
                    </a:path>
                  </a:pathLst>
                </a:custGeom>
                <a:solidFill>
                  <a:srgbClr val="FFFFFF"/>
                </a:solidFill>
                <a:ln w="10795" cap="flat" cmpd="sng" algn="ctr">
                  <a:noFill/>
                  <a:prstDash val="solid"/>
                </a:ln>
                <a:effectLst/>
              </p:spPr>
              <p:txBody>
                <a:bodyPr rtlCol="0" anchor="ctr"/>
                <a:lstStyle/>
                <a:p>
                  <a:pPr algn="ctr" defTabSz="932380"/>
                  <a:endParaRPr lang="en-US" sz="1836" kern="0">
                    <a:solidFill>
                      <a:srgbClr val="FFFFFF"/>
                    </a:solidFill>
                  </a:endParaRPr>
                </a:p>
              </p:txBody>
            </p:sp>
          </p:grpSp>
        </p:grpSp>
        <p:sp>
          <p:nvSpPr>
            <p:cNvPr id="98" name="Rectangle 97"/>
            <p:cNvSpPr/>
            <p:nvPr/>
          </p:nvSpPr>
          <p:spPr>
            <a:xfrm>
              <a:off x="1905961" y="5025493"/>
              <a:ext cx="2833762" cy="1205637"/>
            </a:xfrm>
            <a:prstGeom prst="rect">
              <a:avLst/>
            </a:prstGeom>
            <a:solidFill>
              <a:schemeClr val="accent2"/>
            </a:solidFill>
            <a:ln w="25400" cap="flat" cmpd="sng" algn="ctr">
              <a:noFill/>
              <a:prstDash val="solid"/>
            </a:ln>
            <a:effectLst/>
          </p:spPr>
          <p:txBody>
            <a:bodyPr lIns="91427" tIns="91427" rIns="91427" bIns="91427"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defRPr/>
              </a:pPr>
              <a:endParaRPr lang="en-US" sz="1399" dirty="0">
                <a:ln>
                  <a:solidFill>
                    <a:schemeClr val="tx1">
                      <a:alpha val="0"/>
                    </a:schemeClr>
                  </a:solidFill>
                </a:ln>
                <a:solidFill>
                  <a:prstClr val="white"/>
                </a:solidFill>
              </a:endParaRPr>
            </a:p>
          </p:txBody>
        </p:sp>
      </p:grpSp>
      <p:sp>
        <p:nvSpPr>
          <p:cNvPr id="105" name="Rectangle 104"/>
          <p:cNvSpPr/>
          <p:nvPr/>
        </p:nvSpPr>
        <p:spPr>
          <a:xfrm>
            <a:off x="10597912" y="3753137"/>
            <a:ext cx="1380548" cy="2477606"/>
          </a:xfrm>
          <a:prstGeom prst="rect">
            <a:avLst/>
          </a:prstGeom>
          <a:solidFill>
            <a:schemeClr val="accent3">
              <a:lumMod val="75000"/>
            </a:schemeClr>
          </a:solidFill>
        </p:spPr>
        <p:txBody>
          <a:bodyPr wrap="square" anchor="ctr">
            <a:noAutofit/>
          </a:bodyPr>
          <a:lstStyle/>
          <a:p>
            <a:pPr algn="ctr"/>
            <a:r>
              <a:rPr lang="en-US" sz="3000" spc="-100" dirty="0">
                <a:ln>
                  <a:solidFill>
                    <a:schemeClr val="tx1">
                      <a:alpha val="0"/>
                    </a:schemeClr>
                  </a:solidFill>
                </a:ln>
                <a:latin typeface="+mj-lt"/>
              </a:rPr>
              <a:t>Sensors</a:t>
            </a:r>
          </a:p>
        </p:txBody>
      </p:sp>
    </p:spTree>
    <p:custDataLst>
      <p:tags r:id="rId2"/>
    </p:custDataLst>
    <p:extLst>
      <p:ext uri="{BB962C8B-B14F-4D97-AF65-F5344CB8AC3E}">
        <p14:creationId xmlns:p14="http://schemas.microsoft.com/office/powerpoint/2010/main" val="37769088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5"/>
                                        </p:tgtEl>
                                        <p:attrNameLst>
                                          <p:attrName>style.visibility</p:attrName>
                                        </p:attrNameLst>
                                      </p:cBhvr>
                                      <p:to>
                                        <p:strVal val="visible"/>
                                      </p:to>
                                    </p:set>
                                    <p:animEffect transition="in" filter="fade">
                                      <p:cBhvr>
                                        <p:cTn id="11" dur="500"/>
                                        <p:tgtEl>
                                          <p:spTgt spid="105"/>
                                        </p:tgtEl>
                                      </p:cBhvr>
                                    </p:animEffect>
                                  </p:childTnLst>
                                </p:cTn>
                              </p:par>
                              <p:par>
                                <p:cTn id="12" presetID="10" presetClass="entr" presetSubtype="0" fill="hold" nodeType="with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500"/>
                                        <p:tgtEl>
                                          <p:spTgt spid="4"/>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4"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7" name="Text Placeholder 4"/>
          <p:cNvSpPr txBox="1">
            <a:spLocks/>
          </p:cNvSpPr>
          <p:nvPr/>
        </p:nvSpPr>
        <p:spPr>
          <a:xfrm>
            <a:off x="2103437" y="2905603"/>
            <a:ext cx="10060765" cy="164592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800">
                <a:gradFill>
                  <a:gsLst>
                    <a:gs pos="0">
                      <a:srgbClr val="FFFFFF"/>
                    </a:gs>
                    <a:gs pos="100000">
                      <a:srgbClr val="FFFFFF"/>
                    </a:gs>
                  </a:gsLst>
                  <a:lin ang="540000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spcBef>
                <a:spcPts val="100"/>
              </a:spcBef>
              <a:spcAft>
                <a:spcPts val="300"/>
              </a:spcAft>
            </a:pPr>
            <a:endParaRPr lang="en-US" sz="1400" dirty="0">
              <a:latin typeface="+mn-lt"/>
            </a:endParaRPr>
          </a:p>
        </p:txBody>
      </p:sp>
      <p:graphicFrame>
        <p:nvGraphicFramePr>
          <p:cNvPr id="36" name="Table 35"/>
          <p:cNvGraphicFramePr>
            <a:graphicFrameLocks noGrp="1"/>
          </p:cNvGraphicFramePr>
          <p:nvPr>
            <p:extLst/>
          </p:nvPr>
        </p:nvGraphicFramePr>
        <p:xfrm>
          <a:off x="2135607" y="2945246"/>
          <a:ext cx="10056036" cy="1541760"/>
        </p:xfrm>
        <a:graphic>
          <a:graphicData uri="http://schemas.openxmlformats.org/drawingml/2006/table">
            <a:tbl>
              <a:tblPr firstRow="1" bandRow="1"/>
              <a:tblGrid>
                <a:gridCol w="3041284"/>
                <a:gridCol w="3662740"/>
                <a:gridCol w="3352012"/>
              </a:tblGrid>
              <a:tr h="1495586">
                <a:tc>
                  <a:txBody>
                    <a:bodyPr/>
                    <a:lstStyle/>
                    <a:p>
                      <a:pPr marL="0" indent="0" algn="l" defTabSz="932472" rtl="0" eaLnBrk="1" fontAlgn="base" latinLnBrk="0" hangingPunct="1">
                        <a:spcBef>
                          <a:spcPct val="0"/>
                        </a:spcBef>
                        <a:spcAft>
                          <a:spcPct val="0"/>
                        </a:spcAft>
                        <a:buFont typeface="Arial" pitchFamily="34" charset="0"/>
                        <a:buNone/>
                      </a:pPr>
                      <a:r>
                        <a:rPr lang="en-US" sz="2400" kern="1200" dirty="0" smtClean="0">
                          <a:ln>
                            <a:solidFill>
                              <a:schemeClr val="tx1">
                                <a:alpha val="0"/>
                              </a:schemeClr>
                            </a:solidFill>
                          </a:ln>
                          <a:solidFill>
                            <a:prstClr val="white"/>
                          </a:solidFill>
                          <a:latin typeface="+mj-lt"/>
                          <a:ea typeface="+mn-ea"/>
                          <a:cs typeface="+mn-cs"/>
                        </a:rPr>
                        <a:t>Connectivity:</a:t>
                      </a:r>
                    </a:p>
                    <a:p>
                      <a:pPr marL="0" lvl="1" indent="0" algn="l" defTabSz="932472" rtl="0" eaLnBrk="1" fontAlgn="base" latinLnBrk="0" hangingPunct="1">
                        <a:spcBef>
                          <a:spcPts val="100"/>
                        </a:spcBef>
                        <a:spcAft>
                          <a:spcPts val="300"/>
                        </a:spcAft>
                        <a:buFont typeface="Arial" pitchFamily="34" charset="0"/>
                        <a:buNone/>
                        <a:tabLst/>
                      </a:pPr>
                      <a:r>
                        <a:rPr lang="en-US" sz="1600" kern="1200" dirty="0" smtClean="0">
                          <a:ln>
                            <a:solidFill>
                              <a:schemeClr val="tx1">
                                <a:alpha val="0"/>
                              </a:schemeClr>
                            </a:solidFill>
                          </a:ln>
                          <a:solidFill>
                            <a:prstClr val="white"/>
                          </a:solidFill>
                          <a:latin typeface="+mn-lt"/>
                          <a:ea typeface="+mn-ea"/>
                          <a:cs typeface="+mn-cs"/>
                        </a:rPr>
                        <a:t>Win8 network guidance</a:t>
                      </a:r>
                    </a:p>
                    <a:p>
                      <a:endParaRPr lang="en-US" sz="1500" dirty="0">
                        <a:ln>
                          <a:solidFill>
                            <a:schemeClr val="tx1">
                              <a:alpha val="0"/>
                            </a:schemeClr>
                          </a:solidFill>
                        </a:ln>
                        <a:solidFill>
                          <a:prstClr val="white"/>
                        </a:solidFill>
                      </a:endParaRPr>
                    </a:p>
                  </a:txBody>
                  <a:tcPr marL="68570" marR="68570" marT="68570" marB="68570">
                    <a:lnL w="12700" cap="flat" cmpd="sng" algn="ctr">
                      <a:noFill/>
                      <a:prstDash val="solid"/>
                      <a:round/>
                      <a:headEnd type="none" w="med" len="med"/>
                      <a:tailEnd type="none" w="med" len="med"/>
                    </a:lnL>
                    <a:lnR w="12700" cmpd="sng">
                      <a:noFill/>
                      <a:prstDash val="soli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32472" rtl="0" eaLnBrk="1" fontAlgn="base" latinLnBrk="0" hangingPunct="1">
                        <a:spcBef>
                          <a:spcPct val="0"/>
                        </a:spcBef>
                        <a:spcAft>
                          <a:spcPct val="0"/>
                        </a:spcAft>
                        <a:buFont typeface="Arial" pitchFamily="34" charset="0"/>
                        <a:buNone/>
                      </a:pPr>
                      <a:r>
                        <a:rPr lang="en-US" sz="2400" kern="1200" dirty="0" smtClean="0">
                          <a:ln>
                            <a:solidFill>
                              <a:schemeClr val="tx1">
                                <a:alpha val="0"/>
                              </a:schemeClr>
                            </a:solidFill>
                          </a:ln>
                          <a:solidFill>
                            <a:prstClr val="white"/>
                          </a:solidFill>
                          <a:latin typeface="+mj-lt"/>
                          <a:ea typeface="+mn-ea"/>
                          <a:cs typeface="+mn-cs"/>
                        </a:rPr>
                        <a:t>Identity:</a:t>
                      </a:r>
                    </a:p>
                    <a:p>
                      <a:pPr marL="0" lvl="1" indent="0" algn="l" defTabSz="932472" rtl="0" eaLnBrk="1" fontAlgn="base" latinLnBrk="0" hangingPunct="1">
                        <a:spcBef>
                          <a:spcPts val="100"/>
                        </a:spcBef>
                        <a:spcAft>
                          <a:spcPts val="300"/>
                        </a:spcAft>
                        <a:buFont typeface="Arial" pitchFamily="34" charset="0"/>
                        <a:buNone/>
                        <a:tabLst/>
                      </a:pPr>
                      <a:r>
                        <a:rPr lang="en-US" sz="1600" kern="1200" dirty="0" smtClean="0">
                          <a:ln>
                            <a:solidFill>
                              <a:schemeClr val="tx1">
                                <a:alpha val="0"/>
                              </a:schemeClr>
                            </a:solidFill>
                          </a:ln>
                          <a:solidFill>
                            <a:prstClr val="white"/>
                          </a:solidFill>
                          <a:latin typeface="+mn-lt"/>
                          <a:ea typeface="+mn-ea"/>
                          <a:cs typeface="+mn-cs"/>
                        </a:rPr>
                        <a:t>A device can have an identity</a:t>
                      </a:r>
                    </a:p>
                    <a:p>
                      <a:pPr marL="0" lvl="1" indent="0" algn="l" defTabSz="932472" rtl="0" eaLnBrk="1" fontAlgn="base" latinLnBrk="0" hangingPunct="1">
                        <a:spcBef>
                          <a:spcPts val="100"/>
                        </a:spcBef>
                        <a:spcAft>
                          <a:spcPts val="300"/>
                        </a:spcAft>
                        <a:buFont typeface="Arial" pitchFamily="34" charset="0"/>
                        <a:buNone/>
                        <a:tabLst/>
                      </a:pPr>
                      <a:r>
                        <a:rPr lang="en-US" sz="1600" kern="1200" dirty="0" smtClean="0">
                          <a:ln>
                            <a:solidFill>
                              <a:schemeClr val="tx1">
                                <a:alpha val="0"/>
                              </a:schemeClr>
                            </a:solidFill>
                          </a:ln>
                          <a:solidFill>
                            <a:prstClr val="white"/>
                          </a:solidFill>
                          <a:latin typeface="+mn-lt"/>
                          <a:ea typeface="+mn-ea"/>
                          <a:cs typeface="+mn-cs"/>
                        </a:rPr>
                        <a:t>Services or individuals can be authorized to interact with/from the device</a:t>
                      </a:r>
                    </a:p>
                  </a:txBody>
                  <a:tcPr marL="68570" marR="68570" marT="68570" marB="68570">
                    <a:lnL w="12700" cmpd="sng">
                      <a:noFill/>
                      <a:prstDash val="solid"/>
                    </a:lnL>
                    <a:lnR w="12700" cmpd="sng">
                      <a:noFill/>
                      <a:prstDash val="soli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32472" rtl="0" eaLnBrk="1" fontAlgn="base" latinLnBrk="0" hangingPunct="1">
                        <a:spcBef>
                          <a:spcPct val="0"/>
                        </a:spcBef>
                        <a:spcAft>
                          <a:spcPct val="0"/>
                        </a:spcAft>
                        <a:buFont typeface="Arial" pitchFamily="34" charset="0"/>
                        <a:buNone/>
                      </a:pPr>
                      <a:r>
                        <a:rPr lang="en-US" sz="2400" kern="1200" dirty="0" smtClean="0">
                          <a:ln>
                            <a:solidFill>
                              <a:schemeClr val="tx1">
                                <a:alpha val="0"/>
                              </a:schemeClr>
                            </a:solidFill>
                          </a:ln>
                          <a:solidFill>
                            <a:prstClr val="white"/>
                          </a:solidFill>
                          <a:latin typeface="+mj-lt"/>
                          <a:ea typeface="+mn-ea"/>
                          <a:cs typeface="+mn-cs"/>
                        </a:rPr>
                        <a:t>Integration:</a:t>
                      </a:r>
                    </a:p>
                    <a:p>
                      <a:pPr marL="0" lvl="1" indent="0" algn="l" defTabSz="932472" rtl="0" eaLnBrk="1" fontAlgn="base" latinLnBrk="0" hangingPunct="1">
                        <a:spcBef>
                          <a:spcPts val="100"/>
                        </a:spcBef>
                        <a:spcAft>
                          <a:spcPts val="300"/>
                        </a:spcAft>
                        <a:buFont typeface="Arial" pitchFamily="34" charset="0"/>
                        <a:buNone/>
                        <a:tabLst/>
                      </a:pPr>
                      <a:r>
                        <a:rPr lang="en-US" sz="1600" kern="1200" dirty="0" smtClean="0">
                          <a:ln>
                            <a:solidFill>
                              <a:schemeClr val="tx1">
                                <a:alpha val="0"/>
                              </a:schemeClr>
                            </a:solidFill>
                          </a:ln>
                          <a:solidFill>
                            <a:prstClr val="white"/>
                          </a:solidFill>
                          <a:latin typeface="+mn-lt"/>
                          <a:ea typeface="+mn-ea"/>
                          <a:cs typeface="+mn-cs"/>
                        </a:rPr>
                        <a:t>Data</a:t>
                      </a:r>
                    </a:p>
                    <a:p>
                      <a:pPr marL="0" lvl="1" indent="0" algn="l" defTabSz="932472" rtl="0" eaLnBrk="1" fontAlgn="base" latinLnBrk="0" hangingPunct="1">
                        <a:spcBef>
                          <a:spcPts val="100"/>
                        </a:spcBef>
                        <a:spcAft>
                          <a:spcPts val="300"/>
                        </a:spcAft>
                        <a:buFont typeface="Arial" pitchFamily="34" charset="0"/>
                        <a:buNone/>
                        <a:tabLst/>
                      </a:pPr>
                      <a:r>
                        <a:rPr lang="en-US" sz="1600" kern="1200" dirty="0" smtClean="0">
                          <a:ln>
                            <a:solidFill>
                              <a:schemeClr val="tx1">
                                <a:alpha val="0"/>
                              </a:schemeClr>
                            </a:solidFill>
                          </a:ln>
                          <a:solidFill>
                            <a:prstClr val="white"/>
                          </a:solidFill>
                          <a:latin typeface="+mn-lt"/>
                          <a:ea typeface="+mn-ea"/>
                          <a:cs typeface="+mn-cs"/>
                        </a:rPr>
                        <a:t>Notifications</a:t>
                      </a:r>
                    </a:p>
                    <a:p>
                      <a:pPr marL="0" lvl="1" indent="0" algn="l" defTabSz="932472" rtl="0" eaLnBrk="1" fontAlgn="base" latinLnBrk="0" hangingPunct="1">
                        <a:spcBef>
                          <a:spcPts val="100"/>
                        </a:spcBef>
                        <a:spcAft>
                          <a:spcPts val="300"/>
                        </a:spcAft>
                        <a:buFont typeface="Arial" pitchFamily="34" charset="0"/>
                        <a:buNone/>
                        <a:tabLst/>
                      </a:pPr>
                      <a:r>
                        <a:rPr lang="en-US" sz="1600" kern="1200" dirty="0" smtClean="0">
                          <a:ln>
                            <a:solidFill>
                              <a:schemeClr val="tx1">
                                <a:alpha val="0"/>
                              </a:schemeClr>
                            </a:solidFill>
                          </a:ln>
                          <a:solidFill>
                            <a:prstClr val="white"/>
                          </a:solidFill>
                          <a:latin typeface="+mn-lt"/>
                          <a:ea typeface="+mn-ea"/>
                          <a:cs typeface="+mn-cs"/>
                        </a:rPr>
                        <a:t>Integration patterns</a:t>
                      </a:r>
                    </a:p>
                  </a:txBody>
                  <a:tcPr marL="68570" marR="68570" marT="68570" marB="68570">
                    <a:lnL w="12700" cmpd="sng">
                      <a:noFill/>
                      <a:prstDash val="soli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9" name="Title 1"/>
          <p:cNvSpPr>
            <a:spLocks noGrp="1"/>
          </p:cNvSpPr>
          <p:nvPr>
            <p:ph type="title"/>
          </p:nvPr>
        </p:nvSpPr>
        <p:spPr/>
        <p:txBody>
          <a:bodyPr/>
          <a:lstStyle/>
          <a:p>
            <a:r>
              <a:rPr lang="en-US" dirty="0" smtClean="0">
                <a:gradFill>
                  <a:gsLst>
                    <a:gs pos="1250">
                      <a:srgbClr val="FFFFFF"/>
                    </a:gs>
                    <a:gs pos="100000">
                      <a:srgbClr val="FFFFFF"/>
                    </a:gs>
                  </a:gsLst>
                  <a:lin ang="5400000" scaled="0"/>
                </a:gradFill>
              </a:rPr>
              <a:t>Devices and services principles</a:t>
            </a:r>
            <a:endParaRPr lang="en-US" dirty="0">
              <a:gradFill>
                <a:gsLst>
                  <a:gs pos="1250">
                    <a:srgbClr val="FFFFFF"/>
                  </a:gs>
                  <a:gs pos="100000">
                    <a:srgbClr val="FFFFFF"/>
                  </a:gs>
                </a:gsLst>
                <a:lin ang="5400000" scaled="0"/>
              </a:gradFill>
            </a:endParaRPr>
          </a:p>
        </p:txBody>
      </p:sp>
      <p:sp>
        <p:nvSpPr>
          <p:cNvPr id="10" name="Rectangle 9"/>
          <p:cNvSpPr>
            <a:spLocks/>
          </p:cNvSpPr>
          <p:nvPr/>
        </p:nvSpPr>
        <p:spPr bwMode="auto">
          <a:xfrm>
            <a:off x="274638" y="2905746"/>
            <a:ext cx="1783080" cy="16459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r>
              <a:rPr lang="en-US" sz="2400" dirty="0">
                <a:gradFill>
                  <a:gsLst>
                    <a:gs pos="0">
                      <a:srgbClr val="FFFFFF"/>
                    </a:gs>
                    <a:gs pos="100000">
                      <a:srgbClr val="FFFFFF"/>
                    </a:gs>
                  </a:gsLst>
                  <a:lin ang="5400000" scaled="0"/>
                </a:gradFill>
                <a:latin typeface="+mj-lt"/>
              </a:rPr>
              <a:t>Plus</a:t>
            </a:r>
          </a:p>
        </p:txBody>
      </p:sp>
      <p:sp>
        <p:nvSpPr>
          <p:cNvPr id="16" name="Rectangle 15"/>
          <p:cNvSpPr>
            <a:spLocks/>
          </p:cNvSpPr>
          <p:nvPr/>
        </p:nvSpPr>
        <p:spPr bwMode="auto">
          <a:xfrm>
            <a:off x="274638" y="1134319"/>
            <a:ext cx="1783080" cy="17317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t" anchorCtr="0" forceAA="0" compatLnSpc="1">
            <a:prstTxWarp prst="textNoShape">
              <a:avLst/>
            </a:prstTxWarp>
            <a:noAutofit/>
          </a:bodyPr>
          <a:lstStyle/>
          <a:p>
            <a:r>
              <a:rPr lang="en-US" sz="2400" dirty="0">
                <a:gradFill>
                  <a:gsLst>
                    <a:gs pos="0">
                      <a:srgbClr val="FFFFFF"/>
                    </a:gs>
                    <a:gs pos="100000">
                      <a:srgbClr val="FFFFFF"/>
                    </a:gs>
                  </a:gsLst>
                  <a:lin ang="5400000" scaled="0"/>
                </a:gradFill>
                <a:latin typeface="+mj-lt"/>
              </a:rPr>
              <a:t>Devices</a:t>
            </a:r>
          </a:p>
        </p:txBody>
      </p:sp>
      <p:sp>
        <p:nvSpPr>
          <p:cNvPr id="18" name="Rectangle 17"/>
          <p:cNvSpPr>
            <a:spLocks/>
          </p:cNvSpPr>
          <p:nvPr/>
        </p:nvSpPr>
        <p:spPr bwMode="auto">
          <a:xfrm>
            <a:off x="274638" y="4591337"/>
            <a:ext cx="1783080" cy="197511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2400" dirty="0">
                <a:gradFill>
                  <a:gsLst>
                    <a:gs pos="0">
                      <a:srgbClr val="FFFFFF"/>
                    </a:gs>
                    <a:gs pos="100000">
                      <a:srgbClr val="FFFFFF"/>
                    </a:gs>
                  </a:gsLst>
                  <a:lin ang="5400000" scaled="0"/>
                </a:gradFill>
                <a:latin typeface="+mj-lt"/>
              </a:rPr>
              <a:t>Services</a:t>
            </a:r>
          </a:p>
        </p:txBody>
      </p:sp>
      <p:sp>
        <p:nvSpPr>
          <p:cNvPr id="19" name="AutoShape 20"/>
          <p:cNvSpPr>
            <a:spLocks noChangeAspect="1" noChangeArrowheads="1" noTextEdit="1"/>
          </p:cNvSpPr>
          <p:nvPr/>
        </p:nvSpPr>
        <p:spPr bwMode="auto">
          <a:xfrm>
            <a:off x="1090546" y="5270051"/>
            <a:ext cx="175006" cy="287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sz="1800">
              <a:solidFill>
                <a:srgbClr val="292929"/>
              </a:solidFill>
            </a:endParaRPr>
          </a:p>
        </p:txBody>
      </p:sp>
      <p:sp>
        <p:nvSpPr>
          <p:cNvPr id="26" name="Text Placeholder 4"/>
          <p:cNvSpPr txBox="1">
            <a:spLocks/>
          </p:cNvSpPr>
          <p:nvPr/>
        </p:nvSpPr>
        <p:spPr>
          <a:xfrm>
            <a:off x="2103438" y="1134319"/>
            <a:ext cx="10060765" cy="1731756"/>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defPPr>
              <a:defRPr lang="en-US"/>
            </a:defPPr>
            <a:lvl1pPr algn="ctr" defTabSz="932472" fontAlgn="base">
              <a:spcBef>
                <a:spcPct val="0"/>
              </a:spcBef>
              <a:spcAft>
                <a:spcPct val="0"/>
              </a:spcAft>
              <a:defRPr sz="2000">
                <a:gradFill>
                  <a:gsLst>
                    <a:gs pos="0">
                      <a:srgbClr val="FFFFFF"/>
                    </a:gs>
                    <a:gs pos="100000">
                      <a:srgbClr val="FFFFFF"/>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spcBef>
                <a:spcPts val="100"/>
              </a:spcBef>
              <a:spcAft>
                <a:spcPts val="300"/>
              </a:spcAft>
            </a:pPr>
            <a:r>
              <a:rPr lang="en-US" sz="1600" dirty="0"/>
              <a:t>Each device is a connected device</a:t>
            </a:r>
          </a:p>
          <a:p>
            <a:pPr algn="l">
              <a:spcBef>
                <a:spcPts val="100"/>
              </a:spcBef>
              <a:spcAft>
                <a:spcPts val="300"/>
              </a:spcAft>
            </a:pPr>
            <a:r>
              <a:rPr lang="en-US" sz="1600" dirty="0"/>
              <a:t>Each device is a cache - device loss/recreation is a non-event</a:t>
            </a:r>
          </a:p>
          <a:p>
            <a:pPr algn="l">
              <a:spcBef>
                <a:spcPts val="100"/>
              </a:spcBef>
              <a:spcAft>
                <a:spcPts val="300"/>
              </a:spcAft>
            </a:pPr>
            <a:r>
              <a:rPr lang="en-US" sz="1600" dirty="0"/>
              <a:t>Device state (apps &amp; users) is stored in a cloud (default is SkyDrive)</a:t>
            </a:r>
          </a:p>
          <a:p>
            <a:pPr algn="l">
              <a:spcBef>
                <a:spcPts val="100"/>
              </a:spcBef>
              <a:spcAft>
                <a:spcPts val="300"/>
              </a:spcAft>
            </a:pPr>
            <a:r>
              <a:rPr lang="en-US" sz="1600" dirty="0"/>
              <a:t>App &amp; User state is transparently accessible from any device</a:t>
            </a:r>
          </a:p>
          <a:p>
            <a:pPr algn="l">
              <a:spcBef>
                <a:spcPts val="100"/>
              </a:spcBef>
              <a:spcAft>
                <a:spcPts val="300"/>
              </a:spcAft>
            </a:pPr>
            <a:r>
              <a:rPr lang="en-US" sz="1600" dirty="0"/>
              <a:t>A device does not have to have a user interface or even users (sensors, etc.)</a:t>
            </a:r>
          </a:p>
        </p:txBody>
      </p:sp>
      <p:sp>
        <p:nvSpPr>
          <p:cNvPr id="28" name="Text Placeholder 4"/>
          <p:cNvSpPr txBox="1">
            <a:spLocks/>
          </p:cNvSpPr>
          <p:nvPr/>
        </p:nvSpPr>
        <p:spPr>
          <a:xfrm>
            <a:off x="2103437" y="4591051"/>
            <a:ext cx="10060766" cy="1976158"/>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defTabSz="932472" fontAlgn="base">
              <a:spcBef>
                <a:spcPct val="0"/>
              </a:spcBef>
              <a:spcAft>
                <a:spcPct val="0"/>
              </a:spcAft>
              <a:defRPr sz="2800">
                <a:gradFill>
                  <a:gsLst>
                    <a:gs pos="0">
                      <a:srgbClr val="FFFFFF"/>
                    </a:gs>
                    <a:gs pos="100000">
                      <a:srgbClr val="FFFFFF"/>
                    </a:gs>
                  </a:gsLst>
                  <a:lin ang="5400000" scaled="0"/>
                </a:gra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spcBef>
                <a:spcPts val="100"/>
              </a:spcBef>
              <a:spcAft>
                <a:spcPts val="300"/>
              </a:spcAft>
            </a:pPr>
            <a:r>
              <a:rPr lang="en-US" sz="1600" dirty="0">
                <a:latin typeface="+mn-lt"/>
              </a:rPr>
              <a:t>Services are designed with a “Cloud First” mindset with a failsafe implementation</a:t>
            </a:r>
          </a:p>
          <a:p>
            <a:pPr>
              <a:spcBef>
                <a:spcPts val="100"/>
              </a:spcBef>
              <a:spcAft>
                <a:spcPts val="300"/>
              </a:spcAft>
            </a:pPr>
            <a:r>
              <a:rPr lang="en-US" sz="1600" dirty="0">
                <a:latin typeface="+mn-lt"/>
              </a:rPr>
              <a:t>RESTful APIs are designed using best practices</a:t>
            </a:r>
          </a:p>
          <a:p>
            <a:pPr>
              <a:spcBef>
                <a:spcPts val="100"/>
              </a:spcBef>
              <a:spcAft>
                <a:spcPts val="300"/>
              </a:spcAft>
            </a:pPr>
            <a:r>
              <a:rPr lang="en-US" sz="1600" dirty="0">
                <a:latin typeface="+mn-lt"/>
              </a:rPr>
              <a:t>Services default to delivering data using a standard protocol (</a:t>
            </a:r>
            <a:r>
              <a:rPr lang="en-US" sz="1600" dirty="0" err="1">
                <a:latin typeface="+mn-lt"/>
              </a:rPr>
              <a:t>OData</a:t>
            </a:r>
            <a:r>
              <a:rPr lang="en-US" sz="1600" dirty="0">
                <a:latin typeface="+mn-lt"/>
              </a:rPr>
              <a:t>)</a:t>
            </a:r>
          </a:p>
          <a:p>
            <a:pPr>
              <a:spcBef>
                <a:spcPts val="100"/>
              </a:spcBef>
              <a:spcAft>
                <a:spcPts val="300"/>
              </a:spcAft>
            </a:pPr>
            <a:r>
              <a:rPr lang="en-US" sz="1600" dirty="0">
                <a:latin typeface="+mn-lt"/>
              </a:rPr>
              <a:t>People-centric or social-enabled services utilize open protocols (Open Graph)</a:t>
            </a:r>
          </a:p>
          <a:p>
            <a:pPr>
              <a:spcBef>
                <a:spcPts val="100"/>
              </a:spcBef>
              <a:spcAft>
                <a:spcPts val="300"/>
              </a:spcAft>
            </a:pPr>
            <a:r>
              <a:rPr lang="en-US" sz="1600" dirty="0">
                <a:latin typeface="+mn-lt"/>
              </a:rPr>
              <a:t>User identity, be it an individual or software, will ideally utilize an open protocol (</a:t>
            </a:r>
            <a:r>
              <a:rPr lang="en-US" sz="1600" dirty="0" err="1">
                <a:latin typeface="+mn-lt"/>
              </a:rPr>
              <a:t>OAuth</a:t>
            </a:r>
            <a:r>
              <a:rPr lang="en-US" sz="1600" dirty="0">
                <a:latin typeface="+mn-lt"/>
              </a:rPr>
              <a:t>)</a:t>
            </a:r>
          </a:p>
          <a:p>
            <a:pPr>
              <a:spcBef>
                <a:spcPts val="100"/>
              </a:spcBef>
              <a:spcAft>
                <a:spcPts val="300"/>
              </a:spcAft>
            </a:pPr>
            <a:r>
              <a:rPr lang="en-US" sz="1600" dirty="0">
                <a:latin typeface="+mn-lt"/>
              </a:rPr>
              <a:t>Services are data-centric and/or insight-enabled</a:t>
            </a:r>
          </a:p>
        </p:txBody>
      </p:sp>
      <p:grpSp>
        <p:nvGrpSpPr>
          <p:cNvPr id="29" name="Group 28"/>
          <p:cNvGrpSpPr/>
          <p:nvPr/>
        </p:nvGrpSpPr>
        <p:grpSpPr>
          <a:xfrm>
            <a:off x="625792" y="1668014"/>
            <a:ext cx="1080773" cy="1105674"/>
            <a:chOff x="3072483" y="1603629"/>
            <a:chExt cx="1709795" cy="1749193"/>
          </a:xfrm>
          <a:solidFill>
            <a:schemeClr val="tx1"/>
          </a:solidFill>
        </p:grpSpPr>
        <p:sp>
          <p:nvSpPr>
            <p:cNvPr id="30" name="Freeform 29"/>
            <p:cNvSpPr/>
            <p:nvPr>
              <p:custDataLst>
                <p:tags r:id="rId3"/>
              </p:custDataLst>
            </p:nvPr>
          </p:nvSpPr>
          <p:spPr>
            <a:xfrm>
              <a:off x="3072483" y="2625072"/>
              <a:ext cx="910582" cy="727749"/>
            </a:xfrm>
            <a:custGeom>
              <a:avLst/>
              <a:gdLst>
                <a:gd name="connsiteX0" fmla="*/ 1599875 w 4094502"/>
                <a:gd name="connsiteY0" fmla="*/ 2470150 h 3272380"/>
                <a:gd name="connsiteX1" fmla="*/ 1672900 w 4094502"/>
                <a:gd name="connsiteY1" fmla="*/ 2555875 h 3272380"/>
                <a:gd name="connsiteX2" fmla="*/ 1599875 w 4094502"/>
                <a:gd name="connsiteY2" fmla="*/ 2641600 h 3272380"/>
                <a:gd name="connsiteX3" fmla="*/ 1526850 w 4094502"/>
                <a:gd name="connsiteY3" fmla="*/ 2555875 h 3272380"/>
                <a:gd name="connsiteX4" fmla="*/ 1599875 w 4094502"/>
                <a:gd name="connsiteY4" fmla="*/ 2470150 h 3272380"/>
                <a:gd name="connsiteX5" fmla="*/ 464640 w 4094502"/>
                <a:gd name="connsiteY5" fmla="*/ 303480 h 3272380"/>
                <a:gd name="connsiteX6" fmla="*/ 3606192 w 4094502"/>
                <a:gd name="connsiteY6" fmla="*/ 466442 h 3272380"/>
                <a:gd name="connsiteX7" fmla="*/ 3334588 w 4094502"/>
                <a:gd name="connsiteY7" fmla="*/ 2747915 h 3272380"/>
                <a:gd name="connsiteX8" fmla="*/ 274517 w 4094502"/>
                <a:gd name="connsiteY8" fmla="*/ 2114173 h 3272380"/>
                <a:gd name="connsiteX9" fmla="*/ 464640 w 4094502"/>
                <a:gd name="connsiteY9" fmla="*/ 303480 h 3272380"/>
                <a:gd name="connsiteX10" fmla="*/ 409248 w 4094502"/>
                <a:gd name="connsiteY10" fmla="*/ 80088 h 3272380"/>
                <a:gd name="connsiteX11" fmla="*/ 261669 w 4094502"/>
                <a:gd name="connsiteY11" fmla="*/ 189140 h 3272380"/>
                <a:gd name="connsiteX12" fmla="*/ 71482 w 4094502"/>
                <a:gd name="connsiteY12" fmla="*/ 2192886 h 3272380"/>
                <a:gd name="connsiteX13" fmla="*/ 169802 w 4094502"/>
                <a:gd name="connsiteY13" fmla="*/ 2380836 h 3272380"/>
                <a:gd name="connsiteX14" fmla="*/ 3393948 w 4094502"/>
                <a:gd name="connsiteY14" fmla="*/ 3177816 h 3272380"/>
                <a:gd name="connsiteX15" fmla="*/ 3638476 w 4094502"/>
                <a:gd name="connsiteY15" fmla="*/ 3069137 h 3272380"/>
                <a:gd name="connsiteX16" fmla="*/ 3991683 w 4094502"/>
                <a:gd name="connsiteY16" fmla="*/ 370272 h 3272380"/>
                <a:gd name="connsiteX17" fmla="*/ 3855834 w 4094502"/>
                <a:gd name="connsiteY17" fmla="*/ 171027 h 3272380"/>
                <a:gd name="connsiteX18" fmla="*/ 468670 w 4094502"/>
                <a:gd name="connsiteY18" fmla="*/ 80461 h 3272380"/>
                <a:gd name="connsiteX19" fmla="*/ 409248 w 4094502"/>
                <a:gd name="connsiteY19" fmla="*/ 80088 h 3272380"/>
                <a:gd name="connsiteX20" fmla="*/ 387026 w 4094502"/>
                <a:gd name="connsiteY20" fmla="*/ 0 h 3272380"/>
                <a:gd name="connsiteX21" fmla="*/ 3949376 w 4094502"/>
                <a:gd name="connsiteY21" fmla="*/ 95250 h 3272380"/>
                <a:gd name="connsiteX22" fmla="*/ 4092251 w 4094502"/>
                <a:gd name="connsiteY22" fmla="*/ 304800 h 3272380"/>
                <a:gd name="connsiteX23" fmla="*/ 3720776 w 4094502"/>
                <a:gd name="connsiteY23" fmla="*/ 3143250 h 3272380"/>
                <a:gd name="connsiteX24" fmla="*/ 3463601 w 4094502"/>
                <a:gd name="connsiteY24" fmla="*/ 3257550 h 3272380"/>
                <a:gd name="connsiteX25" fmla="*/ 72701 w 4094502"/>
                <a:gd name="connsiteY25" fmla="*/ 2419350 h 3272380"/>
                <a:gd name="connsiteX26" fmla="*/ 6026 w 4094502"/>
                <a:gd name="connsiteY26" fmla="*/ 2238375 h 3272380"/>
                <a:gd name="connsiteX27" fmla="*/ 206051 w 4094502"/>
                <a:gd name="connsiteY27" fmla="*/ 114300 h 3272380"/>
                <a:gd name="connsiteX28" fmla="*/ 387026 w 4094502"/>
                <a:gd name="connsiteY28" fmla="*/ 0 h 3272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094502" h="3272380">
                  <a:moveTo>
                    <a:pt x="1599875" y="2470150"/>
                  </a:moveTo>
                  <a:cubicBezTo>
                    <a:pt x="1640206" y="2470150"/>
                    <a:pt x="1672900" y="2508530"/>
                    <a:pt x="1672900" y="2555875"/>
                  </a:cubicBezTo>
                  <a:cubicBezTo>
                    <a:pt x="1672900" y="2603220"/>
                    <a:pt x="1640206" y="2641600"/>
                    <a:pt x="1599875" y="2641600"/>
                  </a:cubicBezTo>
                  <a:cubicBezTo>
                    <a:pt x="1559544" y="2641600"/>
                    <a:pt x="1526850" y="2603220"/>
                    <a:pt x="1526850" y="2555875"/>
                  </a:cubicBezTo>
                  <a:cubicBezTo>
                    <a:pt x="1526850" y="2508530"/>
                    <a:pt x="1559544" y="2470150"/>
                    <a:pt x="1599875" y="2470150"/>
                  </a:cubicBezTo>
                  <a:close/>
                  <a:moveTo>
                    <a:pt x="464640" y="303480"/>
                  </a:moveTo>
                  <a:lnTo>
                    <a:pt x="3606192" y="466442"/>
                  </a:lnTo>
                  <a:lnTo>
                    <a:pt x="3334588" y="2747915"/>
                  </a:lnTo>
                  <a:lnTo>
                    <a:pt x="274517" y="2114173"/>
                  </a:lnTo>
                  <a:lnTo>
                    <a:pt x="464640" y="303480"/>
                  </a:lnTo>
                  <a:close/>
                  <a:moveTo>
                    <a:pt x="409248" y="80088"/>
                  </a:moveTo>
                  <a:cubicBezTo>
                    <a:pt x="286405" y="83901"/>
                    <a:pt x="269594" y="120461"/>
                    <a:pt x="261669" y="189140"/>
                  </a:cubicBezTo>
                  <a:lnTo>
                    <a:pt x="71482" y="2192886"/>
                  </a:lnTo>
                  <a:cubicBezTo>
                    <a:pt x="53873" y="2331582"/>
                    <a:pt x="66380" y="2351272"/>
                    <a:pt x="169802" y="2380836"/>
                  </a:cubicBezTo>
                  <a:lnTo>
                    <a:pt x="3393948" y="3177816"/>
                  </a:lnTo>
                  <a:cubicBezTo>
                    <a:pt x="3506739" y="3198948"/>
                    <a:pt x="3605269" y="3248812"/>
                    <a:pt x="3638476" y="3069137"/>
                  </a:cubicBezTo>
                  <a:lnTo>
                    <a:pt x="3991683" y="370272"/>
                  </a:lnTo>
                  <a:cubicBezTo>
                    <a:pt x="4000740" y="294800"/>
                    <a:pt x="4030096" y="179926"/>
                    <a:pt x="3855834" y="171027"/>
                  </a:cubicBezTo>
                  <a:lnTo>
                    <a:pt x="468670" y="80461"/>
                  </a:lnTo>
                  <a:cubicBezTo>
                    <a:pt x="446510" y="79667"/>
                    <a:pt x="426797" y="79543"/>
                    <a:pt x="409248" y="80088"/>
                  </a:cubicBezTo>
                  <a:close/>
                  <a:moveTo>
                    <a:pt x="387026" y="0"/>
                  </a:moveTo>
                  <a:lnTo>
                    <a:pt x="3949376" y="95250"/>
                  </a:lnTo>
                  <a:cubicBezTo>
                    <a:pt x="4085901" y="107950"/>
                    <a:pt x="4101776" y="225425"/>
                    <a:pt x="4092251" y="304800"/>
                  </a:cubicBezTo>
                  <a:lnTo>
                    <a:pt x="3720776" y="3143250"/>
                  </a:lnTo>
                  <a:cubicBezTo>
                    <a:pt x="3685851" y="3298825"/>
                    <a:pt x="3558851" y="3279775"/>
                    <a:pt x="3463601" y="3257550"/>
                  </a:cubicBezTo>
                  <a:lnTo>
                    <a:pt x="72701" y="2419350"/>
                  </a:lnTo>
                  <a:cubicBezTo>
                    <a:pt x="-19374" y="2374900"/>
                    <a:pt x="-324" y="2346325"/>
                    <a:pt x="6026" y="2238375"/>
                  </a:cubicBezTo>
                  <a:lnTo>
                    <a:pt x="206051" y="114300"/>
                  </a:lnTo>
                  <a:cubicBezTo>
                    <a:pt x="215576" y="31750"/>
                    <a:pt x="247326" y="0"/>
                    <a:pt x="38702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sz="1350">
                <a:solidFill>
                  <a:srgbClr val="FFFFFF"/>
                </a:solidFill>
              </a:endParaRPr>
            </a:p>
          </p:txBody>
        </p:sp>
        <p:sp>
          <p:nvSpPr>
            <p:cNvPr id="31" name="Round Same Side Corner Rectangle 2"/>
            <p:cNvSpPr/>
            <p:nvPr>
              <p:custDataLst>
                <p:tags r:id="rId4"/>
              </p:custDataLst>
            </p:nvPr>
          </p:nvSpPr>
          <p:spPr>
            <a:xfrm>
              <a:off x="4170846" y="2427471"/>
              <a:ext cx="456424" cy="925351"/>
            </a:xfrm>
            <a:custGeom>
              <a:avLst/>
              <a:gdLst/>
              <a:ahLst/>
              <a:cxnLst/>
              <a:rect l="l" t="t" r="r" b="b"/>
              <a:pathLst>
                <a:path w="1479550" h="2999631">
                  <a:moveTo>
                    <a:pt x="739775" y="2723722"/>
                  </a:moveTo>
                  <a:cubicBezTo>
                    <a:pt x="701170" y="2723722"/>
                    <a:pt x="669874" y="2755018"/>
                    <a:pt x="669874" y="2793623"/>
                  </a:cubicBezTo>
                  <a:cubicBezTo>
                    <a:pt x="669874" y="2832228"/>
                    <a:pt x="701170" y="2863524"/>
                    <a:pt x="739775" y="2863524"/>
                  </a:cubicBezTo>
                  <a:cubicBezTo>
                    <a:pt x="778380" y="2863524"/>
                    <a:pt x="809676" y="2832228"/>
                    <a:pt x="809676" y="2793623"/>
                  </a:cubicBezTo>
                  <a:cubicBezTo>
                    <a:pt x="809676" y="2755018"/>
                    <a:pt x="778380" y="2723722"/>
                    <a:pt x="739775" y="2723722"/>
                  </a:cubicBezTo>
                  <a:close/>
                  <a:moveTo>
                    <a:pt x="201613" y="1629933"/>
                  </a:moveTo>
                  <a:lnTo>
                    <a:pt x="1123848" y="1629933"/>
                  </a:lnTo>
                  <a:lnTo>
                    <a:pt x="1123848" y="2058558"/>
                  </a:lnTo>
                  <a:lnTo>
                    <a:pt x="201613" y="2058558"/>
                  </a:lnTo>
                  <a:close/>
                  <a:moveTo>
                    <a:pt x="685698" y="1155271"/>
                  </a:moveTo>
                  <a:lnTo>
                    <a:pt x="1123848" y="1155271"/>
                  </a:lnTo>
                  <a:lnTo>
                    <a:pt x="1123848" y="1583896"/>
                  </a:lnTo>
                  <a:lnTo>
                    <a:pt x="685698" y="1583896"/>
                  </a:lnTo>
                  <a:close/>
                  <a:moveTo>
                    <a:pt x="201613" y="1155271"/>
                  </a:moveTo>
                  <a:lnTo>
                    <a:pt x="639763" y="1155271"/>
                  </a:lnTo>
                  <a:lnTo>
                    <a:pt x="639763" y="1583896"/>
                  </a:lnTo>
                  <a:lnTo>
                    <a:pt x="201613" y="1583896"/>
                  </a:lnTo>
                  <a:close/>
                  <a:moveTo>
                    <a:pt x="685698" y="680609"/>
                  </a:moveTo>
                  <a:lnTo>
                    <a:pt x="1123848" y="680609"/>
                  </a:lnTo>
                  <a:lnTo>
                    <a:pt x="1123848" y="1109234"/>
                  </a:lnTo>
                  <a:lnTo>
                    <a:pt x="685698" y="1109234"/>
                  </a:lnTo>
                  <a:close/>
                  <a:moveTo>
                    <a:pt x="201613" y="680609"/>
                  </a:moveTo>
                  <a:lnTo>
                    <a:pt x="639763" y="680609"/>
                  </a:lnTo>
                  <a:lnTo>
                    <a:pt x="639763" y="1109234"/>
                  </a:lnTo>
                  <a:lnTo>
                    <a:pt x="201613" y="1109234"/>
                  </a:lnTo>
                  <a:close/>
                  <a:moveTo>
                    <a:pt x="154163" y="413909"/>
                  </a:moveTo>
                  <a:lnTo>
                    <a:pt x="154163" y="2528459"/>
                  </a:lnTo>
                  <a:lnTo>
                    <a:pt x="201613" y="2528459"/>
                  </a:lnTo>
                  <a:lnTo>
                    <a:pt x="201613" y="2104596"/>
                  </a:lnTo>
                  <a:lnTo>
                    <a:pt x="639763" y="2104596"/>
                  </a:lnTo>
                  <a:lnTo>
                    <a:pt x="639763" y="2528459"/>
                  </a:lnTo>
                  <a:lnTo>
                    <a:pt x="685698" y="2528459"/>
                  </a:lnTo>
                  <a:lnTo>
                    <a:pt x="685698" y="2104596"/>
                  </a:lnTo>
                  <a:lnTo>
                    <a:pt x="1123848" y="2104596"/>
                  </a:lnTo>
                  <a:lnTo>
                    <a:pt x="1123848" y="2528459"/>
                  </a:lnTo>
                  <a:lnTo>
                    <a:pt x="1325388" y="2528459"/>
                  </a:lnTo>
                  <a:lnTo>
                    <a:pt x="1325388" y="413909"/>
                  </a:lnTo>
                  <a:close/>
                  <a:moveTo>
                    <a:pt x="556419" y="171020"/>
                  </a:moveTo>
                  <a:cubicBezTo>
                    <a:pt x="543267" y="171020"/>
                    <a:pt x="532606" y="181681"/>
                    <a:pt x="532606" y="194833"/>
                  </a:cubicBezTo>
                  <a:cubicBezTo>
                    <a:pt x="532606" y="207984"/>
                    <a:pt x="543267" y="218645"/>
                    <a:pt x="556419" y="218645"/>
                  </a:cubicBezTo>
                  <a:lnTo>
                    <a:pt x="923131" y="218646"/>
                  </a:lnTo>
                  <a:cubicBezTo>
                    <a:pt x="936283" y="218646"/>
                    <a:pt x="946944" y="207985"/>
                    <a:pt x="946944" y="194833"/>
                  </a:cubicBezTo>
                  <a:lnTo>
                    <a:pt x="946945" y="194833"/>
                  </a:lnTo>
                  <a:cubicBezTo>
                    <a:pt x="946945" y="181681"/>
                    <a:pt x="936284" y="171020"/>
                    <a:pt x="923132" y="171020"/>
                  </a:cubicBezTo>
                  <a:close/>
                  <a:moveTo>
                    <a:pt x="725487" y="274"/>
                  </a:moveTo>
                  <a:cubicBezTo>
                    <a:pt x="1081947" y="-5382"/>
                    <a:pt x="1443170" y="76220"/>
                    <a:pt x="1479550" y="262045"/>
                  </a:cubicBezTo>
                  <a:lnTo>
                    <a:pt x="1479550" y="1250633"/>
                  </a:lnTo>
                  <a:lnTo>
                    <a:pt x="1479550" y="1748998"/>
                  </a:lnTo>
                  <a:lnTo>
                    <a:pt x="1479550" y="2737586"/>
                  </a:lnTo>
                  <a:cubicBezTo>
                    <a:pt x="1406789" y="3109236"/>
                    <a:pt x="34660" y="3063993"/>
                    <a:pt x="0" y="2737586"/>
                  </a:cubicBezTo>
                  <a:lnTo>
                    <a:pt x="0" y="1748998"/>
                  </a:lnTo>
                  <a:lnTo>
                    <a:pt x="0" y="1250633"/>
                  </a:lnTo>
                  <a:lnTo>
                    <a:pt x="0" y="262045"/>
                  </a:lnTo>
                  <a:cubicBezTo>
                    <a:pt x="17330" y="98842"/>
                    <a:pt x="369027" y="5929"/>
                    <a:pt x="725487" y="27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59"/>
              <a:endParaRPr lang="en-US" sz="1350">
                <a:solidFill>
                  <a:srgbClr val="FFFFFF"/>
                </a:solidFill>
              </a:endParaRPr>
            </a:p>
          </p:txBody>
        </p:sp>
        <p:sp>
          <p:nvSpPr>
            <p:cNvPr id="32" name="Oval 20"/>
            <p:cNvSpPr/>
            <p:nvPr>
              <p:custDataLst>
                <p:tags r:id="rId5"/>
              </p:custDataLst>
            </p:nvPr>
          </p:nvSpPr>
          <p:spPr bwMode="auto">
            <a:xfrm>
              <a:off x="3072483" y="1603629"/>
              <a:ext cx="762917" cy="850394"/>
            </a:xfrm>
            <a:custGeom>
              <a:avLst/>
              <a:gdLst/>
              <a:ahLst/>
              <a:cxnLst/>
              <a:rect l="l" t="t" r="r" b="b"/>
              <a:pathLst>
                <a:path w="1371600" h="1528869">
                  <a:moveTo>
                    <a:pt x="176321" y="61931"/>
                  </a:moveTo>
                  <a:cubicBezTo>
                    <a:pt x="138207" y="345243"/>
                    <a:pt x="100093" y="625381"/>
                    <a:pt x="61979" y="908693"/>
                  </a:cubicBezTo>
                  <a:lnTo>
                    <a:pt x="1154853" y="1120942"/>
                  </a:lnTo>
                  <a:cubicBezTo>
                    <a:pt x="1191909" y="816463"/>
                    <a:pt x="1228964" y="502460"/>
                    <a:pt x="1266020" y="197981"/>
                  </a:cubicBezTo>
                  <a:close/>
                  <a:moveTo>
                    <a:pt x="123825" y="0"/>
                  </a:moveTo>
                  <a:lnTo>
                    <a:pt x="1327150" y="152400"/>
                  </a:lnTo>
                  <a:lnTo>
                    <a:pt x="1371600" y="203200"/>
                  </a:lnTo>
                  <a:lnTo>
                    <a:pt x="1266825" y="1133475"/>
                  </a:lnTo>
                  <a:lnTo>
                    <a:pt x="1203325" y="1206500"/>
                  </a:lnTo>
                  <a:lnTo>
                    <a:pt x="1104540" y="1186430"/>
                  </a:lnTo>
                  <a:cubicBezTo>
                    <a:pt x="1143520" y="1218893"/>
                    <a:pt x="1165226" y="1257868"/>
                    <a:pt x="1165226" y="1299422"/>
                  </a:cubicBezTo>
                  <a:cubicBezTo>
                    <a:pt x="1165226" y="1426142"/>
                    <a:pt x="963374" y="1528869"/>
                    <a:pt x="714376" y="1528869"/>
                  </a:cubicBezTo>
                  <a:cubicBezTo>
                    <a:pt x="465378" y="1528869"/>
                    <a:pt x="263526" y="1426142"/>
                    <a:pt x="263526" y="1299422"/>
                  </a:cubicBezTo>
                  <a:cubicBezTo>
                    <a:pt x="263526" y="1195700"/>
                    <a:pt x="398762" y="1108052"/>
                    <a:pt x="584567" y="1080790"/>
                  </a:cubicBezTo>
                  <a:lnTo>
                    <a:pt x="0" y="962025"/>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34285" rIns="34285" bIns="68570" numCol="1" spcCol="0" rtlCol="0" fromWordArt="0" anchor="b" anchorCtr="0" forceAA="0" compatLnSpc="1">
              <a:prstTxWarp prst="textNoShape">
                <a:avLst/>
              </a:prstTxWarp>
              <a:noAutofit/>
            </a:bodyPr>
            <a:lstStyle/>
            <a:p>
              <a:pPr algn="ctr" defTabSz="685513" fontAlgn="base">
                <a:spcBef>
                  <a:spcPct val="0"/>
                </a:spcBef>
                <a:spcAft>
                  <a:spcPct val="0"/>
                </a:spcAft>
              </a:pPr>
              <a:endParaRPr lang="en-US" sz="1350" spc="-38" dirty="0" err="1">
                <a:gradFill>
                  <a:gsLst>
                    <a:gs pos="0">
                      <a:srgbClr val="FFFFFF"/>
                    </a:gs>
                    <a:gs pos="100000">
                      <a:srgbClr val="FFFFFF"/>
                    </a:gs>
                  </a:gsLst>
                  <a:lin ang="5400000" scaled="0"/>
                </a:gradFill>
                <a:ea typeface="Segoe UI" pitchFamily="34" charset="0"/>
                <a:cs typeface="Segoe UI" pitchFamily="34" charset="0"/>
              </a:endParaRPr>
            </a:p>
          </p:txBody>
        </p:sp>
        <p:sp>
          <p:nvSpPr>
            <p:cNvPr id="33" name="Rounded Rectangle 22"/>
            <p:cNvSpPr/>
            <p:nvPr>
              <p:custDataLst>
                <p:tags r:id="rId6"/>
              </p:custDataLst>
            </p:nvPr>
          </p:nvSpPr>
          <p:spPr bwMode="auto">
            <a:xfrm rot="261569">
              <a:off x="4132347" y="1781032"/>
              <a:ext cx="649931" cy="495589"/>
            </a:xfrm>
            <a:custGeom>
              <a:avLst/>
              <a:gdLst/>
              <a:ahLst/>
              <a:cxnLst/>
              <a:rect l="l" t="t" r="r" b="b"/>
              <a:pathLst>
                <a:path w="721758" h="550359">
                  <a:moveTo>
                    <a:pt x="46095" y="149962"/>
                  </a:moveTo>
                  <a:lnTo>
                    <a:pt x="680155" y="157474"/>
                  </a:lnTo>
                  <a:lnTo>
                    <a:pt x="667756" y="478401"/>
                  </a:lnTo>
                  <a:cubicBezTo>
                    <a:pt x="667756" y="498018"/>
                    <a:pt x="658510" y="512214"/>
                    <a:pt x="637763" y="512214"/>
                  </a:cubicBezTo>
                  <a:lnTo>
                    <a:pt x="71185" y="453145"/>
                  </a:lnTo>
                  <a:cubicBezTo>
                    <a:pt x="50438" y="453145"/>
                    <a:pt x="36516" y="450260"/>
                    <a:pt x="36516" y="430643"/>
                  </a:cubicBezTo>
                  <a:cubicBezTo>
                    <a:pt x="36516" y="332951"/>
                    <a:pt x="43978" y="243842"/>
                    <a:pt x="46095" y="149962"/>
                  </a:cubicBezTo>
                  <a:close/>
                  <a:moveTo>
                    <a:pt x="615927" y="81117"/>
                  </a:moveTo>
                  <a:lnTo>
                    <a:pt x="612337" y="84582"/>
                  </a:lnTo>
                  <a:lnTo>
                    <a:pt x="622270" y="94875"/>
                  </a:lnTo>
                  <a:lnTo>
                    <a:pt x="611977" y="104808"/>
                  </a:lnTo>
                  <a:lnTo>
                    <a:pt x="615442" y="108399"/>
                  </a:lnTo>
                  <a:lnTo>
                    <a:pt x="625735" y="98465"/>
                  </a:lnTo>
                  <a:lnTo>
                    <a:pt x="635669" y="108759"/>
                  </a:lnTo>
                  <a:lnTo>
                    <a:pt x="639260" y="105294"/>
                  </a:lnTo>
                  <a:lnTo>
                    <a:pt x="629325" y="95001"/>
                  </a:lnTo>
                  <a:lnTo>
                    <a:pt x="639620" y="85067"/>
                  </a:lnTo>
                  <a:lnTo>
                    <a:pt x="636154" y="81477"/>
                  </a:lnTo>
                  <a:lnTo>
                    <a:pt x="625860" y="91410"/>
                  </a:lnTo>
                  <a:close/>
                  <a:moveTo>
                    <a:pt x="498754" y="87499"/>
                  </a:moveTo>
                  <a:cubicBezTo>
                    <a:pt x="497914" y="87452"/>
                    <a:pt x="497193" y="88094"/>
                    <a:pt x="497144" y="88935"/>
                  </a:cubicBezTo>
                  <a:lnTo>
                    <a:pt x="496798" y="95020"/>
                  </a:lnTo>
                  <a:cubicBezTo>
                    <a:pt x="496750" y="95861"/>
                    <a:pt x="497395" y="96581"/>
                    <a:pt x="498234" y="96629"/>
                  </a:cubicBezTo>
                  <a:lnTo>
                    <a:pt x="531706" y="98532"/>
                  </a:lnTo>
                  <a:cubicBezTo>
                    <a:pt x="532546" y="98580"/>
                    <a:pt x="533267" y="97938"/>
                    <a:pt x="533315" y="97097"/>
                  </a:cubicBezTo>
                  <a:lnTo>
                    <a:pt x="533661" y="91012"/>
                  </a:lnTo>
                  <a:cubicBezTo>
                    <a:pt x="533710" y="90171"/>
                    <a:pt x="533065" y="89451"/>
                    <a:pt x="532225" y="89403"/>
                  </a:cubicBezTo>
                  <a:close/>
                  <a:moveTo>
                    <a:pt x="555540" y="76694"/>
                  </a:moveTo>
                  <a:lnTo>
                    <a:pt x="582836" y="77548"/>
                  </a:lnTo>
                  <a:lnTo>
                    <a:pt x="581960" y="105576"/>
                  </a:lnTo>
                  <a:lnTo>
                    <a:pt x="554663" y="104722"/>
                  </a:lnTo>
                  <a:close/>
                  <a:moveTo>
                    <a:pt x="551042" y="72285"/>
                  </a:moveTo>
                  <a:lnTo>
                    <a:pt x="549899" y="108843"/>
                  </a:lnTo>
                  <a:lnTo>
                    <a:pt x="586457" y="109986"/>
                  </a:lnTo>
                  <a:lnTo>
                    <a:pt x="587600" y="73428"/>
                  </a:lnTo>
                  <a:close/>
                  <a:moveTo>
                    <a:pt x="72610" y="37237"/>
                  </a:moveTo>
                  <a:lnTo>
                    <a:pt x="660110" y="42646"/>
                  </a:lnTo>
                  <a:cubicBezTo>
                    <a:pt x="680857" y="42646"/>
                    <a:pt x="683176" y="59662"/>
                    <a:pt x="683177" y="79279"/>
                  </a:cubicBezTo>
                  <a:lnTo>
                    <a:pt x="680861" y="139193"/>
                  </a:lnTo>
                  <a:lnTo>
                    <a:pt x="46719" y="131680"/>
                  </a:lnTo>
                  <a:cubicBezTo>
                    <a:pt x="48551" y="110451"/>
                    <a:pt x="48929" y="88903"/>
                    <a:pt x="48930" y="66920"/>
                  </a:cubicBezTo>
                  <a:cubicBezTo>
                    <a:pt x="48929" y="47303"/>
                    <a:pt x="51863" y="37237"/>
                    <a:pt x="72610" y="37237"/>
                  </a:cubicBezTo>
                  <a:close/>
                  <a:moveTo>
                    <a:pt x="70463" y="22909"/>
                  </a:moveTo>
                  <a:cubicBezTo>
                    <a:pt x="48613" y="22909"/>
                    <a:pt x="32190" y="25740"/>
                    <a:pt x="32190" y="47029"/>
                  </a:cubicBezTo>
                  <a:cubicBezTo>
                    <a:pt x="32190" y="183768"/>
                    <a:pt x="21301" y="298430"/>
                    <a:pt x="21301" y="435169"/>
                  </a:cubicBezTo>
                  <a:cubicBezTo>
                    <a:pt x="21299" y="456458"/>
                    <a:pt x="34034" y="467517"/>
                    <a:pt x="55887" y="467517"/>
                  </a:cubicBezTo>
                  <a:lnTo>
                    <a:pt x="639745" y="527450"/>
                  </a:lnTo>
                  <a:cubicBezTo>
                    <a:pt x="661596" y="527450"/>
                    <a:pt x="680825" y="513067"/>
                    <a:pt x="680825" y="491779"/>
                  </a:cubicBezTo>
                  <a:lnTo>
                    <a:pt x="700458" y="61787"/>
                  </a:lnTo>
                  <a:cubicBezTo>
                    <a:pt x="700460" y="40499"/>
                    <a:pt x="690008" y="22683"/>
                    <a:pt x="668157" y="22683"/>
                  </a:cubicBezTo>
                  <a:close/>
                  <a:moveTo>
                    <a:pt x="52249" y="0"/>
                  </a:moveTo>
                  <a:lnTo>
                    <a:pt x="677336" y="543"/>
                  </a:lnTo>
                  <a:cubicBezTo>
                    <a:pt x="700558" y="543"/>
                    <a:pt x="721758" y="19187"/>
                    <a:pt x="721758" y="42409"/>
                  </a:cubicBezTo>
                  <a:lnTo>
                    <a:pt x="703487" y="500826"/>
                  </a:lnTo>
                  <a:cubicBezTo>
                    <a:pt x="703485" y="524048"/>
                    <a:pt x="680457" y="550359"/>
                    <a:pt x="657235" y="550359"/>
                  </a:cubicBezTo>
                  <a:lnTo>
                    <a:pt x="36757" y="484984"/>
                  </a:lnTo>
                  <a:cubicBezTo>
                    <a:pt x="13535" y="484984"/>
                    <a:pt x="2" y="472920"/>
                    <a:pt x="0" y="449698"/>
                  </a:cubicBezTo>
                  <a:cubicBezTo>
                    <a:pt x="0" y="300541"/>
                    <a:pt x="10202" y="191204"/>
                    <a:pt x="10202" y="42047"/>
                  </a:cubicBezTo>
                  <a:cubicBezTo>
                    <a:pt x="10202" y="18825"/>
                    <a:pt x="29027" y="0"/>
                    <a:pt x="52249"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70" tIns="34285" rIns="34285" bIns="68570" numCol="1" spcCol="0" rtlCol="0" fromWordArt="0" anchor="b" anchorCtr="0" forceAA="0" compatLnSpc="1">
              <a:prstTxWarp prst="textNoShape">
                <a:avLst/>
              </a:prstTxWarp>
              <a:noAutofit/>
            </a:bodyPr>
            <a:lstStyle/>
            <a:p>
              <a:pPr algn="ctr" defTabSz="685513" fontAlgn="base">
                <a:spcBef>
                  <a:spcPct val="0"/>
                </a:spcBef>
                <a:spcAft>
                  <a:spcPct val="0"/>
                </a:spcAft>
              </a:pPr>
              <a:endParaRPr lang="en-US" sz="1350" spc="-38"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34" name="Freeform 7"/>
          <p:cNvSpPr>
            <a:spLocks noChangeAspect="1" noEditPoints="1"/>
          </p:cNvSpPr>
          <p:nvPr/>
        </p:nvSpPr>
        <p:spPr bwMode="black">
          <a:xfrm>
            <a:off x="651450" y="3462538"/>
            <a:ext cx="1029456" cy="910133"/>
          </a:xfrm>
          <a:custGeom>
            <a:avLst/>
            <a:gdLst>
              <a:gd name="T0" fmla="*/ 87 w 162"/>
              <a:gd name="T1" fmla="*/ 109 h 143"/>
              <a:gd name="T2" fmla="*/ 74 w 162"/>
              <a:gd name="T3" fmla="*/ 109 h 143"/>
              <a:gd name="T4" fmla="*/ 74 w 162"/>
              <a:gd name="T5" fmla="*/ 79 h 143"/>
              <a:gd name="T6" fmla="*/ 45 w 162"/>
              <a:gd name="T7" fmla="*/ 79 h 143"/>
              <a:gd name="T8" fmla="*/ 45 w 162"/>
              <a:gd name="T9" fmla="*/ 66 h 143"/>
              <a:gd name="T10" fmla="*/ 74 w 162"/>
              <a:gd name="T11" fmla="*/ 66 h 143"/>
              <a:gd name="T12" fmla="*/ 74 w 162"/>
              <a:gd name="T13" fmla="*/ 36 h 143"/>
              <a:gd name="T14" fmla="*/ 87 w 162"/>
              <a:gd name="T15" fmla="*/ 36 h 143"/>
              <a:gd name="T16" fmla="*/ 87 w 162"/>
              <a:gd name="T17" fmla="*/ 66 h 143"/>
              <a:gd name="T18" fmla="*/ 117 w 162"/>
              <a:gd name="T19" fmla="*/ 66 h 143"/>
              <a:gd name="T20" fmla="*/ 117 w 162"/>
              <a:gd name="T21" fmla="*/ 79 h 143"/>
              <a:gd name="T22" fmla="*/ 87 w 162"/>
              <a:gd name="T23" fmla="*/ 79 h 143"/>
              <a:gd name="T24" fmla="*/ 87 w 162"/>
              <a:gd name="T25" fmla="*/ 109 h 143"/>
              <a:gd name="T26" fmla="*/ 124 w 162"/>
              <a:gd name="T27" fmla="*/ 129 h 143"/>
              <a:gd name="T28" fmla="*/ 81 w 162"/>
              <a:gd name="T29" fmla="*/ 143 h 143"/>
              <a:gd name="T30" fmla="*/ 24 w 162"/>
              <a:gd name="T31" fmla="*/ 115 h 143"/>
              <a:gd name="T32" fmla="*/ 37 w 162"/>
              <a:gd name="T33" fmla="*/ 14 h 143"/>
              <a:gd name="T34" fmla="*/ 81 w 162"/>
              <a:gd name="T35" fmla="*/ 0 h 143"/>
              <a:gd name="T36" fmla="*/ 138 w 162"/>
              <a:gd name="T37" fmla="*/ 28 h 143"/>
              <a:gd name="T38" fmla="*/ 124 w 162"/>
              <a:gd name="T39" fmla="*/ 129 h 143"/>
              <a:gd name="T40" fmla="*/ 130 w 162"/>
              <a:gd name="T41" fmla="*/ 34 h 143"/>
              <a:gd name="T42" fmla="*/ 81 w 162"/>
              <a:gd name="T43" fmla="*/ 9 h 143"/>
              <a:gd name="T44" fmla="*/ 43 w 162"/>
              <a:gd name="T45" fmla="*/ 22 h 143"/>
              <a:gd name="T46" fmla="*/ 31 w 162"/>
              <a:gd name="T47" fmla="*/ 109 h 143"/>
              <a:gd name="T48" fmla="*/ 81 w 162"/>
              <a:gd name="T49" fmla="*/ 134 h 143"/>
              <a:gd name="T50" fmla="*/ 119 w 162"/>
              <a:gd name="T51" fmla="*/ 121 h 143"/>
              <a:gd name="T52" fmla="*/ 130 w 162"/>
              <a:gd name="T53" fmla="*/ 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2" h="143">
                <a:moveTo>
                  <a:pt x="87" y="109"/>
                </a:moveTo>
                <a:cubicBezTo>
                  <a:pt x="74" y="109"/>
                  <a:pt x="74" y="109"/>
                  <a:pt x="74" y="109"/>
                </a:cubicBezTo>
                <a:cubicBezTo>
                  <a:pt x="74" y="79"/>
                  <a:pt x="74" y="79"/>
                  <a:pt x="74" y="79"/>
                </a:cubicBezTo>
                <a:cubicBezTo>
                  <a:pt x="45" y="79"/>
                  <a:pt x="45" y="79"/>
                  <a:pt x="45" y="79"/>
                </a:cubicBezTo>
                <a:cubicBezTo>
                  <a:pt x="45" y="66"/>
                  <a:pt x="45" y="66"/>
                  <a:pt x="45" y="66"/>
                </a:cubicBezTo>
                <a:cubicBezTo>
                  <a:pt x="74" y="66"/>
                  <a:pt x="74" y="66"/>
                  <a:pt x="74" y="66"/>
                </a:cubicBezTo>
                <a:cubicBezTo>
                  <a:pt x="74" y="36"/>
                  <a:pt x="74" y="36"/>
                  <a:pt x="74" y="36"/>
                </a:cubicBezTo>
                <a:cubicBezTo>
                  <a:pt x="87" y="36"/>
                  <a:pt x="87" y="36"/>
                  <a:pt x="87" y="36"/>
                </a:cubicBezTo>
                <a:cubicBezTo>
                  <a:pt x="87" y="66"/>
                  <a:pt x="87" y="66"/>
                  <a:pt x="87" y="66"/>
                </a:cubicBezTo>
                <a:cubicBezTo>
                  <a:pt x="117" y="66"/>
                  <a:pt x="117" y="66"/>
                  <a:pt x="117" y="66"/>
                </a:cubicBezTo>
                <a:cubicBezTo>
                  <a:pt x="117" y="79"/>
                  <a:pt x="117" y="79"/>
                  <a:pt x="117" y="79"/>
                </a:cubicBezTo>
                <a:cubicBezTo>
                  <a:pt x="87" y="79"/>
                  <a:pt x="87" y="79"/>
                  <a:pt x="87" y="79"/>
                </a:cubicBezTo>
                <a:lnTo>
                  <a:pt x="87" y="109"/>
                </a:lnTo>
                <a:close/>
                <a:moveTo>
                  <a:pt x="124" y="129"/>
                </a:moveTo>
                <a:cubicBezTo>
                  <a:pt x="111" y="139"/>
                  <a:pt x="96" y="143"/>
                  <a:pt x="81" y="143"/>
                </a:cubicBezTo>
                <a:cubicBezTo>
                  <a:pt x="59" y="143"/>
                  <a:pt x="38" y="134"/>
                  <a:pt x="24" y="115"/>
                </a:cubicBezTo>
                <a:cubicBezTo>
                  <a:pt x="0" y="84"/>
                  <a:pt x="6" y="38"/>
                  <a:pt x="37" y="14"/>
                </a:cubicBezTo>
                <a:cubicBezTo>
                  <a:pt x="50" y="4"/>
                  <a:pt x="66" y="0"/>
                  <a:pt x="81" y="0"/>
                </a:cubicBezTo>
                <a:cubicBezTo>
                  <a:pt x="102" y="0"/>
                  <a:pt x="124" y="9"/>
                  <a:pt x="138" y="28"/>
                </a:cubicBezTo>
                <a:cubicBezTo>
                  <a:pt x="162" y="60"/>
                  <a:pt x="156" y="105"/>
                  <a:pt x="124" y="129"/>
                </a:cubicBezTo>
                <a:close/>
                <a:moveTo>
                  <a:pt x="130" y="34"/>
                </a:moveTo>
                <a:cubicBezTo>
                  <a:pt x="119" y="18"/>
                  <a:pt x="100" y="9"/>
                  <a:pt x="81" y="9"/>
                </a:cubicBezTo>
                <a:cubicBezTo>
                  <a:pt x="67" y="9"/>
                  <a:pt x="54" y="14"/>
                  <a:pt x="43" y="22"/>
                </a:cubicBezTo>
                <a:cubicBezTo>
                  <a:pt x="16" y="43"/>
                  <a:pt x="10" y="82"/>
                  <a:pt x="31" y="109"/>
                </a:cubicBezTo>
                <a:cubicBezTo>
                  <a:pt x="43" y="125"/>
                  <a:pt x="61" y="134"/>
                  <a:pt x="81" y="134"/>
                </a:cubicBezTo>
                <a:cubicBezTo>
                  <a:pt x="95" y="134"/>
                  <a:pt x="108" y="130"/>
                  <a:pt x="119" y="121"/>
                </a:cubicBezTo>
                <a:cubicBezTo>
                  <a:pt x="146" y="100"/>
                  <a:pt x="151" y="61"/>
                  <a:pt x="130"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932559"/>
            <a:endParaRPr lang="en-US" sz="1350" dirty="0">
              <a:solidFill>
                <a:srgbClr val="FFFFFF"/>
              </a:solidFill>
            </a:endParaRPr>
          </a:p>
        </p:txBody>
      </p:sp>
      <p:pic>
        <p:nvPicPr>
          <p:cNvPr id="35" name="Picture 2" descr="C:\Users\chrisw\Desktop\Cloud Services 3.png"/>
          <p:cNvPicPr>
            <a:picLocks noChangeAspect="1" noChangeArrowheads="1"/>
          </p:cNvPicPr>
          <p:nvPr/>
        </p:nvPicPr>
        <p:blipFill>
          <a:blip r:embed="rId11" cstate="screen">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a:ext>
            </a:extLst>
          </a:blip>
          <a:srcRect/>
          <a:stretch>
            <a:fillRect/>
          </a:stretch>
        </p:blipFill>
        <p:spPr bwMode="black">
          <a:xfrm>
            <a:off x="439188" y="5270051"/>
            <a:ext cx="1453980" cy="10025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869284"/>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24" name="Content Placeholder 4"/>
          <p:cNvGraphicFramePr>
            <a:graphicFrameLocks/>
          </p:cNvGraphicFramePr>
          <p:nvPr>
            <p:extLst/>
          </p:nvPr>
        </p:nvGraphicFramePr>
        <p:xfrm>
          <a:off x="274637" y="830262"/>
          <a:ext cx="11887201" cy="5439620"/>
        </p:xfrm>
        <a:graphic>
          <a:graphicData uri="http://schemas.openxmlformats.org/drawingml/2006/table">
            <a:tbl>
              <a:tblPr firstRow="1" firstCol="1">
                <a:tableStyleId>{37CE84F3-28C3-443E-9E96-99CF82512B78}</a:tableStyleId>
              </a:tblPr>
              <a:tblGrid>
                <a:gridCol w="2475587"/>
                <a:gridCol w="3468014"/>
                <a:gridCol w="2529521"/>
                <a:gridCol w="3414079"/>
              </a:tblGrid>
              <a:tr h="381425">
                <a:tc>
                  <a:txBody>
                    <a:bodyPr/>
                    <a:lstStyle/>
                    <a:p>
                      <a:pPr marL="0" indent="0" algn="ctr" defTabSz="914363" rtl="0" eaLnBrk="1" latinLnBrk="0" hangingPunct="1">
                        <a:lnSpc>
                          <a:spcPct val="100000"/>
                        </a:lnSpc>
                        <a:spcBef>
                          <a:spcPts val="0"/>
                        </a:spcBef>
                        <a:buSzPct val="90000"/>
                        <a:buFont typeface="Wingdings" pitchFamily="2" charset="2"/>
                        <a:buNone/>
                      </a:pPr>
                      <a:r>
                        <a:rPr lang="en-US" sz="2800" b="0" kern="1200" spc="0" dirty="0" smtClean="0">
                          <a:ln>
                            <a:solidFill>
                              <a:schemeClr val="tx1">
                                <a:alpha val="0"/>
                              </a:schemeClr>
                            </a:solidFill>
                          </a:ln>
                          <a:solidFill>
                            <a:schemeClr val="tx1"/>
                          </a:solidFill>
                          <a:latin typeface="+mj-lt"/>
                          <a:ea typeface="+mn-ea"/>
                          <a:cs typeface="+mn-cs"/>
                        </a:rPr>
                        <a:t>Progression level</a:t>
                      </a:r>
                    </a:p>
                  </a:txBody>
                  <a:tcPr marL="93260" marR="93260" marT="46630" marB="46630" anchor="ctr">
                    <a:lnL w="9525"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indent="0" algn="ctr" defTabSz="914363" rtl="0" eaLnBrk="1" latinLnBrk="0" hangingPunct="1">
                        <a:lnSpc>
                          <a:spcPct val="100000"/>
                        </a:lnSpc>
                        <a:spcBef>
                          <a:spcPts val="0"/>
                        </a:spcBef>
                        <a:buSzPct val="90000"/>
                        <a:buFont typeface="Wingdings" pitchFamily="2" charset="2"/>
                        <a:buNone/>
                      </a:pPr>
                      <a:r>
                        <a:rPr lang="en-US" sz="2800" b="0" kern="1200" spc="0" dirty="0" smtClean="0">
                          <a:ln>
                            <a:solidFill>
                              <a:schemeClr val="tx1">
                                <a:alpha val="0"/>
                              </a:schemeClr>
                            </a:solidFill>
                          </a:ln>
                          <a:solidFill>
                            <a:schemeClr val="tx1"/>
                          </a:solidFill>
                          <a:latin typeface="+mj-lt"/>
                          <a:ea typeface="+mn-ea"/>
                          <a:cs typeface="+mn-cs"/>
                        </a:rPr>
                        <a:t>Device focus</a:t>
                      </a:r>
                    </a:p>
                  </a:txBody>
                  <a:tcPr marL="93260" marR="93260" marT="46630" marB="46630" anchor="ctr">
                    <a:lnL w="9525"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indent="0" algn="ctr" defTabSz="914363" rtl="0" eaLnBrk="1" latinLnBrk="0" hangingPunct="1">
                        <a:lnSpc>
                          <a:spcPct val="100000"/>
                        </a:lnSpc>
                        <a:spcBef>
                          <a:spcPts val="0"/>
                        </a:spcBef>
                        <a:buSzPct val="90000"/>
                        <a:buFont typeface="Wingdings" pitchFamily="2" charset="2"/>
                        <a:buNone/>
                      </a:pPr>
                      <a:r>
                        <a:rPr lang="en-US" sz="2800" b="0" kern="1200" spc="0" dirty="0" smtClean="0">
                          <a:ln>
                            <a:solidFill>
                              <a:schemeClr val="tx1">
                                <a:alpha val="0"/>
                              </a:schemeClr>
                            </a:solidFill>
                          </a:ln>
                          <a:solidFill>
                            <a:schemeClr val="tx1"/>
                          </a:solidFill>
                          <a:latin typeface="+mj-lt"/>
                          <a:ea typeface="+mn-ea"/>
                          <a:cs typeface="+mn-cs"/>
                        </a:rPr>
                        <a:t>(+) focus</a:t>
                      </a:r>
                    </a:p>
                  </a:txBody>
                  <a:tcPr marL="93260" marR="93260" marT="46630" marB="46630" anchor="ctr">
                    <a:lnL>
                      <a:noFill/>
                    </a:lnL>
                    <a:lnR>
                      <a:noFill/>
                    </a:lnR>
                    <a:lnT w="9525" cap="flat" cmpd="sng" algn="ctr">
                      <a:noFill/>
                      <a:prstDash val="solid"/>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indent="0" algn="ctr" defTabSz="914363" rtl="0" eaLnBrk="1" latinLnBrk="0" hangingPunct="1">
                        <a:lnSpc>
                          <a:spcPct val="100000"/>
                        </a:lnSpc>
                        <a:spcBef>
                          <a:spcPts val="0"/>
                        </a:spcBef>
                        <a:buSzPct val="90000"/>
                        <a:buFont typeface="Wingdings" pitchFamily="2" charset="2"/>
                        <a:buNone/>
                      </a:pPr>
                      <a:r>
                        <a:rPr lang="en-US" sz="2800" b="0" kern="1200" spc="0" dirty="0" smtClean="0">
                          <a:ln>
                            <a:solidFill>
                              <a:schemeClr val="tx1">
                                <a:alpha val="0"/>
                              </a:schemeClr>
                            </a:solidFill>
                          </a:ln>
                          <a:solidFill>
                            <a:schemeClr val="tx1"/>
                          </a:solidFill>
                          <a:latin typeface="+mj-lt"/>
                          <a:ea typeface="+mn-ea"/>
                          <a:cs typeface="+mn-cs"/>
                        </a:rPr>
                        <a:t>Services focus</a:t>
                      </a:r>
                    </a:p>
                  </a:txBody>
                  <a:tcPr marL="93260" marR="93260" marT="46630" marB="46630" anchor="ctr">
                    <a:lnL>
                      <a:noFill/>
                    </a:lnL>
                    <a:lnR>
                      <a:noFill/>
                    </a:lnR>
                    <a:lnT w="9525" cap="flat" cmpd="sng" algn="ctr">
                      <a:noFill/>
                      <a:prstDash val="solid"/>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solidFill>
                  </a:tcPr>
                </a:tc>
              </a:tr>
              <a:tr h="826727">
                <a:tc>
                  <a:txBody>
                    <a:bodyPr/>
                    <a:lstStyle/>
                    <a:p>
                      <a:pPr algn="ctr">
                        <a:lnSpc>
                          <a:spcPct val="100000"/>
                        </a:lnSpc>
                        <a:spcBef>
                          <a:spcPts val="0"/>
                        </a:spcBef>
                      </a:pPr>
                      <a:r>
                        <a:rPr lang="en-US" sz="2800" b="0" spc="0" dirty="0" smtClean="0">
                          <a:ln>
                            <a:solidFill>
                              <a:schemeClr val="tx1">
                                <a:alpha val="0"/>
                              </a:schemeClr>
                            </a:solidFill>
                          </a:ln>
                          <a:solidFill>
                            <a:schemeClr val="tx1"/>
                          </a:solidFill>
                          <a:effectLst/>
                          <a:latin typeface="+mj-lt"/>
                        </a:rPr>
                        <a:t>3</a:t>
                      </a:r>
                      <a:endParaRPr lang="en-US" sz="2800" b="0" spc="0" dirty="0">
                        <a:ln>
                          <a:solidFill>
                            <a:schemeClr val="tx1">
                              <a:alpha val="0"/>
                            </a:schemeClr>
                          </a:solidFill>
                        </a:ln>
                        <a:solidFill>
                          <a:schemeClr val="tx1"/>
                        </a:solidFill>
                        <a:effectLst/>
                        <a:latin typeface="+mj-lt"/>
                      </a:endParaRPr>
                    </a:p>
                  </a:txBody>
                  <a:tcPr marL="93260" marR="93260" marT="46630" marB="46630" anchor="ctr">
                    <a:lnL w="9525" cap="flat" cmpd="sng" algn="ctr">
                      <a:noFill/>
                      <a:prstDash val="solid"/>
                      <a:round/>
                      <a:headEnd type="none" w="med" len="med"/>
                      <a:tailEnd type="none" w="med" len="med"/>
                    </a:lnL>
                    <a:lnR w="25400" cmpd="sng">
                      <a:noFill/>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0" marR="0" lvl="0" indent="0" algn="l" defTabSz="932559" rtl="0" eaLnBrk="1" fontAlgn="auto" latinLnBrk="0" hangingPunct="1">
                        <a:lnSpc>
                          <a:spcPct val="100000"/>
                        </a:lnSpc>
                        <a:spcBef>
                          <a:spcPts val="450"/>
                        </a:spcBef>
                        <a:spcAft>
                          <a:spcPts val="0"/>
                        </a:spcAft>
                        <a:buClrTx/>
                        <a:buSzTx/>
                        <a:buFontTx/>
                        <a:buNone/>
                        <a:tabLst/>
                        <a:defRPr/>
                      </a:pPr>
                      <a:r>
                        <a:rPr kumimoji="0" lang="en-US" sz="20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t>Insight-enabled:</a:t>
                      </a:r>
                    </a:p>
                    <a:p>
                      <a:pPr marL="292100" marR="0" lvl="0" indent="-188913" algn="l" defTabSz="932559" rtl="0" eaLnBrk="1" fontAlgn="auto" latinLnBrk="0" hangingPunct="1">
                        <a:lnSpc>
                          <a:spcPct val="100000"/>
                        </a:lnSpc>
                        <a:spcBef>
                          <a:spcPts val="2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t>Telemetry: emitting events </a:t>
                      </a:r>
                    </a:p>
                    <a:p>
                      <a:pPr marL="292100" marR="0" lvl="0" indent="-188913" algn="l" defTabSz="932559" rtl="0" eaLnBrk="1" fontAlgn="auto" latinLnBrk="0" hangingPunct="1">
                        <a:lnSpc>
                          <a:spcPct val="100000"/>
                        </a:lnSpc>
                        <a:spcBef>
                          <a:spcPts val="2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t>Models: accept models and adjust based upon insight model</a:t>
                      </a:r>
                      <a:endParaRPr kumimoji="0" lang="en-US" sz="1400" b="0" i="0" u="none" strike="noStrike" kern="1200" cap="none" spc="0" normalizeH="0" baseline="0" noProof="0" dirty="0">
                        <a:ln>
                          <a:solidFill>
                            <a:schemeClr val="tx1">
                              <a:alpha val="0"/>
                            </a:schemeClr>
                          </a:solidFill>
                        </a:ln>
                        <a:solidFill>
                          <a:schemeClr val="tx1"/>
                        </a:solidFill>
                        <a:effectLst/>
                        <a:uLnTx/>
                        <a:uFillTx/>
                        <a:latin typeface="+mn-lt"/>
                        <a:ea typeface="+mn-ea"/>
                        <a:cs typeface="+mn-cs"/>
                      </a:endParaRPr>
                    </a:p>
                  </a:txBody>
                  <a:tcPr marL="93260" marR="93260" marT="46630" marB="46630" anchor="ctr">
                    <a:lnL w="9525" cap="flat" cmpd="sng" algn="ctr">
                      <a:noFill/>
                      <a:prstDash val="solid"/>
                      <a:round/>
                      <a:headEnd type="none" w="med" len="med"/>
                      <a:tailEnd type="none" w="med" len="med"/>
                    </a:lnL>
                    <a:lnR w="25400" cmpd="sng">
                      <a:noFill/>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0" marR="0" lvl="0" indent="0" algn="ctr" defTabSz="932559"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t>No change to 1</a:t>
                      </a:r>
                      <a:endParaRPr kumimoji="0" lang="en-US" sz="2000" b="0" i="0" u="none" strike="noStrike" kern="1200" cap="none" spc="0" normalizeH="0" baseline="0" noProof="0" dirty="0">
                        <a:ln>
                          <a:solidFill>
                            <a:schemeClr val="tx1">
                              <a:alpha val="0"/>
                            </a:schemeClr>
                          </a:solidFill>
                        </a:ln>
                        <a:solidFill>
                          <a:schemeClr val="tx1"/>
                        </a:solidFill>
                        <a:effectLst/>
                        <a:uLnTx/>
                        <a:uFillTx/>
                        <a:latin typeface="+mn-lt"/>
                        <a:ea typeface="+mn-ea"/>
                        <a:cs typeface="+mn-cs"/>
                      </a:endParaRPr>
                    </a:p>
                  </a:txBody>
                  <a:tcPr marL="93260" marR="93260" marT="46630" marB="46630" anchor="ctr">
                    <a:lnL w="25400" cmpd="sng">
                      <a:noFill/>
                    </a:lnL>
                    <a:lnR>
                      <a:noFill/>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188913" marR="0" lvl="0" indent="-188913" algn="l" defTabSz="932559" rtl="0" eaLnBrk="1" fontAlgn="auto" latinLnBrk="0" hangingPunct="1">
                        <a:lnSpc>
                          <a:spcPct val="100000"/>
                        </a:lnSpc>
                        <a:spcBef>
                          <a:spcPts val="75"/>
                        </a:spcBef>
                        <a:spcAft>
                          <a:spcPts val="150"/>
                        </a:spcAft>
                        <a:buClrTx/>
                        <a:buSzTx/>
                        <a:buFont typeface="Arial" panose="020B0604020202020204" pitchFamily="34" charset="0"/>
                        <a:buChar char="•"/>
                        <a:tabLst/>
                        <a:defRPr/>
                      </a:pPr>
                      <a:r>
                        <a:rPr kumimoji="0" lang="en-US" sz="14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t>Consumption of event data (mobile services? 2-way notifications?)</a:t>
                      </a:r>
                    </a:p>
                    <a:p>
                      <a:pPr marL="188913" marR="0" lvl="0" indent="-188913" algn="l" defTabSz="932559" rtl="0" eaLnBrk="1" fontAlgn="auto" latinLnBrk="0" hangingPunct="1">
                        <a:lnSpc>
                          <a:spcPct val="100000"/>
                        </a:lnSpc>
                        <a:spcBef>
                          <a:spcPts val="75"/>
                        </a:spcBef>
                        <a:spcAft>
                          <a:spcPts val="150"/>
                        </a:spcAft>
                        <a:buClrTx/>
                        <a:buSzTx/>
                        <a:buFont typeface="Arial" panose="020B0604020202020204" pitchFamily="34" charset="0"/>
                        <a:buChar char="•"/>
                        <a:tabLst/>
                        <a:defRPr/>
                      </a:pPr>
                      <a:r>
                        <a:rPr kumimoji="0" lang="en-US" sz="14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t>Model analysis</a:t>
                      </a:r>
                    </a:p>
                    <a:p>
                      <a:pPr marL="188913" marR="0" lvl="0" indent="-188913" algn="l" defTabSz="932559" rtl="0" eaLnBrk="1" fontAlgn="auto" latinLnBrk="0" hangingPunct="1">
                        <a:lnSpc>
                          <a:spcPct val="100000"/>
                        </a:lnSpc>
                        <a:spcBef>
                          <a:spcPts val="75"/>
                        </a:spcBef>
                        <a:spcAft>
                          <a:spcPts val="150"/>
                        </a:spcAft>
                        <a:buClrTx/>
                        <a:buSzTx/>
                        <a:buFont typeface="Arial" panose="020B0604020202020204" pitchFamily="34" charset="0"/>
                        <a:buChar char="•"/>
                        <a:tabLst/>
                        <a:defRPr/>
                      </a:pPr>
                      <a:r>
                        <a:rPr kumimoji="0" lang="en-US" sz="14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t>Model output: recommendations, etc.</a:t>
                      </a:r>
                      <a:endParaRPr kumimoji="0" lang="en-US" sz="1400" b="0" i="0" u="none" strike="noStrike" kern="1200" cap="none" spc="0" normalizeH="0" baseline="0" noProof="0" dirty="0">
                        <a:ln>
                          <a:solidFill>
                            <a:schemeClr val="tx1">
                              <a:alpha val="0"/>
                            </a:schemeClr>
                          </a:solidFill>
                        </a:ln>
                        <a:solidFill>
                          <a:schemeClr val="tx1"/>
                        </a:solidFill>
                        <a:effectLst/>
                        <a:uLnTx/>
                        <a:uFillTx/>
                        <a:latin typeface="+mn-lt"/>
                        <a:ea typeface="+mn-ea"/>
                        <a:cs typeface="+mn-cs"/>
                      </a:endParaRPr>
                    </a:p>
                  </a:txBody>
                  <a:tcPr marL="93260" marR="93260" marT="46630" marB="46630" anchor="ctr">
                    <a:lnL>
                      <a:noFill/>
                    </a:lnL>
                    <a:lnR>
                      <a:noFill/>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r>
              <a:tr h="826727">
                <a:tc>
                  <a:txBody>
                    <a:bodyPr/>
                    <a:lstStyle/>
                    <a:p>
                      <a:pPr algn="ctr">
                        <a:lnSpc>
                          <a:spcPct val="100000"/>
                        </a:lnSpc>
                        <a:spcBef>
                          <a:spcPts val="0"/>
                        </a:spcBef>
                      </a:pPr>
                      <a:r>
                        <a:rPr lang="en-US" sz="2800" b="0" spc="0" dirty="0" smtClean="0">
                          <a:ln>
                            <a:solidFill>
                              <a:schemeClr val="tx1">
                                <a:alpha val="0"/>
                              </a:schemeClr>
                            </a:solidFill>
                          </a:ln>
                          <a:solidFill>
                            <a:schemeClr val="tx1"/>
                          </a:solidFill>
                          <a:effectLst/>
                          <a:latin typeface="+mj-lt"/>
                        </a:rPr>
                        <a:t>2</a:t>
                      </a:r>
                      <a:endParaRPr lang="en-US" sz="2800" b="0" spc="0" dirty="0">
                        <a:ln>
                          <a:solidFill>
                            <a:schemeClr val="tx1">
                              <a:alpha val="0"/>
                            </a:schemeClr>
                          </a:solidFill>
                        </a:ln>
                        <a:solidFill>
                          <a:schemeClr val="tx1"/>
                        </a:solidFill>
                        <a:effectLst/>
                        <a:latin typeface="+mj-lt"/>
                      </a:endParaRPr>
                    </a:p>
                  </a:txBody>
                  <a:tcPr marL="93260" marR="93260" marT="46630" marB="46630" anchor="ctr">
                    <a:lnL w="9525" cap="flat" cmpd="sng" algn="ctr">
                      <a:noFill/>
                      <a:prstDash val="solid"/>
                      <a:round/>
                      <a:headEnd type="none" w="med" len="med"/>
                      <a:tailEnd type="none" w="med" len="med"/>
                    </a:lnL>
                    <a:lnR w="25400" cmpd="sng">
                      <a:noFill/>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0" marR="0" lvl="0" indent="0" algn="l" defTabSz="932559" rtl="0" eaLnBrk="1" fontAlgn="auto" latinLnBrk="0" hangingPunct="1">
                        <a:lnSpc>
                          <a:spcPct val="100000"/>
                        </a:lnSpc>
                        <a:spcBef>
                          <a:spcPts val="450"/>
                        </a:spcBef>
                        <a:spcAft>
                          <a:spcPts val="0"/>
                        </a:spcAft>
                        <a:buClrTx/>
                        <a:buSzTx/>
                        <a:buFontTx/>
                        <a:buNone/>
                        <a:tabLst/>
                        <a:defRPr/>
                      </a:pPr>
                      <a:r>
                        <a:rPr kumimoji="0" lang="en-US" sz="20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t>Social-enabled:</a:t>
                      </a:r>
                    </a:p>
                    <a:p>
                      <a:pPr marL="292100" marR="0" lvl="0" indent="-188913" algn="l" defTabSz="932559" rtl="0" eaLnBrk="1" fontAlgn="auto" latinLnBrk="0" hangingPunct="1">
                        <a:lnSpc>
                          <a:spcPct val="100000"/>
                        </a:lnSpc>
                        <a:spcBef>
                          <a:spcPts val="2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t>Consumer: social contracts (Windows - share/connected address books)</a:t>
                      </a:r>
                    </a:p>
                    <a:p>
                      <a:pPr marL="292100" marR="0" lvl="0" indent="-188913" algn="l" defTabSz="932559" rtl="0" eaLnBrk="1" fontAlgn="auto" latinLnBrk="0" hangingPunct="1">
                        <a:lnSpc>
                          <a:spcPct val="100000"/>
                        </a:lnSpc>
                        <a:spcBef>
                          <a:spcPts val="2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t>Enterprise: Open Graph API</a:t>
                      </a:r>
                      <a:endParaRPr kumimoji="0" lang="en-US" sz="1400" b="0" i="0" u="none" strike="noStrike" kern="1200" cap="none" spc="0" normalizeH="0" baseline="0" noProof="0" dirty="0">
                        <a:ln>
                          <a:solidFill>
                            <a:schemeClr val="tx1">
                              <a:alpha val="0"/>
                            </a:schemeClr>
                          </a:solidFill>
                        </a:ln>
                        <a:solidFill>
                          <a:schemeClr val="tx1"/>
                        </a:solidFill>
                        <a:effectLst/>
                        <a:uLnTx/>
                        <a:uFillTx/>
                        <a:latin typeface="+mn-lt"/>
                        <a:ea typeface="+mn-ea"/>
                        <a:cs typeface="+mn-cs"/>
                      </a:endParaRPr>
                    </a:p>
                  </a:txBody>
                  <a:tcPr marL="93260" marR="93260" marT="46630" marB="46630" anchor="ctr">
                    <a:lnL w="9525" cap="flat" cmpd="sng" algn="ctr">
                      <a:noFill/>
                      <a:prstDash val="solid"/>
                      <a:round/>
                      <a:headEnd type="none" w="med" len="med"/>
                      <a:tailEnd type="none" w="med" len="med"/>
                    </a:lnL>
                    <a:lnR w="25400" cmpd="sng">
                      <a:noFill/>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0" marR="0" lvl="0" indent="0" algn="ctr" defTabSz="932559"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t>No change to 1</a:t>
                      </a:r>
                      <a:endParaRPr kumimoji="0" lang="en-US" sz="2000" b="0" i="0" u="none" strike="noStrike" kern="1200" cap="none" spc="0" normalizeH="0" baseline="0" noProof="0" dirty="0">
                        <a:ln>
                          <a:solidFill>
                            <a:schemeClr val="tx1">
                              <a:alpha val="0"/>
                            </a:schemeClr>
                          </a:solidFill>
                        </a:ln>
                        <a:solidFill>
                          <a:schemeClr val="tx1"/>
                        </a:solidFill>
                        <a:effectLst/>
                        <a:uLnTx/>
                        <a:uFillTx/>
                        <a:latin typeface="+mn-lt"/>
                        <a:ea typeface="+mn-ea"/>
                        <a:cs typeface="+mn-cs"/>
                      </a:endParaRPr>
                    </a:p>
                  </a:txBody>
                  <a:tcPr marL="93260" marR="93260" marT="46630" marB="46630" anchor="ctr">
                    <a:lnL w="25400" cmpd="sng">
                      <a:noFill/>
                    </a:lnL>
                    <a:lnR>
                      <a:noFill/>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188913" marR="0" lvl="0" indent="-188913" algn="l" defTabSz="932559" rtl="0" eaLnBrk="1" fontAlgn="auto" latinLnBrk="0" hangingPunct="1">
                        <a:lnSpc>
                          <a:spcPct val="100000"/>
                        </a:lnSpc>
                        <a:spcBef>
                          <a:spcPts val="75"/>
                        </a:spcBef>
                        <a:spcAft>
                          <a:spcPts val="150"/>
                        </a:spcAft>
                        <a:buClrTx/>
                        <a:buSzTx/>
                        <a:buFont typeface="Arial" panose="020B0604020202020204" pitchFamily="34" charset="0"/>
                        <a:buChar char="•"/>
                        <a:tabLst/>
                        <a:defRPr/>
                      </a:pPr>
                      <a:r>
                        <a:rPr kumimoji="0" lang="en-US" sz="14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t>Open Graph API integration</a:t>
                      </a:r>
                    </a:p>
                    <a:p>
                      <a:pPr marL="188913" marR="0" lvl="0" indent="-188913" algn="l" defTabSz="932559" rtl="0" eaLnBrk="1" fontAlgn="auto" latinLnBrk="0" hangingPunct="1">
                        <a:lnSpc>
                          <a:spcPct val="100000"/>
                        </a:lnSpc>
                        <a:spcBef>
                          <a:spcPts val="75"/>
                        </a:spcBef>
                        <a:spcAft>
                          <a:spcPts val="150"/>
                        </a:spcAft>
                        <a:buClrTx/>
                        <a:buSzTx/>
                        <a:buFont typeface="Arial" panose="020B0604020202020204" pitchFamily="34" charset="0"/>
                        <a:buChar char="•"/>
                        <a:tabLst/>
                        <a:defRPr/>
                      </a:pPr>
                      <a:r>
                        <a:rPr kumimoji="0" lang="en-US" sz="14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t>Introduction of social signals against service objects or actions based upon signals</a:t>
                      </a:r>
                      <a:endParaRPr kumimoji="0" lang="en-US" sz="1400" b="0" i="0" u="none" strike="noStrike" kern="1200" cap="none" spc="0" normalizeH="0" baseline="0" noProof="0" dirty="0">
                        <a:ln>
                          <a:solidFill>
                            <a:schemeClr val="tx1">
                              <a:alpha val="0"/>
                            </a:schemeClr>
                          </a:solidFill>
                        </a:ln>
                        <a:solidFill>
                          <a:schemeClr val="tx1"/>
                        </a:solidFill>
                        <a:effectLst/>
                        <a:uLnTx/>
                        <a:uFillTx/>
                        <a:latin typeface="+mn-lt"/>
                        <a:ea typeface="+mn-ea"/>
                        <a:cs typeface="+mn-cs"/>
                      </a:endParaRPr>
                    </a:p>
                  </a:txBody>
                  <a:tcPr marL="93260" marR="93260" marT="46630" marB="46630" anchor="ctr">
                    <a:lnL>
                      <a:noFill/>
                    </a:lnL>
                    <a:lnR>
                      <a:noFill/>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r>
              <a:tr h="1018635">
                <a:tc>
                  <a:txBody>
                    <a:bodyPr/>
                    <a:lstStyle/>
                    <a:p>
                      <a:pPr algn="ctr">
                        <a:lnSpc>
                          <a:spcPct val="100000"/>
                        </a:lnSpc>
                        <a:spcBef>
                          <a:spcPts val="0"/>
                        </a:spcBef>
                      </a:pPr>
                      <a:r>
                        <a:rPr lang="en-US" sz="2800" b="0" spc="0" dirty="0" smtClean="0">
                          <a:ln>
                            <a:solidFill>
                              <a:schemeClr val="tx1">
                                <a:alpha val="0"/>
                              </a:schemeClr>
                            </a:solidFill>
                          </a:ln>
                          <a:solidFill>
                            <a:schemeClr val="bg1"/>
                          </a:solidFill>
                          <a:effectLst/>
                          <a:latin typeface="+mj-lt"/>
                        </a:rPr>
                        <a:t>1</a:t>
                      </a:r>
                      <a:endParaRPr lang="en-US" sz="2800" b="0" spc="0" dirty="0">
                        <a:ln>
                          <a:solidFill>
                            <a:schemeClr val="tx1">
                              <a:alpha val="0"/>
                            </a:schemeClr>
                          </a:solidFill>
                        </a:ln>
                        <a:solidFill>
                          <a:schemeClr val="bg1"/>
                        </a:solidFill>
                        <a:effectLst/>
                        <a:latin typeface="+mj-lt"/>
                      </a:endParaRPr>
                    </a:p>
                  </a:txBody>
                  <a:tcPr marL="93260" marR="93260" marT="46630" marB="46630" anchor="ctr">
                    <a:lnL w="9525" cap="flat" cmpd="sng" algn="ctr">
                      <a:noFill/>
                      <a:prstDash val="solid"/>
                      <a:round/>
                      <a:headEnd type="none" w="med" len="med"/>
                      <a:tailEnd type="none" w="med" len="med"/>
                    </a:lnL>
                    <a:lnR w="25400" cmpd="sng">
                      <a:noFill/>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932559" rtl="0" eaLnBrk="1" fontAlgn="auto" latinLnBrk="0" hangingPunct="1">
                        <a:lnSpc>
                          <a:spcPct val="100000"/>
                        </a:lnSpc>
                        <a:spcBef>
                          <a:spcPts val="450"/>
                        </a:spcBef>
                        <a:spcAft>
                          <a:spcPts val="0"/>
                        </a:spcAft>
                        <a:buClrTx/>
                        <a:buSzTx/>
                        <a:buFontTx/>
                        <a:buNone/>
                        <a:tabLst/>
                        <a:defRPr/>
                      </a:pPr>
                      <a:r>
                        <a:rPr kumimoji="0" lang="en-US" sz="2000" b="0" i="0" u="none" strike="noStrike" kern="1200" cap="none" spc="0" normalizeH="0" baseline="0" noProof="0" dirty="0" smtClean="0">
                          <a:ln>
                            <a:solidFill>
                              <a:schemeClr val="tx1">
                                <a:alpha val="0"/>
                              </a:schemeClr>
                            </a:solidFill>
                          </a:ln>
                          <a:solidFill>
                            <a:schemeClr val="bg1"/>
                          </a:solidFill>
                          <a:effectLst/>
                          <a:uLnTx/>
                          <a:uFillTx/>
                          <a:latin typeface="+mn-lt"/>
                          <a:ea typeface="+mn-ea"/>
                          <a:cs typeface="+mn-cs"/>
                        </a:rPr>
                        <a:t>Device App:</a:t>
                      </a:r>
                    </a:p>
                    <a:p>
                      <a:pPr marL="292100" marR="0" lvl="0" indent="-188913" algn="l" defTabSz="932559" rtl="0" eaLnBrk="1" fontAlgn="auto" latinLnBrk="0" hangingPunct="1">
                        <a:lnSpc>
                          <a:spcPct val="100000"/>
                        </a:lnSpc>
                        <a:spcBef>
                          <a:spcPts val="2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smtClean="0">
                          <a:ln>
                            <a:solidFill>
                              <a:schemeClr val="tx1">
                                <a:alpha val="0"/>
                              </a:schemeClr>
                            </a:solidFill>
                          </a:ln>
                          <a:solidFill>
                            <a:schemeClr val="bg1"/>
                          </a:solidFill>
                          <a:effectLst/>
                          <a:uLnTx/>
                          <a:uFillTx/>
                          <a:latin typeface="+mn-lt"/>
                          <a:ea typeface="+mn-ea"/>
                          <a:cs typeface="+mn-cs"/>
                        </a:rPr>
                        <a:t>Data and Settings are cached (Apps </a:t>
                      </a:r>
                      <a:br>
                        <a:rPr kumimoji="0" lang="en-US" sz="1400" b="0" i="0" u="none" strike="noStrike" kern="1200" cap="none" spc="0" normalizeH="0" baseline="0" noProof="0" dirty="0" smtClean="0">
                          <a:ln>
                            <a:solidFill>
                              <a:schemeClr val="tx1">
                                <a:alpha val="0"/>
                              </a:schemeClr>
                            </a:solidFill>
                          </a:ln>
                          <a:solidFill>
                            <a:schemeClr val="bg1"/>
                          </a:solidFill>
                          <a:effectLst/>
                          <a:uLnTx/>
                          <a:uFillTx/>
                          <a:latin typeface="+mn-lt"/>
                          <a:ea typeface="+mn-ea"/>
                          <a:cs typeface="+mn-cs"/>
                        </a:rPr>
                      </a:br>
                      <a:r>
                        <a:rPr kumimoji="0" lang="en-US" sz="1400" b="0" i="0" u="none" strike="noStrike" kern="1200" cap="none" spc="0" normalizeH="0" baseline="0" noProof="0" dirty="0" smtClean="0">
                          <a:ln>
                            <a:solidFill>
                              <a:schemeClr val="tx1">
                                <a:alpha val="0"/>
                              </a:schemeClr>
                            </a:solidFill>
                          </a:ln>
                          <a:solidFill>
                            <a:schemeClr val="bg1"/>
                          </a:solidFill>
                          <a:effectLst/>
                          <a:uLnTx/>
                          <a:uFillTx/>
                          <a:latin typeface="+mn-lt"/>
                          <a:ea typeface="+mn-ea"/>
                          <a:cs typeface="+mn-cs"/>
                        </a:rPr>
                        <a:t>&amp; Users)</a:t>
                      </a:r>
                    </a:p>
                    <a:p>
                      <a:pPr marL="292100" marR="0" lvl="0" indent="-188913" algn="l" defTabSz="932559" rtl="0" eaLnBrk="1" fontAlgn="auto" latinLnBrk="0" hangingPunct="1">
                        <a:lnSpc>
                          <a:spcPct val="100000"/>
                        </a:lnSpc>
                        <a:spcBef>
                          <a:spcPts val="2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smtClean="0">
                          <a:ln>
                            <a:solidFill>
                              <a:schemeClr val="tx1">
                                <a:alpha val="0"/>
                              </a:schemeClr>
                            </a:solidFill>
                          </a:ln>
                          <a:solidFill>
                            <a:schemeClr val="bg1"/>
                          </a:solidFill>
                          <a:effectLst/>
                          <a:uLnTx/>
                          <a:uFillTx/>
                          <a:latin typeface="+mn-lt"/>
                          <a:ea typeface="+mn-ea"/>
                          <a:cs typeface="+mn-cs"/>
                        </a:rPr>
                        <a:t>Notifications (Live tiles) are enabled</a:t>
                      </a:r>
                      <a:endParaRPr kumimoji="0" lang="en-US" sz="1400" b="0" i="0" u="none" strike="noStrike" kern="1200" cap="none" spc="0" normalizeH="0" baseline="0" noProof="0" dirty="0">
                        <a:ln>
                          <a:solidFill>
                            <a:schemeClr val="tx1">
                              <a:alpha val="0"/>
                            </a:schemeClr>
                          </a:solidFill>
                        </a:ln>
                        <a:solidFill>
                          <a:schemeClr val="bg1"/>
                        </a:solidFill>
                        <a:effectLst/>
                        <a:uLnTx/>
                        <a:uFillTx/>
                        <a:latin typeface="+mn-lt"/>
                        <a:ea typeface="+mn-ea"/>
                        <a:cs typeface="+mn-cs"/>
                      </a:endParaRPr>
                    </a:p>
                  </a:txBody>
                  <a:tcPr marL="93260" marR="93260" marT="46630" marB="46630" anchor="ctr">
                    <a:lnL w="9525" cap="flat" cmpd="sng" algn="ctr">
                      <a:noFill/>
                      <a:prstDash val="solid"/>
                      <a:round/>
                      <a:headEnd type="none" w="med" len="med"/>
                      <a:tailEnd type="none" w="med" len="med"/>
                    </a:lnL>
                    <a:lnR w="25400" cmpd="sng">
                      <a:noFill/>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88913" marR="0" lvl="0" indent="-188913" algn="l" defTabSz="93255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solidFill>
                              <a:schemeClr val="tx1">
                                <a:alpha val="0"/>
                              </a:schemeClr>
                            </a:solidFill>
                          </a:ln>
                          <a:solidFill>
                            <a:schemeClr val="bg1"/>
                          </a:solidFill>
                          <a:effectLst/>
                          <a:uLnTx/>
                          <a:uFillTx/>
                          <a:latin typeface="+mn-lt"/>
                          <a:ea typeface="+mn-ea"/>
                          <a:cs typeface="+mn-cs"/>
                        </a:rPr>
                        <a:t>HTTP/s</a:t>
                      </a:r>
                    </a:p>
                    <a:p>
                      <a:pPr marL="188913" marR="0" lvl="0" indent="-188913" algn="l" defTabSz="93255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solidFill>
                              <a:schemeClr val="tx1">
                                <a:alpha val="0"/>
                              </a:schemeClr>
                            </a:solidFill>
                          </a:ln>
                          <a:solidFill>
                            <a:schemeClr val="bg1"/>
                          </a:solidFill>
                          <a:effectLst/>
                          <a:uLnTx/>
                          <a:uFillTx/>
                          <a:latin typeface="+mn-lt"/>
                          <a:ea typeface="+mn-ea"/>
                          <a:cs typeface="+mn-cs"/>
                        </a:rPr>
                        <a:t>Azure mobile services</a:t>
                      </a:r>
                    </a:p>
                    <a:p>
                      <a:pPr marL="188913" marR="0" lvl="0" indent="-188913" algn="l" defTabSz="93255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solidFill>
                              <a:schemeClr val="tx1">
                                <a:alpha val="0"/>
                              </a:schemeClr>
                            </a:solidFill>
                          </a:ln>
                          <a:solidFill>
                            <a:schemeClr val="bg1"/>
                          </a:solidFill>
                          <a:effectLst/>
                          <a:uLnTx/>
                          <a:uFillTx/>
                          <a:latin typeface="+mn-lt"/>
                          <a:ea typeface="+mn-ea"/>
                          <a:cs typeface="+mn-cs"/>
                        </a:rPr>
                        <a:t>[ISB integration patterns]</a:t>
                      </a:r>
                    </a:p>
                    <a:p>
                      <a:pPr marL="188913" marR="0" lvl="0" indent="-188913" algn="l" defTabSz="93255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solidFill>
                              <a:schemeClr val="tx1">
                                <a:alpha val="0"/>
                              </a:schemeClr>
                            </a:solidFill>
                          </a:ln>
                          <a:solidFill>
                            <a:schemeClr val="bg1"/>
                          </a:solidFill>
                          <a:effectLst/>
                          <a:uLnTx/>
                          <a:uFillTx/>
                          <a:latin typeface="+mn-lt"/>
                          <a:ea typeface="+mn-ea"/>
                          <a:cs typeface="+mn-cs"/>
                        </a:rPr>
                        <a:t>[Service-specific RESTful API’s]</a:t>
                      </a:r>
                      <a:endParaRPr kumimoji="0" lang="en-US" sz="1400" b="0" i="0" u="none" strike="noStrike" kern="1200" cap="none" spc="0" normalizeH="0" baseline="0" noProof="0" dirty="0">
                        <a:ln>
                          <a:solidFill>
                            <a:schemeClr val="tx1">
                              <a:alpha val="0"/>
                            </a:schemeClr>
                          </a:solidFill>
                        </a:ln>
                        <a:solidFill>
                          <a:schemeClr val="bg1"/>
                        </a:solidFill>
                        <a:effectLst/>
                        <a:uLnTx/>
                        <a:uFillTx/>
                        <a:latin typeface="+mn-lt"/>
                        <a:ea typeface="+mn-ea"/>
                        <a:cs typeface="+mn-cs"/>
                      </a:endParaRPr>
                    </a:p>
                  </a:txBody>
                  <a:tcPr marL="93260" marR="93260" marT="46630" marB="46630" anchor="ctr">
                    <a:lnL w="25400" cmpd="sng">
                      <a:noFill/>
                    </a:lnL>
                    <a:lnR>
                      <a:noFill/>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88913" marR="0" lvl="0" indent="-188913" algn="l" defTabSz="93255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solidFill>
                              <a:schemeClr val="tx1">
                                <a:alpha val="0"/>
                              </a:schemeClr>
                            </a:solidFill>
                          </a:ln>
                          <a:solidFill>
                            <a:schemeClr val="bg1"/>
                          </a:solidFill>
                          <a:effectLst/>
                          <a:uLnTx/>
                          <a:uFillTx/>
                          <a:latin typeface="+mn-lt"/>
                          <a:ea typeface="+mn-ea"/>
                          <a:cs typeface="+mn-cs"/>
                        </a:rPr>
                        <a:t>One or more services are being accessed</a:t>
                      </a:r>
                    </a:p>
                    <a:p>
                      <a:pPr marL="188913" marR="0" lvl="0" indent="-188913" algn="l" defTabSz="932559"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smtClean="0">
                          <a:ln>
                            <a:solidFill>
                              <a:schemeClr val="tx1">
                                <a:alpha val="0"/>
                              </a:schemeClr>
                            </a:solidFill>
                          </a:ln>
                          <a:solidFill>
                            <a:schemeClr val="bg1"/>
                          </a:solidFill>
                          <a:effectLst/>
                          <a:uLnTx/>
                          <a:uFillTx/>
                          <a:latin typeface="+mn-lt"/>
                          <a:ea typeface="+mn-ea"/>
                          <a:cs typeface="+mn-cs"/>
                        </a:rPr>
                        <a:t>Data is exchanged between app &amp; service(s)</a:t>
                      </a:r>
                      <a:endParaRPr kumimoji="0" lang="en-US" sz="1400" b="0" i="0" u="none" strike="noStrike" kern="1200" cap="none" spc="0" normalizeH="0" baseline="0" noProof="0" dirty="0">
                        <a:ln>
                          <a:solidFill>
                            <a:schemeClr val="tx1">
                              <a:alpha val="0"/>
                            </a:schemeClr>
                          </a:solidFill>
                        </a:ln>
                        <a:solidFill>
                          <a:schemeClr val="bg1"/>
                        </a:solidFill>
                        <a:effectLst/>
                        <a:uLnTx/>
                        <a:uFillTx/>
                        <a:latin typeface="+mn-lt"/>
                        <a:ea typeface="+mn-ea"/>
                        <a:cs typeface="+mn-cs"/>
                      </a:endParaRPr>
                    </a:p>
                  </a:txBody>
                  <a:tcPr marL="93260" marR="93260" marT="46630" marB="46630" anchor="ctr">
                    <a:lnL>
                      <a:noFill/>
                    </a:lnL>
                    <a:lnR>
                      <a:noFill/>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623639">
                <a:tc>
                  <a:txBody>
                    <a:bodyPr/>
                    <a:lstStyle/>
                    <a:p>
                      <a:pPr algn="ctr">
                        <a:lnSpc>
                          <a:spcPct val="100000"/>
                        </a:lnSpc>
                        <a:spcBef>
                          <a:spcPts val="0"/>
                        </a:spcBef>
                      </a:pPr>
                      <a:r>
                        <a:rPr lang="en-US" sz="2800" b="0" spc="0" dirty="0" smtClean="0">
                          <a:ln>
                            <a:solidFill>
                              <a:schemeClr val="tx1">
                                <a:alpha val="0"/>
                              </a:schemeClr>
                            </a:solidFill>
                          </a:ln>
                          <a:solidFill>
                            <a:schemeClr val="tx1"/>
                          </a:solidFill>
                          <a:effectLst/>
                          <a:latin typeface="+mj-lt"/>
                        </a:rPr>
                        <a:t>0</a:t>
                      </a:r>
                      <a:endParaRPr lang="en-US" sz="2800" b="0" spc="0" dirty="0">
                        <a:ln>
                          <a:solidFill>
                            <a:schemeClr val="tx1">
                              <a:alpha val="0"/>
                            </a:schemeClr>
                          </a:solidFill>
                        </a:ln>
                        <a:solidFill>
                          <a:schemeClr val="tx1"/>
                        </a:solidFill>
                        <a:effectLst/>
                        <a:latin typeface="+mj-lt"/>
                      </a:endParaRPr>
                    </a:p>
                  </a:txBody>
                  <a:tcPr marL="93260" marR="93260" marT="46630" marB="46630" anchor="ctr">
                    <a:lnL w="9525" cap="flat" cmpd="sng" algn="ctr">
                      <a:noFill/>
                      <a:prstDash val="solid"/>
                      <a:round/>
                      <a:headEnd type="none" w="med" len="med"/>
                      <a:tailEnd type="none" w="med" len="med"/>
                    </a:lnL>
                    <a:lnR w="25400" cmpd="sng">
                      <a:noFill/>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0" marR="0" lvl="0" indent="0" algn="l" defTabSz="932559"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t>Native Device App:</a:t>
                      </a:r>
                    </a:p>
                    <a:p>
                      <a:pPr marL="292100" marR="0" lvl="0" indent="-188913" algn="l" defTabSz="932559" rtl="0" eaLnBrk="1" fontAlgn="auto" latinLnBrk="0" hangingPunct="1">
                        <a:lnSpc>
                          <a:spcPct val="100000"/>
                        </a:lnSpc>
                        <a:spcBef>
                          <a:spcPts val="2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t>Data and Settings are cached (Apps </a:t>
                      </a:r>
                      <a:br>
                        <a:rPr kumimoji="0" lang="en-US" sz="14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br>
                      <a:r>
                        <a:rPr kumimoji="0" lang="en-US" sz="14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t>&amp; Users)</a:t>
                      </a:r>
                      <a:endParaRPr kumimoji="0" lang="en-US" sz="1400" b="0" i="0" u="none" strike="noStrike" kern="1200" cap="none" spc="0" normalizeH="0" baseline="0" noProof="0" dirty="0">
                        <a:ln>
                          <a:solidFill>
                            <a:schemeClr val="tx1">
                              <a:alpha val="0"/>
                            </a:schemeClr>
                          </a:solidFill>
                        </a:ln>
                        <a:solidFill>
                          <a:schemeClr val="tx1"/>
                        </a:solidFill>
                        <a:effectLst/>
                        <a:uLnTx/>
                        <a:uFillTx/>
                        <a:latin typeface="+mn-lt"/>
                        <a:ea typeface="+mn-ea"/>
                        <a:cs typeface="+mn-cs"/>
                      </a:endParaRPr>
                    </a:p>
                  </a:txBody>
                  <a:tcPr marL="93260" marR="93260" marT="46630" marB="46630" anchor="ctr">
                    <a:lnL w="9525" cap="flat" cmpd="sng" algn="ctr">
                      <a:noFill/>
                      <a:prstDash val="solid"/>
                      <a:round/>
                      <a:headEnd type="none" w="med" len="med"/>
                      <a:tailEnd type="none" w="med" len="med"/>
                    </a:lnL>
                    <a:lnR w="25400" cmpd="sng">
                      <a:noFill/>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0" marR="0" lvl="0" indent="0" algn="l" defTabSz="932559"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t>HTTP/s</a:t>
                      </a:r>
                    </a:p>
                    <a:p>
                      <a:pPr marL="0" marR="0" lvl="0" indent="0" algn="l" defTabSz="932559"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t>Simple RESTful API’s</a:t>
                      </a:r>
                      <a:endParaRPr kumimoji="0" lang="en-US" sz="2000" b="0" i="0" u="none" strike="noStrike" kern="1200" cap="none" spc="0" normalizeH="0" baseline="0" noProof="0" dirty="0">
                        <a:ln>
                          <a:solidFill>
                            <a:schemeClr val="tx1">
                              <a:alpha val="0"/>
                            </a:schemeClr>
                          </a:solidFill>
                        </a:ln>
                        <a:solidFill>
                          <a:schemeClr val="tx1"/>
                        </a:solidFill>
                        <a:effectLst/>
                        <a:uLnTx/>
                        <a:uFillTx/>
                        <a:latin typeface="+mn-lt"/>
                        <a:ea typeface="+mn-ea"/>
                        <a:cs typeface="+mn-cs"/>
                      </a:endParaRPr>
                    </a:p>
                  </a:txBody>
                  <a:tcPr marL="93260" marR="93260" marT="46630" marB="46630" anchor="ctr">
                    <a:lnL w="25400" cmpd="sng">
                      <a:noFill/>
                    </a:lnL>
                    <a:lnR>
                      <a:noFill/>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0" marR="0" lvl="0" indent="0" algn="l" defTabSz="932559"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dirty="0" smtClean="0">
                          <a:ln>
                            <a:solidFill>
                              <a:schemeClr val="tx1">
                                <a:alpha val="0"/>
                              </a:schemeClr>
                            </a:solidFill>
                          </a:ln>
                          <a:solidFill>
                            <a:schemeClr val="tx1"/>
                          </a:solidFill>
                          <a:effectLst/>
                          <a:uLnTx/>
                          <a:uFillTx/>
                          <a:latin typeface="+mn-lt"/>
                          <a:ea typeface="+mn-ea"/>
                          <a:cs typeface="+mn-cs"/>
                        </a:rPr>
                        <a:t>Cloud storage: SkyDrive (default)</a:t>
                      </a:r>
                      <a:endParaRPr kumimoji="0" lang="en-US" sz="2000" b="0" i="0" u="none" strike="noStrike" kern="1200" cap="none" spc="0" normalizeH="0" baseline="0" noProof="0" dirty="0">
                        <a:ln>
                          <a:solidFill>
                            <a:schemeClr val="tx1">
                              <a:alpha val="0"/>
                            </a:schemeClr>
                          </a:solidFill>
                        </a:ln>
                        <a:solidFill>
                          <a:schemeClr val="tx1"/>
                        </a:solidFill>
                        <a:effectLst/>
                        <a:uLnTx/>
                        <a:uFillTx/>
                        <a:latin typeface="+mn-lt"/>
                        <a:ea typeface="+mn-ea"/>
                        <a:cs typeface="+mn-cs"/>
                      </a:endParaRPr>
                    </a:p>
                  </a:txBody>
                  <a:tcPr marL="93260" marR="93260" marT="46630" marB="46630" anchor="ctr">
                    <a:lnL>
                      <a:noFill/>
                    </a:lnL>
                    <a:lnR>
                      <a:noFill/>
                    </a:lnR>
                    <a:lnT w="9525" cap="flat" cmpd="sng" algn="ctr">
                      <a:solidFill>
                        <a:schemeClr val="tx1"/>
                      </a:solidFill>
                      <a:prstDash val="sysDot"/>
                      <a:round/>
                      <a:headEnd type="none" w="med" len="med"/>
                      <a:tailEnd type="none" w="med" len="med"/>
                    </a:lnT>
                    <a:lnB w="952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r>
            </a:tbl>
          </a:graphicData>
        </a:graphic>
      </p:graphicFrame>
    </p:spTree>
    <p:extLst>
      <p:ext uri="{BB962C8B-B14F-4D97-AF65-F5344CB8AC3E}">
        <p14:creationId xmlns:p14="http://schemas.microsoft.com/office/powerpoint/2010/main" val="3055523327"/>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ATxNutn8EWWaFqYk.ApEQ"/>
</p:tagLst>
</file>

<file path=ppt/tags/tag100.xml><?xml version="1.0" encoding="utf-8"?>
<p:tagLst xmlns:a="http://schemas.openxmlformats.org/drawingml/2006/main" xmlns:r="http://schemas.openxmlformats.org/officeDocument/2006/relationships" xmlns:p="http://schemas.openxmlformats.org/presentationml/2006/main">
  <p:tag name="TIMING" val="|0|1|1|1|1|1|1|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ATxNutn8EWWaFqYk.ApE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ATxNutn8EWWaFqYk.ApE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ATxNutn8EWWaFqYk.ApE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ATxNutn8EWWaFqYk.ApE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IMING" val="|0|.5|.5"/>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yQjnflJwj0mh7vJGudrsg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yBsLZl2rkOmUpxR_AHDP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OQffJG3wUywmTqbOnGWX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_fKbeelx0.oaBWt.lhnQ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UQoqnviy1UuAhDAHcUTq6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DAQ7q730TEK1PDgrrwxde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5olCE9I7pkmOY_2kPsdkY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zKwketlaU2xQrKiwbxfa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MVUlc_.ECe3En2l0dH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Xt40QofE0S.dOWp.GN26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Bb6GPoGkaAdvs0U1Arg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4QIGT_O_kmystEJov1Id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Ky0nQq2F3kWgbZK.uGPhE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WR0TpD13jE2oI446Q2WRb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Hk.qjXhr.06c5wcJ4fSW4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VEH8wDI9D0CO217AOBzAT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S0ZD97p0EWNqo05COh7o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LmXBTmGTK02AwD.sqk0YF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paL5WSFKWUWl5YmiU71vN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paL5WSFKWUWl5YmiU71vN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2HZYzbL_UeI96m1PeNDT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6Zhnpi.GjEWOJAqBxJ7we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1uyo6l.lT0ixqPmGXv8sb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YD9KRVzTUGnDQXhjGR4y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NvJj3Hg370G_8XryiBB_A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CGo3P7.AzUubHfG8m8xwE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dyH27muZkkyrB.aA2Yvzf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UZJ7ld1mUUaQqfTPI9_tL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zfCkXd2zmUu6M0t0EYUvX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yYV1qJOh0uEB.i7ZP4zZ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J2u1Pg1xh0C640BzGedli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uEAHlhMVZE21bf9rbbLmu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yJ5NMFl_kCY9Zwka5g9U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Yo3XWiUjM02GmE4KEAURu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rIteJAbqh0mL8kwSDib5y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QxhFPFSiBU6m_B7F_z3.T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lAIkIOQ73E6.tjaVCC7.4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FWf6_gL9oUi0pQ9UDr7tO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7ZPCtuPB_kSULx3tkJ8Kk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RtxZCKBrrkiBOJL0i454y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g9wPLMkG0U.ifeidpJQAC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UdUbJdw7kku6faxl5UQAT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6Hr8qNU5Eqe0CmGSz4TE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j4N3ilbYIUGP70HZWTE1k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HPNqyvl4pk.U7j8e7yLU4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ZdOJe.dgKkW0OIG2KZ2e.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P.iJNcH9gk2zSx3WFFpnU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4T4Plr1EZEa3fE0k4Wh31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hH12sFrykGp.ih.MLdIK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NF1jaFzrk06MawRV7_p6W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6FTkOCi34kWzMQZg8rrdL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J2u1m746tEGswem7T5zJ9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bRh5w.QDB0WHGaOKU7RQP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gndtK.rFU0Cd_sdnTxu7j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mZPXSL.50qEGJnD61XXZ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gO.11INZTUeaE9DTGp0YA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kP9hDxHUV02nBDJEcIik8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za87yxPvUGmH9xoEQlMd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cyJ5NMFl_kCY9Zwka5g9U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Yo3XWiUjM02GmE4KEAURu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rIteJAbqh0mL8kwSDib5y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QxhFPFSiBU6m_B7F_z3.T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lAIkIOQ73E6.tjaVCC7.4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FWf6_gL9oUi0pQ9UDr7tO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Yo3XWiUjM02GmE4KEAURu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rIteJAbqh0mL8kwSDib5y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QxhFPFSiBU6m_B7F_z3.T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lAIkIOQ73E6.tjaVCC7.4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FWf6_gL9oUi0pQ9UDr7tO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cyJ5NMFl_kCY9Zwka5g9U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t70Z_0k2cEy3Fi2QLWt9i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vCqfwb8mEEu1O4w0Zy1o1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TDthnhZzoEqeX4XbEHl4q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chEd_2013_Template_16x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3_Template_r05" id="{52CF7746-2BCC-4712-8D0A-4EFD2BD35E94}" vid="{95027F19-C175-4D31-A201-08949528A904}"/>
    </a:ext>
  </a:extLst>
</a:theme>
</file>

<file path=ppt/theme/theme2.xml><?xml version="1.0" encoding="utf-8"?>
<a:theme xmlns:a="http://schemas.openxmlformats.org/drawingml/2006/main" name="1_TechEd_2013_Template_16x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 2013 Speaker PPT Template.potx" id="{E8DFABE4-88D1-4ACE-A455-2F0815ECCC87}" vid="{87B015FB-85AC-4804-97B7-86A6F472A393}"/>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2B0BB5962AB3C45A9A1CE1EC4C4F647" ma:contentTypeVersion="0" ma:contentTypeDescription="Create a new document." ma:contentTypeScope="" ma:versionID="16b75628e77f02951c453071cf8a016e">
  <xsd:schema xmlns:xsd="http://www.w3.org/2001/XMLSchema" xmlns:xs="http://www.w3.org/2001/XMLSchema" xmlns:p="http://schemas.microsoft.com/office/2006/metadata/properties" targetNamespace="http://schemas.microsoft.com/office/2006/metadata/properties" ma:root="true" ma:fieldsID="3bf1d1d65b83a35312c7df0375d09d6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23A54C81-9AB5-446A-878C-797D859B38C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echEd_2013_Speaker_PPT_Template</Template>
  <TotalTime>30</TotalTime>
  <Words>5697</Words>
  <Application>Microsoft Office PowerPoint</Application>
  <PresentationFormat>Custom</PresentationFormat>
  <Paragraphs>716</Paragraphs>
  <Slides>43</Slides>
  <Notes>28</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43</vt:i4>
      </vt:variant>
    </vt:vector>
  </HeadingPairs>
  <TitlesOfParts>
    <vt:vector size="56" baseType="lpstr">
      <vt:lpstr>MS Mincho</vt:lpstr>
      <vt:lpstr>Arial</vt:lpstr>
      <vt:lpstr>Calibri</vt:lpstr>
      <vt:lpstr>Consolas</vt:lpstr>
      <vt:lpstr>Segoe</vt:lpstr>
      <vt:lpstr>Segoe Light</vt:lpstr>
      <vt:lpstr>Segoe UI</vt:lpstr>
      <vt:lpstr>Segoe UI Light</vt:lpstr>
      <vt:lpstr>Symbol</vt:lpstr>
      <vt:lpstr>Wingdings</vt:lpstr>
      <vt:lpstr>TechEd_2013_Template_16x9</vt:lpstr>
      <vt:lpstr>1_TechEd_2013_Template_16x9</vt:lpstr>
      <vt:lpstr>think-cell Slide</vt:lpstr>
      <vt:lpstr>PowerPoint Presentation</vt:lpstr>
      <vt:lpstr>Devices + Services  demystified… </vt:lpstr>
      <vt:lpstr>PowerPoint Presentation</vt:lpstr>
      <vt:lpstr>Long term opportunity </vt:lpstr>
      <vt:lpstr>Long term opportunity </vt:lpstr>
      <vt:lpstr>Connected Devices &amp; Continuous Services</vt:lpstr>
      <vt:lpstr>A diversity of</vt:lpstr>
      <vt:lpstr>Devices and services principles</vt:lpstr>
      <vt:lpstr>PowerPoint Presentation</vt:lpstr>
      <vt:lpstr>Incorporate Open Standards</vt:lpstr>
      <vt:lpstr>Scenarios</vt:lpstr>
      <vt:lpstr>Scenarios</vt:lpstr>
      <vt:lpstr>Scenarios</vt:lpstr>
      <vt:lpstr>Scenarios</vt:lpstr>
      <vt:lpstr>Scenarios</vt:lpstr>
      <vt:lpstr>Scenarios</vt:lpstr>
      <vt:lpstr>Scenarios</vt:lpstr>
      <vt:lpstr>Scenarios</vt:lpstr>
      <vt:lpstr>Scenarios</vt:lpstr>
      <vt:lpstr>Scenarios</vt:lpstr>
      <vt:lpstr>PowerPoint Presentation</vt:lpstr>
      <vt:lpstr>Fundamentals of Telemetry &amp; Insight</vt:lpstr>
      <vt:lpstr>Insight Perspectives</vt:lpstr>
      <vt:lpstr>Characterizing Signals</vt:lpstr>
      <vt:lpstr>Sources of Signals</vt:lpstr>
      <vt:lpstr>Consumer Patterns</vt:lpstr>
      <vt:lpstr>Monitor, mine, manage pattern</vt:lpstr>
      <vt:lpstr>Fundamentals of insight-enabled apps</vt:lpstr>
      <vt:lpstr>Data fundamentals http://msdn.microsoft.com/en-us/library/ms954587.aspx</vt:lpstr>
      <vt:lpstr>Consuming insight</vt:lpstr>
      <vt:lpstr>PowerPoint Presentation</vt:lpstr>
      <vt:lpstr>The Social Platform Taxonomy </vt:lpstr>
      <vt:lpstr>Adapting the app experience: the Power of the Graph</vt:lpstr>
      <vt:lpstr>PowerPoint Presentation</vt:lpstr>
      <vt:lpstr>PowerPoint Presentation</vt:lpstr>
      <vt:lpstr>Standardize the verbs – interacting with the social ‘fabric’</vt:lpstr>
      <vt:lpstr>PowerPoint Presentation</vt:lpstr>
      <vt:lpstr>Recap</vt:lpstr>
      <vt:lpstr>Trustworthy Computing Resources</vt:lpstr>
      <vt:lpstr>Resources</vt:lpstr>
      <vt:lpstr>Complete an evaluation on CommNet and enter to win!</vt:lpstr>
      <vt:lpstr>Evaluate this session</vt:lpstr>
      <vt:lpstr>PowerPoint Presentation</vt:lpstr>
    </vt:vector>
  </TitlesOfParts>
  <Manager>&lt;Comms manager/speech writer&gt;</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TC-B206: Devices + Services demystified…</dc:title>
  <dc:subject>TechEd 2013</dc:subject>
  <dc:creator>Ulrich Homann</dc:creator>
  <cp:keywords>TechEd 2013</cp:keywords>
  <dc:description>Template by: Jordan Cayabyab, Artitudes Design, Inc.
Formatting by: Jeremy Jenkins, Silver Fox Productions, Inc.
Audience Type: Internal/External</dc:description>
  <cp:lastModifiedBy>Shows</cp:lastModifiedBy>
  <cp:revision>8</cp:revision>
  <dcterms:created xsi:type="dcterms:W3CDTF">2013-05-19T08:59:50Z</dcterms:created>
  <dcterms:modified xsi:type="dcterms:W3CDTF">2013-06-03T18:35: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B0BB5962AB3C45A9A1CE1EC4C4F647</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ies>
</file>